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3.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4.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5.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6.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7.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8.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9.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10.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1.xml" ContentType="application/vnd.openxmlformats-officedocument.theme+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5.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90" r:id="rId4"/>
    <p:sldMasterId id="2147484664" r:id="rId5"/>
    <p:sldMasterId id="2147484703" r:id="rId6"/>
    <p:sldMasterId id="2147484851" r:id="rId7"/>
    <p:sldMasterId id="2147484875" r:id="rId8"/>
    <p:sldMasterId id="2147484911" r:id="rId9"/>
    <p:sldMasterId id="2147484945" r:id="rId10"/>
    <p:sldMasterId id="2147484984" r:id="rId11"/>
    <p:sldMasterId id="2147485075" r:id="rId12"/>
    <p:sldMasterId id="2147485105" r:id="rId13"/>
    <p:sldMasterId id="2147485248" r:id="rId14"/>
    <p:sldMasterId id="2147485315" r:id="rId15"/>
  </p:sldMasterIdLst>
  <p:notesMasterIdLst>
    <p:notesMasterId r:id="rId211"/>
  </p:notesMasterIdLst>
  <p:handoutMasterIdLst>
    <p:handoutMasterId r:id="rId212"/>
  </p:handoutMasterIdLst>
  <p:sldIdLst>
    <p:sldId id="2147469997" r:id="rId16"/>
    <p:sldId id="2147470039" r:id="rId17"/>
    <p:sldId id="2134805319" r:id="rId18"/>
    <p:sldId id="2147470037" r:id="rId19"/>
    <p:sldId id="361" r:id="rId20"/>
    <p:sldId id="331" r:id="rId21"/>
    <p:sldId id="2147470038" r:id="rId22"/>
    <p:sldId id="2147469893" r:id="rId23"/>
    <p:sldId id="2147469889" r:id="rId24"/>
    <p:sldId id="2147469890" r:id="rId25"/>
    <p:sldId id="2147469891" r:id="rId26"/>
    <p:sldId id="2134805339" r:id="rId27"/>
    <p:sldId id="2134805401" r:id="rId28"/>
    <p:sldId id="2147470019" r:id="rId29"/>
    <p:sldId id="2134805361" r:id="rId30"/>
    <p:sldId id="2147470029" r:id="rId31"/>
    <p:sldId id="2147469912" r:id="rId32"/>
    <p:sldId id="2147470063" r:id="rId33"/>
    <p:sldId id="2147470065" r:id="rId34"/>
    <p:sldId id="2134805395" r:id="rId35"/>
    <p:sldId id="2147469918" r:id="rId36"/>
    <p:sldId id="2134805351" r:id="rId37"/>
    <p:sldId id="2134805352" r:id="rId38"/>
    <p:sldId id="2147469919" r:id="rId39"/>
    <p:sldId id="2134805356" r:id="rId40"/>
    <p:sldId id="2147469920" r:id="rId41"/>
    <p:sldId id="2147470018" r:id="rId42"/>
    <p:sldId id="2134805357" r:id="rId43"/>
    <p:sldId id="2361" r:id="rId44"/>
    <p:sldId id="2134805399" r:id="rId45"/>
    <p:sldId id="2134805391" r:id="rId46"/>
    <p:sldId id="2147470031" r:id="rId47"/>
    <p:sldId id="452" r:id="rId48"/>
    <p:sldId id="2134805322" r:id="rId49"/>
    <p:sldId id="2147470020" r:id="rId50"/>
    <p:sldId id="2134805336" r:id="rId51"/>
    <p:sldId id="2134805397" r:id="rId52"/>
    <p:sldId id="2147469963" r:id="rId53"/>
    <p:sldId id="2147469902" r:id="rId54"/>
    <p:sldId id="2134805398" r:id="rId55"/>
    <p:sldId id="2147469900" r:id="rId56"/>
    <p:sldId id="2147469903" r:id="rId57"/>
    <p:sldId id="2147469925" r:id="rId58"/>
    <p:sldId id="2134805392" r:id="rId59"/>
    <p:sldId id="2147470021" r:id="rId60"/>
    <p:sldId id="2147470022" r:id="rId61"/>
    <p:sldId id="2980" r:id="rId62"/>
    <p:sldId id="8747" r:id="rId63"/>
    <p:sldId id="8748" r:id="rId64"/>
    <p:sldId id="2147469972" r:id="rId65"/>
    <p:sldId id="2134805340" r:id="rId66"/>
    <p:sldId id="2147470023" r:id="rId67"/>
    <p:sldId id="2147470025" r:id="rId68"/>
    <p:sldId id="2147470026" r:id="rId69"/>
    <p:sldId id="2147469898" r:id="rId70"/>
    <p:sldId id="2134805387" r:id="rId71"/>
    <p:sldId id="2134805380" r:id="rId72"/>
    <p:sldId id="2147469968" r:id="rId73"/>
    <p:sldId id="2147469975" r:id="rId74"/>
    <p:sldId id="2147469969" r:id="rId75"/>
    <p:sldId id="2147469979" r:id="rId76"/>
    <p:sldId id="2147469983" r:id="rId77"/>
    <p:sldId id="2147469984" r:id="rId78"/>
    <p:sldId id="2147469985" r:id="rId79"/>
    <p:sldId id="2147469988" r:id="rId80"/>
    <p:sldId id="2147469986" r:id="rId81"/>
    <p:sldId id="2147469987" r:id="rId82"/>
    <p:sldId id="2147469990" r:id="rId83"/>
    <p:sldId id="2147469991" r:id="rId84"/>
    <p:sldId id="2147470027" r:id="rId85"/>
    <p:sldId id="2147469982" r:id="rId86"/>
    <p:sldId id="2147470034" r:id="rId87"/>
    <p:sldId id="2147470036" r:id="rId88"/>
    <p:sldId id="2147470035" r:id="rId89"/>
    <p:sldId id="2147469924" r:id="rId90"/>
    <p:sldId id="2357" r:id="rId91"/>
    <p:sldId id="2358" r:id="rId92"/>
    <p:sldId id="376" r:id="rId93"/>
    <p:sldId id="2147469980" r:id="rId94"/>
    <p:sldId id="2147469961" r:id="rId95"/>
    <p:sldId id="2147469962" r:id="rId96"/>
    <p:sldId id="2147469928" r:id="rId97"/>
    <p:sldId id="2147469929" r:id="rId98"/>
    <p:sldId id="2134805371" r:id="rId99"/>
    <p:sldId id="2147469933" r:id="rId100"/>
    <p:sldId id="2147469935" r:id="rId101"/>
    <p:sldId id="2147469938" r:id="rId102"/>
    <p:sldId id="2147469926" r:id="rId103"/>
    <p:sldId id="2134805321" r:id="rId104"/>
    <p:sldId id="2147469939" r:id="rId105"/>
    <p:sldId id="2147469940" r:id="rId106"/>
    <p:sldId id="2147469941" r:id="rId107"/>
    <p:sldId id="2147469942" r:id="rId108"/>
    <p:sldId id="2147469943" r:id="rId109"/>
    <p:sldId id="2147469978" r:id="rId110"/>
    <p:sldId id="2147469989" r:id="rId111"/>
    <p:sldId id="2147469977" r:id="rId112"/>
    <p:sldId id="2147469904" r:id="rId113"/>
    <p:sldId id="2147470049" r:id="rId114"/>
    <p:sldId id="2147470033" r:id="rId115"/>
    <p:sldId id="2134805309" r:id="rId116"/>
    <p:sldId id="2076136548" r:id="rId117"/>
    <p:sldId id="2076137857" r:id="rId118"/>
    <p:sldId id="2134805313" r:id="rId119"/>
    <p:sldId id="2134805317" r:id="rId120"/>
    <p:sldId id="2134805314" r:id="rId121"/>
    <p:sldId id="2147470040" r:id="rId122"/>
    <p:sldId id="2147470007" r:id="rId123"/>
    <p:sldId id="2147470008" r:id="rId124"/>
    <p:sldId id="2147470009" r:id="rId125"/>
    <p:sldId id="2147469957" r:id="rId126"/>
    <p:sldId id="2147469956" r:id="rId127"/>
    <p:sldId id="2147470047" r:id="rId128"/>
    <p:sldId id="2147469958" r:id="rId129"/>
    <p:sldId id="2147470042" r:id="rId130"/>
    <p:sldId id="2147470055" r:id="rId131"/>
    <p:sldId id="2147470045" r:id="rId132"/>
    <p:sldId id="2147470043" r:id="rId133"/>
    <p:sldId id="2147470052" r:id="rId134"/>
    <p:sldId id="2147470053" r:id="rId135"/>
    <p:sldId id="2147470057" r:id="rId136"/>
    <p:sldId id="2147470048" r:id="rId137"/>
    <p:sldId id="2147470059" r:id="rId138"/>
    <p:sldId id="2147470062" r:id="rId139"/>
    <p:sldId id="2147470060" r:id="rId140"/>
    <p:sldId id="2147470002" r:id="rId141"/>
    <p:sldId id="2134805500" r:id="rId142"/>
    <p:sldId id="2134805501" r:id="rId143"/>
    <p:sldId id="2134805440" r:id="rId144"/>
    <p:sldId id="2134805439" r:id="rId145"/>
    <p:sldId id="2134805441" r:id="rId146"/>
    <p:sldId id="2134805442" r:id="rId147"/>
    <p:sldId id="2134805434" r:id="rId148"/>
    <p:sldId id="2134805445" r:id="rId149"/>
    <p:sldId id="2134805473" r:id="rId150"/>
    <p:sldId id="2134805475" r:id="rId151"/>
    <p:sldId id="2134805477" r:id="rId152"/>
    <p:sldId id="2134805436" r:id="rId153"/>
    <p:sldId id="2134805478" r:id="rId154"/>
    <p:sldId id="2134805479" r:id="rId155"/>
    <p:sldId id="2134805438" r:id="rId156"/>
    <p:sldId id="2134805481" r:id="rId157"/>
    <p:sldId id="2134805457" r:id="rId158"/>
    <p:sldId id="2134805471" r:id="rId159"/>
    <p:sldId id="2147470006" r:id="rId160"/>
    <p:sldId id="2147470015" r:id="rId161"/>
    <p:sldId id="2147469947" r:id="rId162"/>
    <p:sldId id="8706" r:id="rId163"/>
    <p:sldId id="8685" r:id="rId164"/>
    <p:sldId id="8689" r:id="rId165"/>
    <p:sldId id="8692" r:id="rId166"/>
    <p:sldId id="8693" r:id="rId167"/>
    <p:sldId id="8686" r:id="rId168"/>
    <p:sldId id="8694" r:id="rId169"/>
    <p:sldId id="8710" r:id="rId170"/>
    <p:sldId id="2134805393" r:id="rId171"/>
    <p:sldId id="8696" r:id="rId172"/>
    <p:sldId id="2147469948" r:id="rId173"/>
    <p:sldId id="2134805400" r:id="rId174"/>
    <p:sldId id="8697" r:id="rId175"/>
    <p:sldId id="10056" r:id="rId176"/>
    <p:sldId id="10074" r:id="rId177"/>
    <p:sldId id="2134805394" r:id="rId178"/>
    <p:sldId id="10057" r:id="rId179"/>
    <p:sldId id="10060" r:id="rId180"/>
    <p:sldId id="2147469949" r:id="rId181"/>
    <p:sldId id="2147469950" r:id="rId182"/>
    <p:sldId id="10014" r:id="rId183"/>
    <p:sldId id="10073" r:id="rId184"/>
    <p:sldId id="2147469951" r:id="rId185"/>
    <p:sldId id="8688" r:id="rId186"/>
    <p:sldId id="2134805396" r:id="rId187"/>
    <p:sldId id="2147469895" r:id="rId188"/>
    <p:sldId id="2147470014" r:id="rId189"/>
    <p:sldId id="2134805414" r:id="rId190"/>
    <p:sldId id="2134805415" r:id="rId191"/>
    <p:sldId id="2134805419" r:id="rId192"/>
    <p:sldId id="2134805416" r:id="rId193"/>
    <p:sldId id="2134805417" r:id="rId194"/>
    <p:sldId id="2134805418" r:id="rId195"/>
    <p:sldId id="2134805420" r:id="rId196"/>
    <p:sldId id="2134805421" r:id="rId197"/>
    <p:sldId id="2147469999" r:id="rId198"/>
    <p:sldId id="2134805496" r:id="rId199"/>
    <p:sldId id="2134805497" r:id="rId200"/>
    <p:sldId id="2134805498" r:id="rId201"/>
    <p:sldId id="2134805499" r:id="rId202"/>
    <p:sldId id="2134805495" r:id="rId203"/>
    <p:sldId id="2147470000" r:id="rId204"/>
    <p:sldId id="2147470001" r:id="rId205"/>
    <p:sldId id="2134805437" r:id="rId206"/>
    <p:sldId id="2134805431" r:id="rId207"/>
    <p:sldId id="2134805482" r:id="rId208"/>
    <p:sldId id="2134805483" r:id="rId209"/>
    <p:sldId id="2134805484" r:id="rId210"/>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61C966-AFCE-43EC-8E30-2C8D4EFCEADD}">
          <p14:sldIdLst>
            <p14:sldId id="2147469997"/>
            <p14:sldId id="2147470039"/>
            <p14:sldId id="2134805319"/>
            <p14:sldId id="2147470037"/>
            <p14:sldId id="361"/>
          </p14:sldIdLst>
        </p14:section>
        <p14:section name="Agenda" id="{EC196F7E-C66C-4E6D-A529-F29F08460426}">
          <p14:sldIdLst>
            <p14:sldId id="331"/>
            <p14:sldId id="2147470038"/>
          </p14:sldIdLst>
        </p14:section>
        <p14:section name="A retrospective" id="{17D23673-FF53-4FEE-8767-CEFB2015B419}">
          <p14:sldIdLst>
            <p14:sldId id="2147469893"/>
            <p14:sldId id="2147469889"/>
            <p14:sldId id="2147469890"/>
            <p14:sldId id="2147469891"/>
          </p14:sldIdLst>
        </p14:section>
        <p14:section name="Separating development" id="{10D934F9-88E4-4DF7-9315-DFFE38B6EFA3}">
          <p14:sldIdLst>
            <p14:sldId id="2134805339"/>
            <p14:sldId id="2134805401"/>
          </p14:sldIdLst>
        </p14:section>
        <p14:section name="Agenda" id="{892A2FA2-7EBF-4617-A5A2-213D0FAF2FE3}">
          <p14:sldIdLst>
            <p14:sldId id="2147470019"/>
          </p14:sldIdLst>
        </p14:section>
        <p14:section name="Data preparation" id="{904B9ABC-98F1-4890-9D79-4C16FA581388}">
          <p14:sldIdLst>
            <p14:sldId id="2134805361"/>
            <p14:sldId id="2147470029"/>
            <p14:sldId id="2147469912"/>
            <p14:sldId id="2147470063"/>
            <p14:sldId id="2147470065"/>
            <p14:sldId id="2134805395"/>
            <p14:sldId id="2147469918"/>
            <p14:sldId id="2134805351"/>
            <p14:sldId id="2134805352"/>
            <p14:sldId id="2147469919"/>
            <p14:sldId id="2134805356"/>
            <p14:sldId id="2147469920"/>
            <p14:sldId id="2147470018"/>
            <p14:sldId id="2134805357"/>
            <p14:sldId id="2361"/>
            <p14:sldId id="2134805399"/>
          </p14:sldIdLst>
        </p14:section>
        <p14:section name="Data modeling" id="{AD366B8C-F16F-420F-85F1-90974D88BCE4}">
          <p14:sldIdLst>
            <p14:sldId id="2134805391"/>
            <p14:sldId id="2147470031"/>
            <p14:sldId id="452"/>
            <p14:sldId id="2134805322"/>
            <p14:sldId id="2147470020"/>
            <p14:sldId id="2134805336"/>
            <p14:sldId id="2134805397"/>
            <p14:sldId id="2147469963"/>
            <p14:sldId id="2147469902"/>
            <p14:sldId id="2134805398"/>
            <p14:sldId id="2147469900"/>
            <p14:sldId id="2147469903"/>
            <p14:sldId id="2147469925"/>
            <p14:sldId id="2134805392"/>
            <p14:sldId id="2147470021"/>
            <p14:sldId id="2147470022"/>
            <p14:sldId id="2980"/>
            <p14:sldId id="8747"/>
            <p14:sldId id="8748"/>
            <p14:sldId id="2147469972"/>
            <p14:sldId id="2134805340"/>
            <p14:sldId id="2147470023"/>
            <p14:sldId id="2147470025"/>
            <p14:sldId id="2147470026"/>
            <p14:sldId id="2147469898"/>
            <p14:sldId id="2134805387"/>
            <p14:sldId id="2134805380"/>
            <p14:sldId id="2147469968"/>
            <p14:sldId id="2147469975"/>
            <p14:sldId id="2147469969"/>
            <p14:sldId id="2147469979"/>
            <p14:sldId id="2147469983"/>
            <p14:sldId id="2147469984"/>
            <p14:sldId id="2147469985"/>
            <p14:sldId id="2147469988"/>
            <p14:sldId id="2147469986"/>
            <p14:sldId id="2147469987"/>
            <p14:sldId id="2147469990"/>
            <p14:sldId id="2147469991"/>
            <p14:sldId id="2147470027"/>
            <p14:sldId id="2147469982"/>
            <p14:sldId id="2147470034"/>
            <p14:sldId id="2147470036"/>
            <p14:sldId id="2147470035"/>
            <p14:sldId id="2147469924"/>
            <p14:sldId id="2357"/>
            <p14:sldId id="2358"/>
            <p14:sldId id="376"/>
            <p14:sldId id="2147469980"/>
            <p14:sldId id="2147469961"/>
            <p14:sldId id="2147469962"/>
            <p14:sldId id="2147469928"/>
            <p14:sldId id="2147469929"/>
            <p14:sldId id="2134805371"/>
            <p14:sldId id="2147469933"/>
            <p14:sldId id="2147469935"/>
            <p14:sldId id="2147469938"/>
            <p14:sldId id="2147469926"/>
            <p14:sldId id="2134805321"/>
            <p14:sldId id="2147469939"/>
            <p14:sldId id="2147469940"/>
            <p14:sldId id="2147469941"/>
            <p14:sldId id="2147469942"/>
            <p14:sldId id="2147469943"/>
            <p14:sldId id="2147469978"/>
            <p14:sldId id="2147469989"/>
            <p14:sldId id="2147469977"/>
          </p14:sldIdLst>
        </p14:section>
        <p14:section name="Data visualization" id="{341DC7CA-8F44-4A1D-9531-13BBE3EB2D50}">
          <p14:sldIdLst>
            <p14:sldId id="2147469904"/>
            <p14:sldId id="2147470049"/>
            <p14:sldId id="2147470033"/>
            <p14:sldId id="2134805309"/>
            <p14:sldId id="2076136548"/>
            <p14:sldId id="2076137857"/>
            <p14:sldId id="2134805313"/>
            <p14:sldId id="2134805317"/>
            <p14:sldId id="2134805314"/>
            <p14:sldId id="2147470040"/>
            <p14:sldId id="2147470007"/>
            <p14:sldId id="2147470008"/>
            <p14:sldId id="2147470009"/>
            <p14:sldId id="2147469957"/>
            <p14:sldId id="2147469956"/>
            <p14:sldId id="2147470047"/>
            <p14:sldId id="2147469958"/>
            <p14:sldId id="2147470042"/>
            <p14:sldId id="2147470055"/>
            <p14:sldId id="2147470045"/>
            <p14:sldId id="2147470043"/>
            <p14:sldId id="2147470052"/>
            <p14:sldId id="2147470053"/>
            <p14:sldId id="2147470057"/>
            <p14:sldId id="2147470048"/>
            <p14:sldId id="2147470059"/>
            <p14:sldId id="2147470062"/>
            <p14:sldId id="2147470060"/>
            <p14:sldId id="2147470002"/>
            <p14:sldId id="2134805500"/>
            <p14:sldId id="2134805501"/>
            <p14:sldId id="2134805440"/>
            <p14:sldId id="2134805439"/>
            <p14:sldId id="2134805441"/>
            <p14:sldId id="2134805442"/>
            <p14:sldId id="2134805434"/>
            <p14:sldId id="2134805445"/>
            <p14:sldId id="2134805473"/>
            <p14:sldId id="2134805475"/>
            <p14:sldId id="2134805477"/>
            <p14:sldId id="2134805436"/>
            <p14:sldId id="2134805478"/>
            <p14:sldId id="2134805479"/>
            <p14:sldId id="2134805438"/>
            <p14:sldId id="2134805481"/>
            <p14:sldId id="2134805457"/>
            <p14:sldId id="2134805471"/>
            <p14:sldId id="2147470006"/>
            <p14:sldId id="2147470015"/>
          </p14:sldIdLst>
        </p14:section>
        <p14:section name="Data Culture" id="{5593C7CA-D726-446B-8652-6E99D8B978C1}">
          <p14:sldIdLst>
            <p14:sldId id="2147469947"/>
            <p14:sldId id="8706"/>
            <p14:sldId id="8685"/>
            <p14:sldId id="8689"/>
            <p14:sldId id="8692"/>
            <p14:sldId id="8693"/>
            <p14:sldId id="8686"/>
            <p14:sldId id="8694"/>
            <p14:sldId id="8710"/>
            <p14:sldId id="2134805393"/>
            <p14:sldId id="8696"/>
            <p14:sldId id="2147469948"/>
            <p14:sldId id="2134805400"/>
            <p14:sldId id="8697"/>
            <p14:sldId id="10056"/>
            <p14:sldId id="10074"/>
            <p14:sldId id="2134805394"/>
            <p14:sldId id="10057"/>
            <p14:sldId id="10060"/>
            <p14:sldId id="2147469949"/>
            <p14:sldId id="2147469950"/>
            <p14:sldId id="10014"/>
            <p14:sldId id="10073"/>
            <p14:sldId id="2147469951"/>
            <p14:sldId id="8688"/>
          </p14:sldIdLst>
        </p14:section>
        <p14:section name="Closing" id="{5367BB53-6C18-48FA-8434-79681233C6DF}">
          <p14:sldIdLst>
            <p14:sldId id="2134805396"/>
            <p14:sldId id="2147469895"/>
          </p14:sldIdLst>
        </p14:section>
        <p14:section name="Appendix" id="{D54E3151-5787-4147-9BDF-BD1A06F5E6C9}">
          <p14:sldIdLst>
            <p14:sldId id="2147470014"/>
            <p14:sldId id="2134805414"/>
            <p14:sldId id="2134805415"/>
            <p14:sldId id="2134805419"/>
            <p14:sldId id="2134805416"/>
            <p14:sldId id="2134805417"/>
            <p14:sldId id="2134805418"/>
            <p14:sldId id="2134805420"/>
            <p14:sldId id="2134805421"/>
            <p14:sldId id="2147469999"/>
            <p14:sldId id="2134805496"/>
            <p14:sldId id="2134805497"/>
            <p14:sldId id="2134805498"/>
            <p14:sldId id="2134805499"/>
            <p14:sldId id="2134805495"/>
            <p14:sldId id="2147470000"/>
            <p14:sldId id="2147470001"/>
            <p14:sldId id="2134805437"/>
            <p14:sldId id="2134805431"/>
            <p14:sldId id="2134805482"/>
            <p14:sldId id="2134805483"/>
            <p14:sldId id="213480548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Caitlyn Ryan" initials="CR" lastIdx="9" clrIdx="7">
    <p:extLst>
      <p:ext uri="{19B8F6BF-5375-455C-9EA6-DF929625EA0E}">
        <p15:presenceInfo xmlns:p15="http://schemas.microsoft.com/office/powerpoint/2012/main" userId="S-1-5-21-383413107-1061881802-891584314-12522" providerId="AD"/>
      </p:ext>
    </p:extLst>
  </p:cmAuthor>
  <p:cmAuthor id="1" name="Mary Feil-Jacobs" initials="MFJ" lastIdx="43" clrIdx="1"/>
  <p:cmAuthor id="8" name="Colin Murphy" initials="CM" lastIdx="2" clrIdx="8">
    <p:extLst>
      <p:ext uri="{19B8F6BF-5375-455C-9EA6-DF929625EA0E}">
        <p15:presenceInfo xmlns:p15="http://schemas.microsoft.com/office/powerpoint/2012/main" userId="S-1-5-21-2127521184-1604012920-1887927527-9255010"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John Doyle" initials="JD" lastIdx="4" clrIdx="9">
    <p:extLst>
      <p:ext uri="{19B8F6BF-5375-455C-9EA6-DF929625EA0E}">
        <p15:presenceInfo xmlns:p15="http://schemas.microsoft.com/office/powerpoint/2012/main" userId="S-1-5-21-2127521184-1604012920-1887927527-239011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Brittany Hart" initials="BH [2]" lastIdx="16" clrIdx="10">
    <p:extLst>
      <p:ext uri="{19B8F6BF-5375-455C-9EA6-DF929625EA0E}">
        <p15:presenceInfo xmlns:p15="http://schemas.microsoft.com/office/powerpoint/2012/main" userId="S::BrittanyH@silverfoxprod.com::0b940bb1-f19f-4ede-b667-81bd2230cbc6" providerId="AD"/>
      </p:ext>
    </p:extLst>
  </p:cmAuthor>
  <p:cmAuthor id="4" name="Mitchell Derrey" initials="MD" lastIdx="1" clrIdx="4">
    <p:extLst>
      <p:ext uri="{19B8F6BF-5375-455C-9EA6-DF929625EA0E}">
        <p15:presenceInfo xmlns:p15="http://schemas.microsoft.com/office/powerpoint/2012/main" userId="S-1-5-21-383413107-1061881802-891584314-4851" providerId="AD"/>
      </p:ext>
    </p:extLst>
  </p:cmAuthor>
  <p:cmAuthor id="5" name="David Griffith" initials="DG" lastIdx="1" clrIdx="5">
    <p:extLst>
      <p:ext uri="{19B8F6BF-5375-455C-9EA6-DF929625EA0E}">
        <p15:presenceInfo xmlns:p15="http://schemas.microsoft.com/office/powerpoint/2012/main" userId="S-1-5-21-383413107-1061881802-891584314-4667" providerId="AD"/>
      </p:ext>
    </p:extLst>
  </p:cmAuthor>
  <p:cmAuthor id="6" name="Brittany Hart" initials="BH" lastIdx="8" clrIdx="6">
    <p:extLst>
      <p:ext uri="{19B8F6BF-5375-455C-9EA6-DF929625EA0E}">
        <p15:presenceInfo xmlns:p15="http://schemas.microsoft.com/office/powerpoint/2012/main" userId="S-1-5-21-383413107-1061881802-891584314-100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A3D"/>
    <a:srgbClr val="F2C811"/>
    <a:srgbClr val="BB6100"/>
    <a:srgbClr val="0078D4"/>
    <a:srgbClr val="ADADAD"/>
    <a:srgbClr val="000000"/>
    <a:srgbClr val="3C3C41"/>
    <a:srgbClr val="525252"/>
    <a:srgbClr val="6A4B16"/>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07999E-EC8D-435C-95D5-B8CD345C58D7}" v="327" dt="2023-03-03T17:48:07.1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229" autoAdjust="0"/>
  </p:normalViewPr>
  <p:slideViewPr>
    <p:cSldViewPr snapToGrid="0">
      <p:cViewPr>
        <p:scale>
          <a:sx n="125" d="100"/>
          <a:sy n="125" d="100"/>
        </p:scale>
        <p:origin x="60" y="31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63" Type="http://schemas.openxmlformats.org/officeDocument/2006/relationships/slide" Target="slides/slide48.xml"/><Relationship Id="rId84" Type="http://schemas.openxmlformats.org/officeDocument/2006/relationships/slide" Target="slides/slide69.xml"/><Relationship Id="rId138" Type="http://schemas.openxmlformats.org/officeDocument/2006/relationships/slide" Target="slides/slide123.xml"/><Relationship Id="rId159" Type="http://schemas.openxmlformats.org/officeDocument/2006/relationships/slide" Target="slides/slide144.xml"/><Relationship Id="rId170" Type="http://schemas.openxmlformats.org/officeDocument/2006/relationships/slide" Target="slides/slide155.xml"/><Relationship Id="rId191" Type="http://schemas.openxmlformats.org/officeDocument/2006/relationships/slide" Target="slides/slide176.xml"/><Relationship Id="rId205" Type="http://schemas.openxmlformats.org/officeDocument/2006/relationships/slide" Target="slides/slide190.xml"/><Relationship Id="rId107" Type="http://schemas.openxmlformats.org/officeDocument/2006/relationships/slide" Target="slides/slide92.xml"/><Relationship Id="rId11" Type="http://schemas.openxmlformats.org/officeDocument/2006/relationships/slideMaster" Target="slideMasters/slideMaster8.xml"/><Relationship Id="rId32" Type="http://schemas.openxmlformats.org/officeDocument/2006/relationships/slide" Target="slides/slide17.xml"/><Relationship Id="rId53" Type="http://schemas.openxmlformats.org/officeDocument/2006/relationships/slide" Target="slides/slide38.xml"/><Relationship Id="rId74" Type="http://schemas.openxmlformats.org/officeDocument/2006/relationships/slide" Target="slides/slide59.xml"/><Relationship Id="rId128" Type="http://schemas.openxmlformats.org/officeDocument/2006/relationships/slide" Target="slides/slide113.xml"/><Relationship Id="rId149" Type="http://schemas.openxmlformats.org/officeDocument/2006/relationships/slide" Target="slides/slide134.xml"/><Relationship Id="rId5" Type="http://schemas.openxmlformats.org/officeDocument/2006/relationships/slideMaster" Target="slideMasters/slideMaster2.xml"/><Relationship Id="rId95" Type="http://schemas.openxmlformats.org/officeDocument/2006/relationships/slide" Target="slides/slide80.xml"/><Relationship Id="rId160" Type="http://schemas.openxmlformats.org/officeDocument/2006/relationships/slide" Target="slides/slide145.xml"/><Relationship Id="rId181" Type="http://schemas.openxmlformats.org/officeDocument/2006/relationships/slide" Target="slides/slide166.xml"/><Relationship Id="rId216" Type="http://schemas.openxmlformats.org/officeDocument/2006/relationships/theme" Target="theme/theme1.xml"/><Relationship Id="rId22" Type="http://schemas.openxmlformats.org/officeDocument/2006/relationships/slide" Target="slides/slide7.xml"/><Relationship Id="rId43" Type="http://schemas.openxmlformats.org/officeDocument/2006/relationships/slide" Target="slides/slide28.xml"/><Relationship Id="rId64" Type="http://schemas.openxmlformats.org/officeDocument/2006/relationships/slide" Target="slides/slide49.xml"/><Relationship Id="rId118" Type="http://schemas.openxmlformats.org/officeDocument/2006/relationships/slide" Target="slides/slide103.xml"/><Relationship Id="rId139" Type="http://schemas.openxmlformats.org/officeDocument/2006/relationships/slide" Target="slides/slide124.xml"/><Relationship Id="rId85" Type="http://schemas.openxmlformats.org/officeDocument/2006/relationships/slide" Target="slides/slide70.xml"/><Relationship Id="rId150" Type="http://schemas.openxmlformats.org/officeDocument/2006/relationships/slide" Target="slides/slide135.xml"/><Relationship Id="rId171" Type="http://schemas.openxmlformats.org/officeDocument/2006/relationships/slide" Target="slides/slide156.xml"/><Relationship Id="rId192" Type="http://schemas.openxmlformats.org/officeDocument/2006/relationships/slide" Target="slides/slide177.xml"/><Relationship Id="rId206" Type="http://schemas.openxmlformats.org/officeDocument/2006/relationships/slide" Target="slides/slide191.xml"/><Relationship Id="rId12" Type="http://schemas.openxmlformats.org/officeDocument/2006/relationships/slideMaster" Target="slideMasters/slideMaster9.xml"/><Relationship Id="rId33" Type="http://schemas.openxmlformats.org/officeDocument/2006/relationships/slide" Target="slides/slide18.xml"/><Relationship Id="rId108" Type="http://schemas.openxmlformats.org/officeDocument/2006/relationships/slide" Target="slides/slide93.xml"/><Relationship Id="rId129" Type="http://schemas.openxmlformats.org/officeDocument/2006/relationships/slide" Target="slides/slide114.xml"/><Relationship Id="rId54" Type="http://schemas.openxmlformats.org/officeDocument/2006/relationships/slide" Target="slides/slide39.xml"/><Relationship Id="rId75" Type="http://schemas.openxmlformats.org/officeDocument/2006/relationships/slide" Target="slides/slide60.xml"/><Relationship Id="rId96" Type="http://schemas.openxmlformats.org/officeDocument/2006/relationships/slide" Target="slides/slide81.xml"/><Relationship Id="rId140" Type="http://schemas.openxmlformats.org/officeDocument/2006/relationships/slide" Target="slides/slide125.xml"/><Relationship Id="rId161" Type="http://schemas.openxmlformats.org/officeDocument/2006/relationships/slide" Target="slides/slide146.xml"/><Relationship Id="rId182" Type="http://schemas.openxmlformats.org/officeDocument/2006/relationships/slide" Target="slides/slide167.xml"/><Relationship Id="rId217" Type="http://schemas.openxmlformats.org/officeDocument/2006/relationships/tableStyles" Target="tableStyles.xml"/><Relationship Id="rId6" Type="http://schemas.openxmlformats.org/officeDocument/2006/relationships/slideMaster" Target="slideMasters/slideMaster3.xml"/><Relationship Id="rId23" Type="http://schemas.openxmlformats.org/officeDocument/2006/relationships/slide" Target="slides/slide8.xml"/><Relationship Id="rId119" Type="http://schemas.openxmlformats.org/officeDocument/2006/relationships/slide" Target="slides/slide104.xml"/><Relationship Id="rId44" Type="http://schemas.openxmlformats.org/officeDocument/2006/relationships/slide" Target="slides/slide29.xml"/><Relationship Id="rId65" Type="http://schemas.openxmlformats.org/officeDocument/2006/relationships/slide" Target="slides/slide50.xml"/><Relationship Id="rId86" Type="http://schemas.openxmlformats.org/officeDocument/2006/relationships/slide" Target="slides/slide71.xml"/><Relationship Id="rId130" Type="http://schemas.openxmlformats.org/officeDocument/2006/relationships/slide" Target="slides/slide115.xml"/><Relationship Id="rId151" Type="http://schemas.openxmlformats.org/officeDocument/2006/relationships/slide" Target="slides/slide136.xml"/><Relationship Id="rId172" Type="http://schemas.openxmlformats.org/officeDocument/2006/relationships/slide" Target="slides/slide157.xml"/><Relationship Id="rId193" Type="http://schemas.openxmlformats.org/officeDocument/2006/relationships/slide" Target="slides/slide178.xml"/><Relationship Id="rId207" Type="http://schemas.openxmlformats.org/officeDocument/2006/relationships/slide" Target="slides/slide192.xml"/><Relationship Id="rId13" Type="http://schemas.openxmlformats.org/officeDocument/2006/relationships/slideMaster" Target="slideMasters/slideMaster10.xml"/><Relationship Id="rId109" Type="http://schemas.openxmlformats.org/officeDocument/2006/relationships/slide" Target="slides/slide94.xml"/><Relationship Id="rId34" Type="http://schemas.openxmlformats.org/officeDocument/2006/relationships/slide" Target="slides/slide19.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20" Type="http://schemas.openxmlformats.org/officeDocument/2006/relationships/slide" Target="slides/slide105.xml"/><Relationship Id="rId141" Type="http://schemas.openxmlformats.org/officeDocument/2006/relationships/slide" Target="slides/slide126.xml"/><Relationship Id="rId7" Type="http://schemas.openxmlformats.org/officeDocument/2006/relationships/slideMaster" Target="slideMasters/slideMaster4.xml"/><Relationship Id="rId162" Type="http://schemas.openxmlformats.org/officeDocument/2006/relationships/slide" Target="slides/slide147.xml"/><Relationship Id="rId183" Type="http://schemas.openxmlformats.org/officeDocument/2006/relationships/slide" Target="slides/slide168.xml"/><Relationship Id="rId218" Type="http://schemas.microsoft.com/office/2016/11/relationships/changesInfo" Target="changesInfos/changesInfo1.xml"/><Relationship Id="rId24" Type="http://schemas.openxmlformats.org/officeDocument/2006/relationships/slide" Target="slides/slide9.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31" Type="http://schemas.openxmlformats.org/officeDocument/2006/relationships/slide" Target="slides/slide116.xml"/><Relationship Id="rId152" Type="http://schemas.openxmlformats.org/officeDocument/2006/relationships/slide" Target="slides/slide137.xml"/><Relationship Id="rId173" Type="http://schemas.openxmlformats.org/officeDocument/2006/relationships/slide" Target="slides/slide158.xml"/><Relationship Id="rId194" Type="http://schemas.openxmlformats.org/officeDocument/2006/relationships/slide" Target="slides/slide179.xml"/><Relationship Id="rId208" Type="http://schemas.openxmlformats.org/officeDocument/2006/relationships/slide" Target="slides/slide193.xml"/><Relationship Id="rId14" Type="http://schemas.openxmlformats.org/officeDocument/2006/relationships/slideMaster" Target="slideMasters/slideMaster11.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105" Type="http://schemas.openxmlformats.org/officeDocument/2006/relationships/slide" Target="slides/slide90.xml"/><Relationship Id="rId126" Type="http://schemas.openxmlformats.org/officeDocument/2006/relationships/slide" Target="slides/slide111.xml"/><Relationship Id="rId147" Type="http://schemas.openxmlformats.org/officeDocument/2006/relationships/slide" Target="slides/slide132.xml"/><Relationship Id="rId168" Type="http://schemas.openxmlformats.org/officeDocument/2006/relationships/slide" Target="slides/slide153.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slide" Target="slides/slide106.xml"/><Relationship Id="rId142" Type="http://schemas.openxmlformats.org/officeDocument/2006/relationships/slide" Target="slides/slide127.xml"/><Relationship Id="rId163" Type="http://schemas.openxmlformats.org/officeDocument/2006/relationships/slide" Target="slides/slide148.xml"/><Relationship Id="rId184" Type="http://schemas.openxmlformats.org/officeDocument/2006/relationships/slide" Target="slides/slide169.xml"/><Relationship Id="rId189" Type="http://schemas.openxmlformats.org/officeDocument/2006/relationships/slide" Target="slides/slide174.xml"/><Relationship Id="rId219" Type="http://schemas.microsoft.com/office/2015/10/relationships/revisionInfo" Target="revisionInfo.xml"/><Relationship Id="rId3" Type="http://schemas.openxmlformats.org/officeDocument/2006/relationships/customXml" Target="../customXml/item3.xml"/><Relationship Id="rId214" Type="http://schemas.openxmlformats.org/officeDocument/2006/relationships/presProps" Target="presProps.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116" Type="http://schemas.openxmlformats.org/officeDocument/2006/relationships/slide" Target="slides/slide101.xml"/><Relationship Id="rId137" Type="http://schemas.openxmlformats.org/officeDocument/2006/relationships/slide" Target="slides/slide122.xml"/><Relationship Id="rId158" Type="http://schemas.openxmlformats.org/officeDocument/2006/relationships/slide" Target="slides/slide143.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slide" Target="slides/slide96.xml"/><Relationship Id="rId132" Type="http://schemas.openxmlformats.org/officeDocument/2006/relationships/slide" Target="slides/slide117.xml"/><Relationship Id="rId153" Type="http://schemas.openxmlformats.org/officeDocument/2006/relationships/slide" Target="slides/slide138.xml"/><Relationship Id="rId174" Type="http://schemas.openxmlformats.org/officeDocument/2006/relationships/slide" Target="slides/slide159.xml"/><Relationship Id="rId179" Type="http://schemas.openxmlformats.org/officeDocument/2006/relationships/slide" Target="slides/slide164.xml"/><Relationship Id="rId195" Type="http://schemas.openxmlformats.org/officeDocument/2006/relationships/slide" Target="slides/slide180.xml"/><Relationship Id="rId209" Type="http://schemas.openxmlformats.org/officeDocument/2006/relationships/slide" Target="slides/slide194.xml"/><Relationship Id="rId190" Type="http://schemas.openxmlformats.org/officeDocument/2006/relationships/slide" Target="slides/slide175.xml"/><Relationship Id="rId204" Type="http://schemas.openxmlformats.org/officeDocument/2006/relationships/slide" Target="slides/slide189.xml"/><Relationship Id="rId15" Type="http://schemas.openxmlformats.org/officeDocument/2006/relationships/slideMaster" Target="slideMasters/slideMaster12.xml"/><Relationship Id="rId36" Type="http://schemas.openxmlformats.org/officeDocument/2006/relationships/slide" Target="slides/slide21.xml"/><Relationship Id="rId57" Type="http://schemas.openxmlformats.org/officeDocument/2006/relationships/slide" Target="slides/slide42.xml"/><Relationship Id="rId106" Type="http://schemas.openxmlformats.org/officeDocument/2006/relationships/slide" Target="slides/slide91.xml"/><Relationship Id="rId127" Type="http://schemas.openxmlformats.org/officeDocument/2006/relationships/slide" Target="slides/slide112.xml"/><Relationship Id="rId10" Type="http://schemas.openxmlformats.org/officeDocument/2006/relationships/slideMaster" Target="slideMasters/slideMaster7.xml"/><Relationship Id="rId31" Type="http://schemas.openxmlformats.org/officeDocument/2006/relationships/slide" Target="slides/slide16.xml"/><Relationship Id="rId52" Type="http://schemas.openxmlformats.org/officeDocument/2006/relationships/slide" Target="slides/slide37.xml"/><Relationship Id="rId73" Type="http://schemas.openxmlformats.org/officeDocument/2006/relationships/slide" Target="slides/slide58.xml"/><Relationship Id="rId78" Type="http://schemas.openxmlformats.org/officeDocument/2006/relationships/slide" Target="slides/slide63.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43" Type="http://schemas.openxmlformats.org/officeDocument/2006/relationships/slide" Target="slides/slide128.xml"/><Relationship Id="rId148" Type="http://schemas.openxmlformats.org/officeDocument/2006/relationships/slide" Target="slides/slide133.xml"/><Relationship Id="rId164" Type="http://schemas.openxmlformats.org/officeDocument/2006/relationships/slide" Target="slides/slide149.xml"/><Relationship Id="rId169" Type="http://schemas.openxmlformats.org/officeDocument/2006/relationships/slide" Target="slides/slide154.xml"/><Relationship Id="rId185" Type="http://schemas.openxmlformats.org/officeDocument/2006/relationships/slide" Target="slides/slide170.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5.xml"/><Relationship Id="rId210" Type="http://schemas.openxmlformats.org/officeDocument/2006/relationships/slide" Target="slides/slide195.xml"/><Relationship Id="rId215" Type="http://schemas.openxmlformats.org/officeDocument/2006/relationships/viewProps" Target="viewProps.xml"/><Relationship Id="rId26" Type="http://schemas.openxmlformats.org/officeDocument/2006/relationships/slide" Target="slides/slide11.xml"/><Relationship Id="rId47" Type="http://schemas.openxmlformats.org/officeDocument/2006/relationships/slide" Target="slides/slide32.xml"/><Relationship Id="rId68" Type="http://schemas.openxmlformats.org/officeDocument/2006/relationships/slide" Target="slides/slide53.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slide" Target="slides/slide118.xml"/><Relationship Id="rId154" Type="http://schemas.openxmlformats.org/officeDocument/2006/relationships/slide" Target="slides/slide139.xml"/><Relationship Id="rId175" Type="http://schemas.openxmlformats.org/officeDocument/2006/relationships/slide" Target="slides/slide160.xml"/><Relationship Id="rId196" Type="http://schemas.openxmlformats.org/officeDocument/2006/relationships/slide" Target="slides/slide181.xml"/><Relationship Id="rId200" Type="http://schemas.openxmlformats.org/officeDocument/2006/relationships/slide" Target="slides/slide185.xml"/><Relationship Id="rId16" Type="http://schemas.openxmlformats.org/officeDocument/2006/relationships/slide" Target="slides/slide1.xml"/><Relationship Id="rId37" Type="http://schemas.openxmlformats.org/officeDocument/2006/relationships/slide" Target="slides/slide22.xml"/><Relationship Id="rId58" Type="http://schemas.openxmlformats.org/officeDocument/2006/relationships/slide" Target="slides/slide43.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44" Type="http://schemas.openxmlformats.org/officeDocument/2006/relationships/slide" Target="slides/slide129.xml"/><Relationship Id="rId90" Type="http://schemas.openxmlformats.org/officeDocument/2006/relationships/slide" Target="slides/slide75.xml"/><Relationship Id="rId165" Type="http://schemas.openxmlformats.org/officeDocument/2006/relationships/slide" Target="slides/slide150.xml"/><Relationship Id="rId186" Type="http://schemas.openxmlformats.org/officeDocument/2006/relationships/slide" Target="slides/slide171.xml"/><Relationship Id="rId211" Type="http://schemas.openxmlformats.org/officeDocument/2006/relationships/notesMaster" Target="notesMasters/notesMaster1.xml"/><Relationship Id="rId27" Type="http://schemas.openxmlformats.org/officeDocument/2006/relationships/slide" Target="slides/slide12.xml"/><Relationship Id="rId48" Type="http://schemas.openxmlformats.org/officeDocument/2006/relationships/slide" Target="slides/slide33.xml"/><Relationship Id="rId69" Type="http://schemas.openxmlformats.org/officeDocument/2006/relationships/slide" Target="slides/slide54.xml"/><Relationship Id="rId113" Type="http://schemas.openxmlformats.org/officeDocument/2006/relationships/slide" Target="slides/slide98.xml"/><Relationship Id="rId134" Type="http://schemas.openxmlformats.org/officeDocument/2006/relationships/slide" Target="slides/slide119.xml"/><Relationship Id="rId80" Type="http://schemas.openxmlformats.org/officeDocument/2006/relationships/slide" Target="slides/slide65.xml"/><Relationship Id="rId155" Type="http://schemas.openxmlformats.org/officeDocument/2006/relationships/slide" Target="slides/slide140.xml"/><Relationship Id="rId176" Type="http://schemas.openxmlformats.org/officeDocument/2006/relationships/slide" Target="slides/slide161.xml"/><Relationship Id="rId197" Type="http://schemas.openxmlformats.org/officeDocument/2006/relationships/slide" Target="slides/slide182.xml"/><Relationship Id="rId201" Type="http://schemas.openxmlformats.org/officeDocument/2006/relationships/slide" Target="slides/slide186.xml"/><Relationship Id="rId17" Type="http://schemas.openxmlformats.org/officeDocument/2006/relationships/slide" Target="slides/slide2.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24" Type="http://schemas.openxmlformats.org/officeDocument/2006/relationships/slide" Target="slides/slide109.xml"/><Relationship Id="rId70" Type="http://schemas.openxmlformats.org/officeDocument/2006/relationships/slide" Target="slides/slide55.xml"/><Relationship Id="rId91" Type="http://schemas.openxmlformats.org/officeDocument/2006/relationships/slide" Target="slides/slide76.xml"/><Relationship Id="rId145" Type="http://schemas.openxmlformats.org/officeDocument/2006/relationships/slide" Target="slides/slide130.xml"/><Relationship Id="rId166" Type="http://schemas.openxmlformats.org/officeDocument/2006/relationships/slide" Target="slides/slide151.xml"/><Relationship Id="rId187" Type="http://schemas.openxmlformats.org/officeDocument/2006/relationships/slide" Target="slides/slide172.xml"/><Relationship Id="rId1" Type="http://schemas.openxmlformats.org/officeDocument/2006/relationships/customXml" Target="../customXml/item1.xml"/><Relationship Id="rId212" Type="http://schemas.openxmlformats.org/officeDocument/2006/relationships/handoutMaster" Target="handoutMasters/handoutMaster1.xml"/><Relationship Id="rId28" Type="http://schemas.openxmlformats.org/officeDocument/2006/relationships/slide" Target="slides/slide13.xml"/><Relationship Id="rId49" Type="http://schemas.openxmlformats.org/officeDocument/2006/relationships/slide" Target="slides/slide34.xml"/><Relationship Id="rId114" Type="http://schemas.openxmlformats.org/officeDocument/2006/relationships/slide" Target="slides/slide99.xml"/><Relationship Id="rId60" Type="http://schemas.openxmlformats.org/officeDocument/2006/relationships/slide" Target="slides/slide45.xml"/><Relationship Id="rId81" Type="http://schemas.openxmlformats.org/officeDocument/2006/relationships/slide" Target="slides/slide66.xml"/><Relationship Id="rId135" Type="http://schemas.openxmlformats.org/officeDocument/2006/relationships/slide" Target="slides/slide120.xml"/><Relationship Id="rId156" Type="http://schemas.openxmlformats.org/officeDocument/2006/relationships/slide" Target="slides/slide141.xml"/><Relationship Id="rId177" Type="http://schemas.openxmlformats.org/officeDocument/2006/relationships/slide" Target="slides/slide162.xml"/><Relationship Id="rId198" Type="http://schemas.openxmlformats.org/officeDocument/2006/relationships/slide" Target="slides/slide183.xml"/><Relationship Id="rId202" Type="http://schemas.openxmlformats.org/officeDocument/2006/relationships/slide" Target="slides/slide187.xml"/><Relationship Id="rId18" Type="http://schemas.openxmlformats.org/officeDocument/2006/relationships/slide" Target="slides/slide3.xml"/><Relationship Id="rId39" Type="http://schemas.openxmlformats.org/officeDocument/2006/relationships/slide" Target="slides/slide24.xml"/><Relationship Id="rId50" Type="http://schemas.openxmlformats.org/officeDocument/2006/relationships/slide" Target="slides/slide35.xml"/><Relationship Id="rId104" Type="http://schemas.openxmlformats.org/officeDocument/2006/relationships/slide" Target="slides/slide89.xml"/><Relationship Id="rId125" Type="http://schemas.openxmlformats.org/officeDocument/2006/relationships/slide" Target="slides/slide110.xml"/><Relationship Id="rId146" Type="http://schemas.openxmlformats.org/officeDocument/2006/relationships/slide" Target="slides/slide131.xml"/><Relationship Id="rId167" Type="http://schemas.openxmlformats.org/officeDocument/2006/relationships/slide" Target="slides/slide152.xml"/><Relationship Id="rId188" Type="http://schemas.openxmlformats.org/officeDocument/2006/relationships/slide" Target="slides/slide173.xml"/><Relationship Id="rId71" Type="http://schemas.openxmlformats.org/officeDocument/2006/relationships/slide" Target="slides/slide56.xml"/><Relationship Id="rId92" Type="http://schemas.openxmlformats.org/officeDocument/2006/relationships/slide" Target="slides/slide77.xml"/><Relationship Id="rId213"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14.xml"/><Relationship Id="rId40" Type="http://schemas.openxmlformats.org/officeDocument/2006/relationships/slide" Target="slides/slide25.xml"/><Relationship Id="rId115" Type="http://schemas.openxmlformats.org/officeDocument/2006/relationships/slide" Target="slides/slide100.xml"/><Relationship Id="rId136" Type="http://schemas.openxmlformats.org/officeDocument/2006/relationships/slide" Target="slides/slide121.xml"/><Relationship Id="rId157" Type="http://schemas.openxmlformats.org/officeDocument/2006/relationships/slide" Target="slides/slide142.xml"/><Relationship Id="rId178" Type="http://schemas.openxmlformats.org/officeDocument/2006/relationships/slide" Target="slides/slide163.xml"/><Relationship Id="rId61" Type="http://schemas.openxmlformats.org/officeDocument/2006/relationships/slide" Target="slides/slide46.xml"/><Relationship Id="rId82" Type="http://schemas.openxmlformats.org/officeDocument/2006/relationships/slide" Target="slides/slide67.xml"/><Relationship Id="rId199" Type="http://schemas.openxmlformats.org/officeDocument/2006/relationships/slide" Target="slides/slide184.xml"/><Relationship Id="rId203" Type="http://schemas.openxmlformats.org/officeDocument/2006/relationships/slide" Target="slides/slide188.xml"/><Relationship Id="rId1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Powers" userId="ae4a1fc7-4395-46d3-b2f1-3b3c37036ad1" providerId="ADAL" clId="{B4B2FADB-1391-4175-AFC9-02E3A99082C3}"/>
    <pc:docChg chg="undo custSel modSld">
      <pc:chgData name="Alex Powers" userId="ae4a1fc7-4395-46d3-b2f1-3b3c37036ad1" providerId="ADAL" clId="{B4B2FADB-1391-4175-AFC9-02E3A99082C3}" dt="2022-03-09T17:34:10.708" v="51" actId="20577"/>
      <pc:docMkLst>
        <pc:docMk/>
      </pc:docMkLst>
      <pc:sldChg chg="modNotesTx">
        <pc:chgData name="Alex Powers" userId="ae4a1fc7-4395-46d3-b2f1-3b3c37036ad1" providerId="ADAL" clId="{B4B2FADB-1391-4175-AFC9-02E3A99082C3}" dt="2022-03-09T17:32:50.975" v="30" actId="20577"/>
        <pc:sldMkLst>
          <pc:docMk/>
          <pc:sldMk cId="1017546157" sldId="268"/>
        </pc:sldMkLst>
      </pc:sldChg>
      <pc:sldChg chg="modNotesTx">
        <pc:chgData name="Alex Powers" userId="ae4a1fc7-4395-46d3-b2f1-3b3c37036ad1" providerId="ADAL" clId="{B4B2FADB-1391-4175-AFC9-02E3A99082C3}" dt="2022-03-09T17:32:39.282" v="29" actId="20577"/>
        <pc:sldMkLst>
          <pc:docMk/>
          <pc:sldMk cId="3267254440" sldId="269"/>
        </pc:sldMkLst>
      </pc:sldChg>
      <pc:sldChg chg="modNotesTx">
        <pc:chgData name="Alex Powers" userId="ae4a1fc7-4395-46d3-b2f1-3b3c37036ad1" providerId="ADAL" clId="{B4B2FADB-1391-4175-AFC9-02E3A99082C3}" dt="2022-03-09T17:31:22.832" v="27" actId="20577"/>
        <pc:sldMkLst>
          <pc:docMk/>
          <pc:sldMk cId="590324826" sldId="331"/>
        </pc:sldMkLst>
      </pc:sldChg>
      <pc:sldChg chg="modNotesTx">
        <pc:chgData name="Alex Powers" userId="ae4a1fc7-4395-46d3-b2f1-3b3c37036ad1" providerId="ADAL" clId="{B4B2FADB-1391-4175-AFC9-02E3A99082C3}" dt="2022-03-09T17:26:36.683" v="1" actId="20577"/>
        <pc:sldMkLst>
          <pc:docMk/>
          <pc:sldMk cId="1138756251" sldId="2076137603"/>
        </pc:sldMkLst>
      </pc:sldChg>
      <pc:sldChg chg="modNotesTx">
        <pc:chgData name="Alex Powers" userId="ae4a1fc7-4395-46d3-b2f1-3b3c37036ad1" providerId="ADAL" clId="{B4B2FADB-1391-4175-AFC9-02E3A99082C3}" dt="2022-03-09T17:26:25.785" v="0" actId="20577"/>
        <pc:sldMkLst>
          <pc:docMk/>
          <pc:sldMk cId="3946906249" sldId="2134805319"/>
        </pc:sldMkLst>
      </pc:sldChg>
      <pc:sldChg chg="modSp mod">
        <pc:chgData name="Alex Powers" userId="ae4a1fc7-4395-46d3-b2f1-3b3c37036ad1" providerId="ADAL" clId="{B4B2FADB-1391-4175-AFC9-02E3A99082C3}" dt="2022-03-09T17:27:47.185" v="6" actId="242"/>
        <pc:sldMkLst>
          <pc:docMk/>
          <pc:sldMk cId="2941241533" sldId="2134805336"/>
        </pc:sldMkLst>
        <pc:spChg chg="mod">
          <ac:chgData name="Alex Powers" userId="ae4a1fc7-4395-46d3-b2f1-3b3c37036ad1" providerId="ADAL" clId="{B4B2FADB-1391-4175-AFC9-02E3A99082C3}" dt="2022-03-09T17:27:18.180" v="4" actId="1076"/>
          <ac:spMkLst>
            <pc:docMk/>
            <pc:sldMk cId="2941241533" sldId="2134805336"/>
            <ac:spMk id="24" creationId="{0771EF23-15FC-4401-9994-ADA93A1E01F4}"/>
          </ac:spMkLst>
        </pc:spChg>
        <pc:graphicFrameChg chg="modGraphic">
          <ac:chgData name="Alex Powers" userId="ae4a1fc7-4395-46d3-b2f1-3b3c37036ad1" providerId="ADAL" clId="{B4B2FADB-1391-4175-AFC9-02E3A99082C3}" dt="2022-03-09T17:27:47.185" v="6" actId="242"/>
          <ac:graphicFrameMkLst>
            <pc:docMk/>
            <pc:sldMk cId="2941241533" sldId="2134805336"/>
            <ac:graphicFrameMk id="10" creationId="{10522868-2A6E-47B7-BAF2-549A3431A5C5}"/>
          </ac:graphicFrameMkLst>
        </pc:graphicFrameChg>
      </pc:sldChg>
      <pc:sldChg chg="modNotesTx">
        <pc:chgData name="Alex Powers" userId="ae4a1fc7-4395-46d3-b2f1-3b3c37036ad1" providerId="ADAL" clId="{B4B2FADB-1391-4175-AFC9-02E3A99082C3}" dt="2022-03-09T17:31:02.167" v="26" actId="20577"/>
        <pc:sldMkLst>
          <pc:docMk/>
          <pc:sldMk cId="1020451604" sldId="2134805392"/>
        </pc:sldMkLst>
      </pc:sldChg>
      <pc:sldChg chg="addSp delSp modSp mod">
        <pc:chgData name="Alex Powers" userId="ae4a1fc7-4395-46d3-b2f1-3b3c37036ad1" providerId="ADAL" clId="{B4B2FADB-1391-4175-AFC9-02E3A99082C3}" dt="2022-03-09T17:29:05.627" v="21" actId="478"/>
        <pc:sldMkLst>
          <pc:docMk/>
          <pc:sldMk cId="2809298019" sldId="2134805397"/>
        </pc:sldMkLst>
        <pc:graphicFrameChg chg="mod modGraphic">
          <ac:chgData name="Alex Powers" userId="ae4a1fc7-4395-46d3-b2f1-3b3c37036ad1" providerId="ADAL" clId="{B4B2FADB-1391-4175-AFC9-02E3A99082C3}" dt="2022-03-09T17:29:02.073" v="20" actId="14100"/>
          <ac:graphicFrameMkLst>
            <pc:docMk/>
            <pc:sldMk cId="2809298019" sldId="2134805397"/>
            <ac:graphicFrameMk id="5" creationId="{5DE13ECA-AD23-4A63-BFA8-9511E1994C63}"/>
          </ac:graphicFrameMkLst>
        </pc:graphicFrameChg>
        <pc:graphicFrameChg chg="del">
          <ac:chgData name="Alex Powers" userId="ae4a1fc7-4395-46d3-b2f1-3b3c37036ad1" providerId="ADAL" clId="{B4B2FADB-1391-4175-AFC9-02E3A99082C3}" dt="2022-03-09T17:29:05.627" v="21" actId="478"/>
          <ac:graphicFrameMkLst>
            <pc:docMk/>
            <pc:sldMk cId="2809298019" sldId="2134805397"/>
            <ac:graphicFrameMk id="6" creationId="{2F54243B-7992-4DE3-ACEF-5EFB3AEC2F62}"/>
          </ac:graphicFrameMkLst>
        </pc:graphicFrameChg>
        <pc:graphicFrameChg chg="add del mod">
          <ac:chgData name="Alex Powers" userId="ae4a1fc7-4395-46d3-b2f1-3b3c37036ad1" providerId="ADAL" clId="{B4B2FADB-1391-4175-AFC9-02E3A99082C3}" dt="2022-03-09T17:28:54.822" v="19" actId="478"/>
          <ac:graphicFrameMkLst>
            <pc:docMk/>
            <pc:sldMk cId="2809298019" sldId="2134805397"/>
            <ac:graphicFrameMk id="7" creationId="{3C7E8F80-E1F4-4944-958C-9983C2775965}"/>
          </ac:graphicFrameMkLst>
        </pc:graphicFrameChg>
      </pc:sldChg>
      <pc:sldChg chg="modNotesTx">
        <pc:chgData name="Alex Powers" userId="ae4a1fc7-4395-46d3-b2f1-3b3c37036ad1" providerId="ADAL" clId="{B4B2FADB-1391-4175-AFC9-02E3A99082C3}" dt="2022-03-09T17:32:58.954" v="33" actId="20577"/>
        <pc:sldMkLst>
          <pc:docMk/>
          <pc:sldMk cId="1954379322" sldId="2134805414"/>
        </pc:sldMkLst>
      </pc:sldChg>
      <pc:sldChg chg="modNotesTx">
        <pc:chgData name="Alex Powers" userId="ae4a1fc7-4395-46d3-b2f1-3b3c37036ad1" providerId="ADAL" clId="{B4B2FADB-1391-4175-AFC9-02E3A99082C3}" dt="2022-03-09T17:32:53.667" v="31" actId="20577"/>
        <pc:sldMkLst>
          <pc:docMk/>
          <pc:sldMk cId="1134581134" sldId="2134805471"/>
        </pc:sldMkLst>
      </pc:sldChg>
      <pc:sldChg chg="modNotesTx">
        <pc:chgData name="Alex Powers" userId="ae4a1fc7-4395-46d3-b2f1-3b3c37036ad1" providerId="ADAL" clId="{B4B2FADB-1391-4175-AFC9-02E3A99082C3}" dt="2022-03-09T17:33:06.433" v="34" actId="20577"/>
        <pc:sldMkLst>
          <pc:docMk/>
          <pc:sldMk cId="2972634393" sldId="2134805491"/>
        </pc:sldMkLst>
      </pc:sldChg>
      <pc:sldChg chg="modNotesTx">
        <pc:chgData name="Alex Powers" userId="ae4a1fc7-4395-46d3-b2f1-3b3c37036ad1" providerId="ADAL" clId="{B4B2FADB-1391-4175-AFC9-02E3A99082C3}" dt="2022-03-09T17:33:19.903" v="35" actId="20577"/>
        <pc:sldMkLst>
          <pc:docMk/>
          <pc:sldMk cId="1004513465" sldId="2134805492"/>
        </pc:sldMkLst>
      </pc:sldChg>
      <pc:sldChg chg="modNotesTx">
        <pc:chgData name="Alex Powers" userId="ae4a1fc7-4395-46d3-b2f1-3b3c37036ad1" providerId="ADAL" clId="{B4B2FADB-1391-4175-AFC9-02E3A99082C3}" dt="2022-03-09T17:26:43.894" v="2" actId="20577"/>
        <pc:sldMkLst>
          <pc:docMk/>
          <pc:sldMk cId="1994094466" sldId="2147469891"/>
        </pc:sldMkLst>
      </pc:sldChg>
      <pc:sldChg chg="modAnim">
        <pc:chgData name="Alex Powers" userId="ae4a1fc7-4395-46d3-b2f1-3b3c37036ad1" providerId="ADAL" clId="{B4B2FADB-1391-4175-AFC9-02E3A99082C3}" dt="2022-03-09T17:29:31.685" v="23"/>
        <pc:sldMkLst>
          <pc:docMk/>
          <pc:sldMk cId="712941580" sldId="2147469902"/>
        </pc:sldMkLst>
      </pc:sldChg>
      <pc:sldChg chg="modNotesTx">
        <pc:chgData name="Alex Powers" userId="ae4a1fc7-4395-46d3-b2f1-3b3c37036ad1" providerId="ADAL" clId="{B4B2FADB-1391-4175-AFC9-02E3A99082C3}" dt="2022-03-09T17:30:47.253" v="25" actId="20577"/>
        <pc:sldMkLst>
          <pc:docMk/>
          <pc:sldMk cId="2159753941" sldId="2147469944"/>
        </pc:sldMkLst>
      </pc:sldChg>
      <pc:sldChg chg="modNotesTx">
        <pc:chgData name="Alex Powers" userId="ae4a1fc7-4395-46d3-b2f1-3b3c37036ad1" providerId="ADAL" clId="{B4B2FADB-1391-4175-AFC9-02E3A99082C3}" dt="2022-03-09T17:30:40.509" v="24" actId="20577"/>
        <pc:sldMkLst>
          <pc:docMk/>
          <pc:sldMk cId="2747736574" sldId="2147469955"/>
        </pc:sldMkLst>
      </pc:sldChg>
      <pc:sldChg chg="modNotesTx">
        <pc:chgData name="Alex Powers" userId="ae4a1fc7-4395-46d3-b2f1-3b3c37036ad1" providerId="ADAL" clId="{B4B2FADB-1391-4175-AFC9-02E3A99082C3}" dt="2022-03-09T17:32:28.677" v="28" actId="20577"/>
        <pc:sldMkLst>
          <pc:docMk/>
          <pc:sldMk cId="2792166485" sldId="2147469996"/>
        </pc:sldMkLst>
      </pc:sldChg>
      <pc:sldChg chg="modSp mod">
        <pc:chgData name="Alex Powers" userId="ae4a1fc7-4395-46d3-b2f1-3b3c37036ad1" providerId="ADAL" clId="{B4B2FADB-1391-4175-AFC9-02E3A99082C3}" dt="2022-03-09T17:34:10.708" v="51" actId="20577"/>
        <pc:sldMkLst>
          <pc:docMk/>
          <pc:sldMk cId="2580878638" sldId="2147469997"/>
        </pc:sldMkLst>
        <pc:spChg chg="mod">
          <ac:chgData name="Alex Powers" userId="ae4a1fc7-4395-46d3-b2f1-3b3c37036ad1" providerId="ADAL" clId="{B4B2FADB-1391-4175-AFC9-02E3A99082C3}" dt="2022-03-09T17:34:10.708" v="51" actId="20577"/>
          <ac:spMkLst>
            <pc:docMk/>
            <pc:sldMk cId="2580878638" sldId="2147469997"/>
            <ac:spMk id="4" creationId="{C8F1E3C8-B98E-45A3-87C1-4650493983B3}"/>
          </ac:spMkLst>
        </pc:spChg>
      </pc:sldChg>
    </pc:docChg>
  </pc:docChgLst>
  <pc:docChgLst>
    <pc:chgData name="Alex Powers" userId="ae4a1fc7-4395-46d3-b2f1-3b3c37036ad1" providerId="ADAL" clId="{FF07999E-EC8D-435C-95D5-B8CD345C58D7}"/>
    <pc:docChg chg="undo redo custSel addSld delSld modSld sldOrd modSection">
      <pc:chgData name="Alex Powers" userId="ae4a1fc7-4395-46d3-b2f1-3b3c37036ad1" providerId="ADAL" clId="{FF07999E-EC8D-435C-95D5-B8CD345C58D7}" dt="2023-03-03T17:48:07.157" v="4569"/>
      <pc:docMkLst>
        <pc:docMk/>
      </pc:docMkLst>
      <pc:sldChg chg="modSp mod modShow">
        <pc:chgData name="Alex Powers" userId="ae4a1fc7-4395-46d3-b2f1-3b3c37036ad1" providerId="ADAL" clId="{FF07999E-EC8D-435C-95D5-B8CD345C58D7}" dt="2023-03-01T21:58:27.168" v="2322" actId="20577"/>
        <pc:sldMkLst>
          <pc:docMk/>
          <pc:sldMk cId="590324826" sldId="331"/>
        </pc:sldMkLst>
        <pc:graphicFrameChg chg="modGraphic">
          <ac:chgData name="Alex Powers" userId="ae4a1fc7-4395-46d3-b2f1-3b3c37036ad1" providerId="ADAL" clId="{FF07999E-EC8D-435C-95D5-B8CD345C58D7}" dt="2023-03-01T21:58:27.168" v="2322" actId="20577"/>
          <ac:graphicFrameMkLst>
            <pc:docMk/>
            <pc:sldMk cId="590324826" sldId="331"/>
            <ac:graphicFrameMk id="7" creationId="{3E5C1877-83B6-43B2-8D9F-D6B32A5B8BB7}"/>
          </ac:graphicFrameMkLst>
        </pc:graphicFrameChg>
      </pc:sldChg>
      <pc:sldChg chg="mod modShow">
        <pc:chgData name="Alex Powers" userId="ae4a1fc7-4395-46d3-b2f1-3b3c37036ad1" providerId="ADAL" clId="{FF07999E-EC8D-435C-95D5-B8CD345C58D7}" dt="2023-02-08T17:47:18.227" v="68" actId="729"/>
        <pc:sldMkLst>
          <pc:docMk/>
          <pc:sldMk cId="601881036" sldId="361"/>
        </pc:sldMkLst>
      </pc:sldChg>
      <pc:sldChg chg="del">
        <pc:chgData name="Alex Powers" userId="ae4a1fc7-4395-46d3-b2f1-3b3c37036ad1" providerId="ADAL" clId="{FF07999E-EC8D-435C-95D5-B8CD345C58D7}" dt="2023-02-08T17:50:24.620" v="85" actId="47"/>
        <pc:sldMkLst>
          <pc:docMk/>
          <pc:sldMk cId="3586899211" sldId="565"/>
        </pc:sldMkLst>
      </pc:sldChg>
      <pc:sldChg chg="del">
        <pc:chgData name="Alex Powers" userId="ae4a1fc7-4395-46d3-b2f1-3b3c37036ad1" providerId="ADAL" clId="{FF07999E-EC8D-435C-95D5-B8CD345C58D7}" dt="2023-02-08T17:03:52.570" v="2" actId="47"/>
        <pc:sldMkLst>
          <pc:docMk/>
          <pc:sldMk cId="1138756251" sldId="2076137603"/>
        </pc:sldMkLst>
      </pc:sldChg>
      <pc:sldChg chg="addSp delSp modSp mod">
        <pc:chgData name="Alex Powers" userId="ae4a1fc7-4395-46d3-b2f1-3b3c37036ad1" providerId="ADAL" clId="{FF07999E-EC8D-435C-95D5-B8CD345C58D7}" dt="2023-03-03T16:45:25.029" v="3539" actId="1076"/>
        <pc:sldMkLst>
          <pc:docMk/>
          <pc:sldMk cId="1827504476" sldId="2134805339"/>
        </pc:sldMkLst>
        <pc:spChg chg="mod">
          <ac:chgData name="Alex Powers" userId="ae4a1fc7-4395-46d3-b2f1-3b3c37036ad1" providerId="ADAL" clId="{FF07999E-EC8D-435C-95D5-B8CD345C58D7}" dt="2023-03-02T00:57:35.583" v="2332" actId="20577"/>
          <ac:spMkLst>
            <pc:docMk/>
            <pc:sldMk cId="1827504476" sldId="2134805339"/>
            <ac:spMk id="51" creationId="{1E84D47B-CAAB-4150-8848-B4671587EFD5}"/>
          </ac:spMkLst>
        </pc:spChg>
        <pc:spChg chg="del">
          <ac:chgData name="Alex Powers" userId="ae4a1fc7-4395-46d3-b2f1-3b3c37036ad1" providerId="ADAL" clId="{FF07999E-EC8D-435C-95D5-B8CD345C58D7}" dt="2023-03-03T16:45:20.868" v="3538" actId="478"/>
          <ac:spMkLst>
            <pc:docMk/>
            <pc:sldMk cId="1827504476" sldId="2134805339"/>
            <ac:spMk id="65" creationId="{98ECB16D-486B-4121-9027-D311CB8344F9}"/>
          </ac:spMkLst>
        </pc:spChg>
        <pc:picChg chg="mod">
          <ac:chgData name="Alex Powers" userId="ae4a1fc7-4395-46d3-b2f1-3b3c37036ad1" providerId="ADAL" clId="{FF07999E-EC8D-435C-95D5-B8CD345C58D7}" dt="2023-03-03T16:45:25.029" v="3539" actId="1076"/>
          <ac:picMkLst>
            <pc:docMk/>
            <pc:sldMk cId="1827504476" sldId="2134805339"/>
            <ac:picMk id="7" creationId="{7F06E1A9-0A28-4317-A6FA-7D4C9B48E363}"/>
          </ac:picMkLst>
        </pc:picChg>
        <pc:picChg chg="add mod">
          <ac:chgData name="Alex Powers" userId="ae4a1fc7-4395-46d3-b2f1-3b3c37036ad1" providerId="ADAL" clId="{FF07999E-EC8D-435C-95D5-B8CD345C58D7}" dt="2023-03-03T13:34:44.809" v="3393" actId="1076"/>
          <ac:picMkLst>
            <pc:docMk/>
            <pc:sldMk cId="1827504476" sldId="2134805339"/>
            <ac:picMk id="22" creationId="{52836229-B82F-B4BB-951A-3F428D115AE4}"/>
          </ac:picMkLst>
        </pc:picChg>
      </pc:sldChg>
      <pc:sldChg chg="modSp mod">
        <pc:chgData name="Alex Powers" userId="ae4a1fc7-4395-46d3-b2f1-3b3c37036ad1" providerId="ADAL" clId="{FF07999E-EC8D-435C-95D5-B8CD345C58D7}" dt="2023-03-03T13:31:45.108" v="3354" actId="14100"/>
        <pc:sldMkLst>
          <pc:docMk/>
          <pc:sldMk cId="1661102681" sldId="2134805399"/>
        </pc:sldMkLst>
        <pc:spChg chg="mod">
          <ac:chgData name="Alex Powers" userId="ae4a1fc7-4395-46d3-b2f1-3b3c37036ad1" providerId="ADAL" clId="{FF07999E-EC8D-435C-95D5-B8CD345C58D7}" dt="2023-03-03T13:31:45.108" v="3354" actId="14100"/>
          <ac:spMkLst>
            <pc:docMk/>
            <pc:sldMk cId="1661102681" sldId="2134805399"/>
            <ac:spMk id="7" creationId="{B8369A30-A814-46DD-ABF0-B1D8C1BF2832}"/>
          </ac:spMkLst>
        </pc:spChg>
      </pc:sldChg>
      <pc:sldChg chg="del">
        <pc:chgData name="Alex Powers" userId="ae4a1fc7-4395-46d3-b2f1-3b3c37036ad1" providerId="ADAL" clId="{FF07999E-EC8D-435C-95D5-B8CD345C58D7}" dt="2023-02-22T16:25:17.586" v="1880" actId="47"/>
        <pc:sldMkLst>
          <pc:docMk/>
          <pc:sldMk cId="1452591508" sldId="2134805404"/>
        </pc:sldMkLst>
      </pc:sldChg>
      <pc:sldChg chg="del">
        <pc:chgData name="Alex Powers" userId="ae4a1fc7-4395-46d3-b2f1-3b3c37036ad1" providerId="ADAL" clId="{FF07999E-EC8D-435C-95D5-B8CD345C58D7}" dt="2023-02-22T16:25:16.675" v="1879" actId="47"/>
        <pc:sldMkLst>
          <pc:docMk/>
          <pc:sldMk cId="4224301615" sldId="2134805407"/>
        </pc:sldMkLst>
      </pc:sldChg>
      <pc:sldChg chg="del">
        <pc:chgData name="Alex Powers" userId="ae4a1fc7-4395-46d3-b2f1-3b3c37036ad1" providerId="ADAL" clId="{FF07999E-EC8D-435C-95D5-B8CD345C58D7}" dt="2023-02-22T16:25:19.450" v="1881" actId="47"/>
        <pc:sldMkLst>
          <pc:docMk/>
          <pc:sldMk cId="1684121068" sldId="2134805408"/>
        </pc:sldMkLst>
      </pc:sldChg>
      <pc:sldChg chg="del">
        <pc:chgData name="Alex Powers" userId="ae4a1fc7-4395-46d3-b2f1-3b3c37036ad1" providerId="ADAL" clId="{FF07999E-EC8D-435C-95D5-B8CD345C58D7}" dt="2023-02-22T16:25:36.996" v="1883" actId="47"/>
        <pc:sldMkLst>
          <pc:docMk/>
          <pc:sldMk cId="1236192882" sldId="2134805427"/>
        </pc:sldMkLst>
      </pc:sldChg>
      <pc:sldChg chg="del">
        <pc:chgData name="Alex Powers" userId="ae4a1fc7-4395-46d3-b2f1-3b3c37036ad1" providerId="ADAL" clId="{FF07999E-EC8D-435C-95D5-B8CD345C58D7}" dt="2023-02-22T16:25:37.986" v="1884" actId="47"/>
        <pc:sldMkLst>
          <pc:docMk/>
          <pc:sldMk cId="3523418712" sldId="2134805428"/>
        </pc:sldMkLst>
      </pc:sldChg>
      <pc:sldChg chg="del">
        <pc:chgData name="Alex Powers" userId="ae4a1fc7-4395-46d3-b2f1-3b3c37036ad1" providerId="ADAL" clId="{FF07999E-EC8D-435C-95D5-B8CD345C58D7}" dt="2023-02-22T16:26:35.368" v="1912" actId="47"/>
        <pc:sldMkLst>
          <pc:docMk/>
          <pc:sldMk cId="555395467" sldId="2134805429"/>
        </pc:sldMkLst>
      </pc:sldChg>
      <pc:sldChg chg="mod modShow">
        <pc:chgData name="Alex Powers" userId="ae4a1fc7-4395-46d3-b2f1-3b3c37036ad1" providerId="ADAL" clId="{FF07999E-EC8D-435C-95D5-B8CD345C58D7}" dt="2023-02-22T16:33:13.887" v="2020" actId="729"/>
        <pc:sldMkLst>
          <pc:docMk/>
          <pc:sldMk cId="1447329896" sldId="2134805434"/>
        </pc:sldMkLst>
      </pc:sldChg>
      <pc:sldChg chg="mod modShow">
        <pc:chgData name="Alex Powers" userId="ae4a1fc7-4395-46d3-b2f1-3b3c37036ad1" providerId="ADAL" clId="{FF07999E-EC8D-435C-95D5-B8CD345C58D7}" dt="2023-02-22T16:33:13.887" v="2020" actId="729"/>
        <pc:sldMkLst>
          <pc:docMk/>
          <pc:sldMk cId="3555961925" sldId="2134805436"/>
        </pc:sldMkLst>
      </pc:sldChg>
      <pc:sldChg chg="mod modShow">
        <pc:chgData name="Alex Powers" userId="ae4a1fc7-4395-46d3-b2f1-3b3c37036ad1" providerId="ADAL" clId="{FF07999E-EC8D-435C-95D5-B8CD345C58D7}" dt="2023-02-22T16:33:13.887" v="2020" actId="729"/>
        <pc:sldMkLst>
          <pc:docMk/>
          <pc:sldMk cId="3126994866" sldId="2134805438"/>
        </pc:sldMkLst>
      </pc:sldChg>
      <pc:sldChg chg="mod modShow">
        <pc:chgData name="Alex Powers" userId="ae4a1fc7-4395-46d3-b2f1-3b3c37036ad1" providerId="ADAL" clId="{FF07999E-EC8D-435C-95D5-B8CD345C58D7}" dt="2023-02-22T16:33:13.887" v="2020" actId="729"/>
        <pc:sldMkLst>
          <pc:docMk/>
          <pc:sldMk cId="1875689356" sldId="2134805439"/>
        </pc:sldMkLst>
      </pc:sldChg>
      <pc:sldChg chg="mod modShow">
        <pc:chgData name="Alex Powers" userId="ae4a1fc7-4395-46d3-b2f1-3b3c37036ad1" providerId="ADAL" clId="{FF07999E-EC8D-435C-95D5-B8CD345C58D7}" dt="2023-02-22T16:33:13.887" v="2020" actId="729"/>
        <pc:sldMkLst>
          <pc:docMk/>
          <pc:sldMk cId="252357223" sldId="2134805440"/>
        </pc:sldMkLst>
      </pc:sldChg>
      <pc:sldChg chg="mod modShow">
        <pc:chgData name="Alex Powers" userId="ae4a1fc7-4395-46d3-b2f1-3b3c37036ad1" providerId="ADAL" clId="{FF07999E-EC8D-435C-95D5-B8CD345C58D7}" dt="2023-02-22T16:33:13.887" v="2020" actId="729"/>
        <pc:sldMkLst>
          <pc:docMk/>
          <pc:sldMk cId="188611118" sldId="2134805441"/>
        </pc:sldMkLst>
      </pc:sldChg>
      <pc:sldChg chg="mod modShow">
        <pc:chgData name="Alex Powers" userId="ae4a1fc7-4395-46d3-b2f1-3b3c37036ad1" providerId="ADAL" clId="{FF07999E-EC8D-435C-95D5-B8CD345C58D7}" dt="2023-02-22T16:33:13.887" v="2020" actId="729"/>
        <pc:sldMkLst>
          <pc:docMk/>
          <pc:sldMk cId="2918814522" sldId="2134805442"/>
        </pc:sldMkLst>
      </pc:sldChg>
      <pc:sldChg chg="mod modShow">
        <pc:chgData name="Alex Powers" userId="ae4a1fc7-4395-46d3-b2f1-3b3c37036ad1" providerId="ADAL" clId="{FF07999E-EC8D-435C-95D5-B8CD345C58D7}" dt="2023-02-22T16:33:13.887" v="2020" actId="729"/>
        <pc:sldMkLst>
          <pc:docMk/>
          <pc:sldMk cId="697804203" sldId="2134805445"/>
        </pc:sldMkLst>
      </pc:sldChg>
      <pc:sldChg chg="add del">
        <pc:chgData name="Alex Powers" userId="ae4a1fc7-4395-46d3-b2f1-3b3c37036ad1" providerId="ADAL" clId="{FF07999E-EC8D-435C-95D5-B8CD345C58D7}" dt="2023-02-22T16:19:05.427" v="1744" actId="47"/>
        <pc:sldMkLst>
          <pc:docMk/>
          <pc:sldMk cId="350747172" sldId="2134805454"/>
        </pc:sldMkLst>
      </pc:sldChg>
      <pc:sldChg chg="del">
        <pc:chgData name="Alex Powers" userId="ae4a1fc7-4395-46d3-b2f1-3b3c37036ad1" providerId="ADAL" clId="{FF07999E-EC8D-435C-95D5-B8CD345C58D7}" dt="2023-02-22T16:17:50.196" v="1703" actId="2696"/>
        <pc:sldMkLst>
          <pc:docMk/>
          <pc:sldMk cId="3948095550" sldId="2134805454"/>
        </pc:sldMkLst>
      </pc:sldChg>
      <pc:sldChg chg="del">
        <pc:chgData name="Alex Powers" userId="ae4a1fc7-4395-46d3-b2f1-3b3c37036ad1" providerId="ADAL" clId="{FF07999E-EC8D-435C-95D5-B8CD345C58D7}" dt="2023-02-22T16:27:15.526" v="1913" actId="47"/>
        <pc:sldMkLst>
          <pc:docMk/>
          <pc:sldMk cId="4266689250" sldId="2134805455"/>
        </pc:sldMkLst>
      </pc:sldChg>
      <pc:sldChg chg="mod modShow">
        <pc:chgData name="Alex Powers" userId="ae4a1fc7-4395-46d3-b2f1-3b3c37036ad1" providerId="ADAL" clId="{FF07999E-EC8D-435C-95D5-B8CD345C58D7}" dt="2023-02-22T16:33:13.887" v="2020" actId="729"/>
        <pc:sldMkLst>
          <pc:docMk/>
          <pc:sldMk cId="113089927" sldId="2134805457"/>
        </pc:sldMkLst>
      </pc:sldChg>
      <pc:sldChg chg="del">
        <pc:chgData name="Alex Powers" userId="ae4a1fc7-4395-46d3-b2f1-3b3c37036ad1" providerId="ADAL" clId="{FF07999E-EC8D-435C-95D5-B8CD345C58D7}" dt="2023-02-22T16:33:09.060" v="2019" actId="47"/>
        <pc:sldMkLst>
          <pc:docMk/>
          <pc:sldMk cId="3213304739" sldId="2134805458"/>
        </pc:sldMkLst>
      </pc:sldChg>
      <pc:sldChg chg="del">
        <pc:chgData name="Alex Powers" userId="ae4a1fc7-4395-46d3-b2f1-3b3c37036ad1" providerId="ADAL" clId="{FF07999E-EC8D-435C-95D5-B8CD345C58D7}" dt="2023-02-22T16:25:24.201" v="1882" actId="47"/>
        <pc:sldMkLst>
          <pc:docMk/>
          <pc:sldMk cId="1140774100" sldId="2134805470"/>
        </pc:sldMkLst>
      </pc:sldChg>
      <pc:sldChg chg="add">
        <pc:chgData name="Alex Powers" userId="ae4a1fc7-4395-46d3-b2f1-3b3c37036ad1" providerId="ADAL" clId="{FF07999E-EC8D-435C-95D5-B8CD345C58D7}" dt="2023-02-22T16:29:59.457" v="1915"/>
        <pc:sldMkLst>
          <pc:docMk/>
          <pc:sldMk cId="679191079" sldId="2134805471"/>
        </pc:sldMkLst>
      </pc:sldChg>
      <pc:sldChg chg="del mod modShow">
        <pc:chgData name="Alex Powers" userId="ae4a1fc7-4395-46d3-b2f1-3b3c37036ad1" providerId="ADAL" clId="{FF07999E-EC8D-435C-95D5-B8CD345C58D7}" dt="2023-02-22T16:29:54.032" v="1914" actId="2696"/>
        <pc:sldMkLst>
          <pc:docMk/>
          <pc:sldMk cId="1134581134" sldId="2134805471"/>
        </pc:sldMkLst>
      </pc:sldChg>
      <pc:sldChg chg="mod modShow">
        <pc:chgData name="Alex Powers" userId="ae4a1fc7-4395-46d3-b2f1-3b3c37036ad1" providerId="ADAL" clId="{FF07999E-EC8D-435C-95D5-B8CD345C58D7}" dt="2023-02-22T16:33:13.887" v="2020" actId="729"/>
        <pc:sldMkLst>
          <pc:docMk/>
          <pc:sldMk cId="1494664179" sldId="2134805473"/>
        </pc:sldMkLst>
      </pc:sldChg>
      <pc:sldChg chg="mod modShow">
        <pc:chgData name="Alex Powers" userId="ae4a1fc7-4395-46d3-b2f1-3b3c37036ad1" providerId="ADAL" clId="{FF07999E-EC8D-435C-95D5-B8CD345C58D7}" dt="2023-02-22T16:33:13.887" v="2020" actId="729"/>
        <pc:sldMkLst>
          <pc:docMk/>
          <pc:sldMk cId="3447445929" sldId="2134805475"/>
        </pc:sldMkLst>
      </pc:sldChg>
      <pc:sldChg chg="mod modShow">
        <pc:chgData name="Alex Powers" userId="ae4a1fc7-4395-46d3-b2f1-3b3c37036ad1" providerId="ADAL" clId="{FF07999E-EC8D-435C-95D5-B8CD345C58D7}" dt="2023-02-22T16:33:13.887" v="2020" actId="729"/>
        <pc:sldMkLst>
          <pc:docMk/>
          <pc:sldMk cId="2782444101" sldId="2134805477"/>
        </pc:sldMkLst>
      </pc:sldChg>
      <pc:sldChg chg="mod modShow">
        <pc:chgData name="Alex Powers" userId="ae4a1fc7-4395-46d3-b2f1-3b3c37036ad1" providerId="ADAL" clId="{FF07999E-EC8D-435C-95D5-B8CD345C58D7}" dt="2023-02-22T16:33:13.887" v="2020" actId="729"/>
        <pc:sldMkLst>
          <pc:docMk/>
          <pc:sldMk cId="38038148" sldId="2134805478"/>
        </pc:sldMkLst>
      </pc:sldChg>
      <pc:sldChg chg="mod modShow">
        <pc:chgData name="Alex Powers" userId="ae4a1fc7-4395-46d3-b2f1-3b3c37036ad1" providerId="ADAL" clId="{FF07999E-EC8D-435C-95D5-B8CD345C58D7}" dt="2023-02-22T16:33:13.887" v="2020" actId="729"/>
        <pc:sldMkLst>
          <pc:docMk/>
          <pc:sldMk cId="1402513152" sldId="2134805479"/>
        </pc:sldMkLst>
      </pc:sldChg>
      <pc:sldChg chg="mod modShow">
        <pc:chgData name="Alex Powers" userId="ae4a1fc7-4395-46d3-b2f1-3b3c37036ad1" providerId="ADAL" clId="{FF07999E-EC8D-435C-95D5-B8CD345C58D7}" dt="2023-02-22T16:33:13.887" v="2020" actId="729"/>
        <pc:sldMkLst>
          <pc:docMk/>
          <pc:sldMk cId="1633839032" sldId="2134805481"/>
        </pc:sldMkLst>
      </pc:sldChg>
      <pc:sldChg chg="del">
        <pc:chgData name="Alex Powers" userId="ae4a1fc7-4395-46d3-b2f1-3b3c37036ad1" providerId="ADAL" clId="{FF07999E-EC8D-435C-95D5-B8CD345C58D7}" dt="2023-02-22T16:27:15.526" v="1913" actId="47"/>
        <pc:sldMkLst>
          <pc:docMk/>
          <pc:sldMk cId="3396232222" sldId="2134805485"/>
        </pc:sldMkLst>
      </pc:sldChg>
      <pc:sldChg chg="del">
        <pc:chgData name="Alex Powers" userId="ae4a1fc7-4395-46d3-b2f1-3b3c37036ad1" providerId="ADAL" clId="{FF07999E-EC8D-435C-95D5-B8CD345C58D7}" dt="2023-02-22T16:27:15.526" v="1913" actId="47"/>
        <pc:sldMkLst>
          <pc:docMk/>
          <pc:sldMk cId="2755891878" sldId="2134805486"/>
        </pc:sldMkLst>
      </pc:sldChg>
      <pc:sldChg chg="del">
        <pc:chgData name="Alex Powers" userId="ae4a1fc7-4395-46d3-b2f1-3b3c37036ad1" providerId="ADAL" clId="{FF07999E-EC8D-435C-95D5-B8CD345C58D7}" dt="2023-02-22T16:27:15.526" v="1913" actId="47"/>
        <pc:sldMkLst>
          <pc:docMk/>
          <pc:sldMk cId="3743793355" sldId="2134805487"/>
        </pc:sldMkLst>
      </pc:sldChg>
      <pc:sldChg chg="del">
        <pc:chgData name="Alex Powers" userId="ae4a1fc7-4395-46d3-b2f1-3b3c37036ad1" providerId="ADAL" clId="{FF07999E-EC8D-435C-95D5-B8CD345C58D7}" dt="2023-02-22T16:27:15.526" v="1913" actId="47"/>
        <pc:sldMkLst>
          <pc:docMk/>
          <pc:sldMk cId="538353258" sldId="2134805488"/>
        </pc:sldMkLst>
      </pc:sldChg>
      <pc:sldChg chg="del ord">
        <pc:chgData name="Alex Powers" userId="ae4a1fc7-4395-46d3-b2f1-3b3c37036ad1" providerId="ADAL" clId="{FF07999E-EC8D-435C-95D5-B8CD345C58D7}" dt="2023-02-22T14:16:17.603" v="1550" actId="47"/>
        <pc:sldMkLst>
          <pc:docMk/>
          <pc:sldMk cId="1602923206" sldId="2134805493"/>
        </pc:sldMkLst>
      </pc:sldChg>
      <pc:sldChg chg="mod modShow">
        <pc:chgData name="Alex Powers" userId="ae4a1fc7-4395-46d3-b2f1-3b3c37036ad1" providerId="ADAL" clId="{FF07999E-EC8D-435C-95D5-B8CD345C58D7}" dt="2023-02-22T16:33:13.887" v="2020" actId="729"/>
        <pc:sldMkLst>
          <pc:docMk/>
          <pc:sldMk cId="3894753594" sldId="2134805500"/>
        </pc:sldMkLst>
      </pc:sldChg>
      <pc:sldChg chg="mod modShow">
        <pc:chgData name="Alex Powers" userId="ae4a1fc7-4395-46d3-b2f1-3b3c37036ad1" providerId="ADAL" clId="{FF07999E-EC8D-435C-95D5-B8CD345C58D7}" dt="2023-02-22T16:33:13.887" v="2020" actId="729"/>
        <pc:sldMkLst>
          <pc:docMk/>
          <pc:sldMk cId="3794170958" sldId="2134805501"/>
        </pc:sldMkLst>
      </pc:sldChg>
      <pc:sldChg chg="modSp">
        <pc:chgData name="Alex Powers" userId="ae4a1fc7-4395-46d3-b2f1-3b3c37036ad1" providerId="ADAL" clId="{FF07999E-EC8D-435C-95D5-B8CD345C58D7}" dt="2023-02-08T17:03:33.348" v="1" actId="20577"/>
        <pc:sldMkLst>
          <pc:docMk/>
          <pc:sldMk cId="4206370663" sldId="2147469889"/>
        </pc:sldMkLst>
        <pc:spChg chg="mod">
          <ac:chgData name="Alex Powers" userId="ae4a1fc7-4395-46d3-b2f1-3b3c37036ad1" providerId="ADAL" clId="{FF07999E-EC8D-435C-95D5-B8CD345C58D7}" dt="2023-02-08T17:03:33.348" v="1" actId="20577"/>
          <ac:spMkLst>
            <pc:docMk/>
            <pc:sldMk cId="4206370663" sldId="2147469889"/>
            <ac:spMk id="4" creationId="{2BA66311-60F0-7F41-AFFC-679A90C63D53}"/>
          </ac:spMkLst>
        </pc:spChg>
      </pc:sldChg>
      <pc:sldChg chg="addSp delSp modSp mod delAnim modAnim">
        <pc:chgData name="Alex Powers" userId="ae4a1fc7-4395-46d3-b2f1-3b3c37036ad1" providerId="ADAL" clId="{FF07999E-EC8D-435C-95D5-B8CD345C58D7}" dt="2023-03-03T17:48:07.157" v="4569"/>
        <pc:sldMkLst>
          <pc:docMk/>
          <pc:sldMk cId="2306054761" sldId="2147469912"/>
        </pc:sldMkLst>
        <pc:spChg chg="mod">
          <ac:chgData name="Alex Powers" userId="ae4a1fc7-4395-46d3-b2f1-3b3c37036ad1" providerId="ADAL" clId="{FF07999E-EC8D-435C-95D5-B8CD345C58D7}" dt="2023-03-03T17:22:47.944" v="4546" actId="14100"/>
          <ac:spMkLst>
            <pc:docMk/>
            <pc:sldMk cId="2306054761" sldId="2147469912"/>
            <ac:spMk id="4" creationId="{D4917F3F-DCCF-4C8F-B2BF-8DFC2DD1037A}"/>
          </ac:spMkLst>
        </pc:spChg>
        <pc:spChg chg="add mod">
          <ac:chgData name="Alex Powers" userId="ae4a1fc7-4395-46d3-b2f1-3b3c37036ad1" providerId="ADAL" clId="{FF07999E-EC8D-435C-95D5-B8CD345C58D7}" dt="2023-03-03T13:06:42.250" v="2734" actId="14100"/>
          <ac:spMkLst>
            <pc:docMk/>
            <pc:sldMk cId="2306054761" sldId="2147469912"/>
            <ac:spMk id="19" creationId="{C9E4195A-C6CD-3E76-EE13-C54500180E68}"/>
          </ac:spMkLst>
        </pc:spChg>
        <pc:spChg chg="add del">
          <ac:chgData name="Alex Powers" userId="ae4a1fc7-4395-46d3-b2f1-3b3c37036ad1" providerId="ADAL" clId="{FF07999E-EC8D-435C-95D5-B8CD345C58D7}" dt="2023-03-02T23:04:23.811" v="2377" actId="22"/>
          <ac:spMkLst>
            <pc:docMk/>
            <pc:sldMk cId="2306054761" sldId="2147469912"/>
            <ac:spMk id="22" creationId="{B4BB5A73-96A3-CBEB-EAF4-5F7F58506D0E}"/>
          </ac:spMkLst>
        </pc:spChg>
        <pc:spChg chg="add mod">
          <ac:chgData name="Alex Powers" userId="ae4a1fc7-4395-46d3-b2f1-3b3c37036ad1" providerId="ADAL" clId="{FF07999E-EC8D-435C-95D5-B8CD345C58D7}" dt="2023-03-02T23:10:24.492" v="2437" actId="1076"/>
          <ac:spMkLst>
            <pc:docMk/>
            <pc:sldMk cId="2306054761" sldId="2147469912"/>
            <ac:spMk id="35" creationId="{6136A4E3-4C1E-9BE5-4F0C-E5A7EFD4CCC1}"/>
          </ac:spMkLst>
        </pc:spChg>
        <pc:spChg chg="add mod">
          <ac:chgData name="Alex Powers" userId="ae4a1fc7-4395-46d3-b2f1-3b3c37036ad1" providerId="ADAL" clId="{FF07999E-EC8D-435C-95D5-B8CD345C58D7}" dt="2023-03-02T23:11:07.293" v="2448" actId="408"/>
          <ac:spMkLst>
            <pc:docMk/>
            <pc:sldMk cId="2306054761" sldId="2147469912"/>
            <ac:spMk id="36" creationId="{43B55331-BB16-CE4E-BBA8-C0EF1BBBAADE}"/>
          </ac:spMkLst>
        </pc:spChg>
        <pc:spChg chg="add mod">
          <ac:chgData name="Alex Powers" userId="ae4a1fc7-4395-46d3-b2f1-3b3c37036ad1" providerId="ADAL" clId="{FF07999E-EC8D-435C-95D5-B8CD345C58D7}" dt="2023-03-02T23:10:38.351" v="2441" actId="1076"/>
          <ac:spMkLst>
            <pc:docMk/>
            <pc:sldMk cId="2306054761" sldId="2147469912"/>
            <ac:spMk id="37" creationId="{9531C151-EECE-61AF-D367-3B8413F62639}"/>
          </ac:spMkLst>
        </pc:spChg>
        <pc:spChg chg="add mod">
          <ac:chgData name="Alex Powers" userId="ae4a1fc7-4395-46d3-b2f1-3b3c37036ad1" providerId="ADAL" clId="{FF07999E-EC8D-435C-95D5-B8CD345C58D7}" dt="2023-03-02T23:13:43.406" v="2470" actId="14100"/>
          <ac:spMkLst>
            <pc:docMk/>
            <pc:sldMk cId="2306054761" sldId="2147469912"/>
            <ac:spMk id="43" creationId="{25498F5A-C8C0-6D4D-B63C-C32F35AD4406}"/>
          </ac:spMkLst>
        </pc:spChg>
        <pc:spChg chg="mod">
          <ac:chgData name="Alex Powers" userId="ae4a1fc7-4395-46d3-b2f1-3b3c37036ad1" providerId="ADAL" clId="{FF07999E-EC8D-435C-95D5-B8CD345C58D7}" dt="2023-03-03T12:57:08.919" v="2646" actId="1076"/>
          <ac:spMkLst>
            <pc:docMk/>
            <pc:sldMk cId="2306054761" sldId="2147469912"/>
            <ac:spMk id="49" creationId="{75698A19-DE75-F952-158A-CB65CED09CD6}"/>
          </ac:spMkLst>
        </pc:spChg>
        <pc:spChg chg="mod">
          <ac:chgData name="Alex Powers" userId="ae4a1fc7-4395-46d3-b2f1-3b3c37036ad1" providerId="ADAL" clId="{FF07999E-EC8D-435C-95D5-B8CD345C58D7}" dt="2023-03-03T12:57:32.279" v="2648" actId="1076"/>
          <ac:spMkLst>
            <pc:docMk/>
            <pc:sldMk cId="2306054761" sldId="2147469912"/>
            <ac:spMk id="54" creationId="{DBE0A322-697C-3693-866E-18E49225D6F0}"/>
          </ac:spMkLst>
        </pc:spChg>
        <pc:spChg chg="mod">
          <ac:chgData name="Alex Powers" userId="ae4a1fc7-4395-46d3-b2f1-3b3c37036ad1" providerId="ADAL" clId="{FF07999E-EC8D-435C-95D5-B8CD345C58D7}" dt="2023-03-03T13:23:43.593" v="3249" actId="1076"/>
          <ac:spMkLst>
            <pc:docMk/>
            <pc:sldMk cId="2306054761" sldId="2147469912"/>
            <ac:spMk id="59" creationId="{38EF8836-699E-7DC0-3D29-56BBF74E41AB}"/>
          </ac:spMkLst>
        </pc:spChg>
        <pc:spChg chg="mod topLvl">
          <ac:chgData name="Alex Powers" userId="ae4a1fc7-4395-46d3-b2f1-3b3c37036ad1" providerId="ADAL" clId="{FF07999E-EC8D-435C-95D5-B8CD345C58D7}" dt="2023-03-02T23:15:13.357" v="2486" actId="14100"/>
          <ac:spMkLst>
            <pc:docMk/>
            <pc:sldMk cId="2306054761" sldId="2147469912"/>
            <ac:spMk id="1024" creationId="{62C43127-D7A5-5D4E-74AE-AA52023E3B28}"/>
          </ac:spMkLst>
        </pc:spChg>
        <pc:spChg chg="add del mod">
          <ac:chgData name="Alex Powers" userId="ae4a1fc7-4395-46d3-b2f1-3b3c37036ad1" providerId="ADAL" clId="{FF07999E-EC8D-435C-95D5-B8CD345C58D7}" dt="2023-03-03T12:53:24.837" v="2611" actId="478"/>
          <ac:spMkLst>
            <pc:docMk/>
            <pc:sldMk cId="2306054761" sldId="2147469912"/>
            <ac:spMk id="1046" creationId="{EC74DCAE-EB2E-CC77-05ED-E18378039DE8}"/>
          </ac:spMkLst>
        </pc:spChg>
        <pc:spChg chg="add mod">
          <ac:chgData name="Alex Powers" userId="ae4a1fc7-4395-46d3-b2f1-3b3c37036ad1" providerId="ADAL" clId="{FF07999E-EC8D-435C-95D5-B8CD345C58D7}" dt="2023-03-03T12:53:34.830" v="2614" actId="20577"/>
          <ac:spMkLst>
            <pc:docMk/>
            <pc:sldMk cId="2306054761" sldId="2147469912"/>
            <ac:spMk id="1047" creationId="{8C824E53-148E-23CF-1C28-7A4AE314980F}"/>
          </ac:spMkLst>
        </pc:spChg>
        <pc:spChg chg="add mod">
          <ac:chgData name="Alex Powers" userId="ae4a1fc7-4395-46d3-b2f1-3b3c37036ad1" providerId="ADAL" clId="{FF07999E-EC8D-435C-95D5-B8CD345C58D7}" dt="2023-03-03T12:53:56.764" v="2619" actId="1076"/>
          <ac:spMkLst>
            <pc:docMk/>
            <pc:sldMk cId="2306054761" sldId="2147469912"/>
            <ac:spMk id="1048" creationId="{757DA3A8-771A-C857-7983-BDBFF1FD3D22}"/>
          </ac:spMkLst>
        </pc:spChg>
        <pc:spChg chg="add mod">
          <ac:chgData name="Alex Powers" userId="ae4a1fc7-4395-46d3-b2f1-3b3c37036ad1" providerId="ADAL" clId="{FF07999E-EC8D-435C-95D5-B8CD345C58D7}" dt="2023-03-03T12:54:17.489" v="2623" actId="1076"/>
          <ac:spMkLst>
            <pc:docMk/>
            <pc:sldMk cId="2306054761" sldId="2147469912"/>
            <ac:spMk id="1049" creationId="{2FA1E4FD-267D-6959-22B6-0E1D24C4B854}"/>
          </ac:spMkLst>
        </pc:spChg>
        <pc:spChg chg="add mod">
          <ac:chgData name="Alex Powers" userId="ae4a1fc7-4395-46d3-b2f1-3b3c37036ad1" providerId="ADAL" clId="{FF07999E-EC8D-435C-95D5-B8CD345C58D7}" dt="2023-03-03T13:23:55.258" v="3250" actId="1076"/>
          <ac:spMkLst>
            <pc:docMk/>
            <pc:sldMk cId="2306054761" sldId="2147469912"/>
            <ac:spMk id="1050" creationId="{AE2F13F1-F8F2-5894-41A2-2D7561E0B732}"/>
          </ac:spMkLst>
        </pc:spChg>
        <pc:spChg chg="add mod">
          <ac:chgData name="Alex Powers" userId="ae4a1fc7-4395-46d3-b2f1-3b3c37036ad1" providerId="ADAL" clId="{FF07999E-EC8D-435C-95D5-B8CD345C58D7}" dt="2023-03-03T12:55:25.122" v="2632" actId="1076"/>
          <ac:spMkLst>
            <pc:docMk/>
            <pc:sldMk cId="2306054761" sldId="2147469912"/>
            <ac:spMk id="1051" creationId="{4654A765-3DD5-D537-2B1F-EAD59A313036}"/>
          </ac:spMkLst>
        </pc:spChg>
        <pc:spChg chg="mod">
          <ac:chgData name="Alex Powers" userId="ae4a1fc7-4395-46d3-b2f1-3b3c37036ad1" providerId="ADAL" clId="{FF07999E-EC8D-435C-95D5-B8CD345C58D7}" dt="2023-03-03T13:03:12.865" v="2704"/>
          <ac:spMkLst>
            <pc:docMk/>
            <pc:sldMk cId="2306054761" sldId="2147469912"/>
            <ac:spMk id="1059" creationId="{1ABE3FB8-04F6-F3B6-F611-F9F45B111F0E}"/>
          </ac:spMkLst>
        </pc:spChg>
        <pc:spChg chg="add mod">
          <ac:chgData name="Alex Powers" userId="ae4a1fc7-4395-46d3-b2f1-3b3c37036ad1" providerId="ADAL" clId="{FF07999E-EC8D-435C-95D5-B8CD345C58D7}" dt="2023-03-03T13:07:11.745" v="2772" actId="1076"/>
          <ac:spMkLst>
            <pc:docMk/>
            <pc:sldMk cId="2306054761" sldId="2147469912"/>
            <ac:spMk id="1078" creationId="{AF931C37-F8DF-7B0C-75F9-C112210F1DF5}"/>
          </ac:spMkLst>
        </pc:spChg>
        <pc:spChg chg="add mod">
          <ac:chgData name="Alex Powers" userId="ae4a1fc7-4395-46d3-b2f1-3b3c37036ad1" providerId="ADAL" clId="{FF07999E-EC8D-435C-95D5-B8CD345C58D7}" dt="2023-03-03T13:11:19.242" v="2857" actId="1076"/>
          <ac:spMkLst>
            <pc:docMk/>
            <pc:sldMk cId="2306054761" sldId="2147469912"/>
            <ac:spMk id="1083" creationId="{EFEBC707-39E5-4884-1789-191B2276806B}"/>
          </ac:spMkLst>
        </pc:spChg>
        <pc:spChg chg="add mod">
          <ac:chgData name="Alex Powers" userId="ae4a1fc7-4395-46d3-b2f1-3b3c37036ad1" providerId="ADAL" clId="{FF07999E-EC8D-435C-95D5-B8CD345C58D7}" dt="2023-03-03T13:11:30.167" v="2866" actId="20577"/>
          <ac:spMkLst>
            <pc:docMk/>
            <pc:sldMk cId="2306054761" sldId="2147469912"/>
            <ac:spMk id="1084" creationId="{FFB455DF-0923-5063-AAF4-16D710EBD15F}"/>
          </ac:spMkLst>
        </pc:spChg>
        <pc:spChg chg="add mod">
          <ac:chgData name="Alex Powers" userId="ae4a1fc7-4395-46d3-b2f1-3b3c37036ad1" providerId="ADAL" clId="{FF07999E-EC8D-435C-95D5-B8CD345C58D7}" dt="2023-03-03T13:11:42.799" v="2878" actId="20577"/>
          <ac:spMkLst>
            <pc:docMk/>
            <pc:sldMk cId="2306054761" sldId="2147469912"/>
            <ac:spMk id="1085" creationId="{D5108036-3534-D1A0-2A63-3381BFA3EF8C}"/>
          </ac:spMkLst>
        </pc:spChg>
        <pc:spChg chg="add mod">
          <ac:chgData name="Alex Powers" userId="ae4a1fc7-4395-46d3-b2f1-3b3c37036ad1" providerId="ADAL" clId="{FF07999E-EC8D-435C-95D5-B8CD345C58D7}" dt="2023-03-03T13:37:30.603" v="3516" actId="207"/>
          <ac:spMkLst>
            <pc:docMk/>
            <pc:sldMk cId="2306054761" sldId="2147469912"/>
            <ac:spMk id="1093" creationId="{CB7CC441-D60D-C019-036D-23CC4F23352F}"/>
          </ac:spMkLst>
        </pc:spChg>
        <pc:grpChg chg="del">
          <ac:chgData name="Alex Powers" userId="ae4a1fc7-4395-46d3-b2f1-3b3c37036ad1" providerId="ADAL" clId="{FF07999E-EC8D-435C-95D5-B8CD345C58D7}" dt="2023-03-02T23:07:05.481" v="2410" actId="478"/>
          <ac:grpSpMkLst>
            <pc:docMk/>
            <pc:sldMk cId="2306054761" sldId="2147469912"/>
            <ac:grpSpMk id="10" creationId="{DB109C48-152A-4DD3-8A78-FA711538DE1B}"/>
          </ac:grpSpMkLst>
        </pc:grpChg>
        <pc:grpChg chg="add mod">
          <ac:chgData name="Alex Powers" userId="ae4a1fc7-4395-46d3-b2f1-3b3c37036ad1" providerId="ADAL" clId="{FF07999E-EC8D-435C-95D5-B8CD345C58D7}" dt="2023-03-03T13:09:35.945" v="2817" actId="1035"/>
          <ac:grpSpMkLst>
            <pc:docMk/>
            <pc:sldMk cId="2306054761" sldId="2147469912"/>
            <ac:grpSpMk id="29" creationId="{A1B0A015-0EFC-647F-840D-96CA97BA38B1}"/>
          </ac:grpSpMkLst>
        </pc:grpChg>
        <pc:grpChg chg="add topLvl">
          <ac:chgData name="Alex Powers" userId="ae4a1fc7-4395-46d3-b2f1-3b3c37036ad1" providerId="ADAL" clId="{FF07999E-EC8D-435C-95D5-B8CD345C58D7}" dt="2023-03-02T23:21:55.577" v="2568" actId="164"/>
          <ac:grpSpMkLst>
            <pc:docMk/>
            <pc:sldMk cId="2306054761" sldId="2147469912"/>
            <ac:grpSpMk id="44" creationId="{337BEEDD-CFB9-C387-0ABB-DE26D87E0C55}"/>
          </ac:grpSpMkLst>
        </pc:grpChg>
        <pc:grpChg chg="add mod topLvl">
          <ac:chgData name="Alex Powers" userId="ae4a1fc7-4395-46d3-b2f1-3b3c37036ad1" providerId="ADAL" clId="{FF07999E-EC8D-435C-95D5-B8CD345C58D7}" dt="2023-03-02T23:21:55.577" v="2568" actId="164"/>
          <ac:grpSpMkLst>
            <pc:docMk/>
            <pc:sldMk cId="2306054761" sldId="2147469912"/>
            <ac:grpSpMk id="45" creationId="{FA57B2D2-D67F-171D-D083-E83FECA60F28}"/>
          </ac:grpSpMkLst>
        </pc:grpChg>
        <pc:grpChg chg="add mod topLvl">
          <ac:chgData name="Alex Powers" userId="ae4a1fc7-4395-46d3-b2f1-3b3c37036ad1" providerId="ADAL" clId="{FF07999E-EC8D-435C-95D5-B8CD345C58D7}" dt="2023-03-02T23:21:55.577" v="2568" actId="164"/>
          <ac:grpSpMkLst>
            <pc:docMk/>
            <pc:sldMk cId="2306054761" sldId="2147469912"/>
            <ac:grpSpMk id="50" creationId="{0691E17E-BAA6-6E91-E7B4-4B3E831760DA}"/>
          </ac:grpSpMkLst>
        </pc:grpChg>
        <pc:grpChg chg="add mod topLvl">
          <ac:chgData name="Alex Powers" userId="ae4a1fc7-4395-46d3-b2f1-3b3c37036ad1" providerId="ADAL" clId="{FF07999E-EC8D-435C-95D5-B8CD345C58D7}" dt="2023-03-02T23:21:55.577" v="2568" actId="164"/>
          <ac:grpSpMkLst>
            <pc:docMk/>
            <pc:sldMk cId="2306054761" sldId="2147469912"/>
            <ac:grpSpMk id="55" creationId="{C57E7E65-0EC9-58B8-AE8C-45094C57ACC2}"/>
          </ac:grpSpMkLst>
        </pc:grpChg>
        <pc:grpChg chg="add del mod">
          <ac:chgData name="Alex Powers" userId="ae4a1fc7-4395-46d3-b2f1-3b3c37036ad1" providerId="ADAL" clId="{FF07999E-EC8D-435C-95D5-B8CD345C58D7}" dt="2023-03-02T23:15:08.483" v="2485" actId="165"/>
          <ac:grpSpMkLst>
            <pc:docMk/>
            <pc:sldMk cId="2306054761" sldId="2147469912"/>
            <ac:grpSpMk id="60" creationId="{34F8A4AE-0A1F-A131-87AB-E8FFBB2C54E2}"/>
          </ac:grpSpMkLst>
        </pc:grpChg>
        <pc:grpChg chg="add del">
          <ac:chgData name="Alex Powers" userId="ae4a1fc7-4395-46d3-b2f1-3b3c37036ad1" providerId="ADAL" clId="{FF07999E-EC8D-435C-95D5-B8CD345C58D7}" dt="2023-03-02T23:21:55.577" v="2568" actId="164"/>
          <ac:grpSpMkLst>
            <pc:docMk/>
            <pc:sldMk cId="2306054761" sldId="2147469912"/>
            <ac:grpSpMk id="1043" creationId="{DE042D89-1990-5309-6B09-BDA17526F513}"/>
          </ac:grpSpMkLst>
        </pc:grpChg>
        <pc:grpChg chg="add mod">
          <ac:chgData name="Alex Powers" userId="ae4a1fc7-4395-46d3-b2f1-3b3c37036ad1" providerId="ADAL" clId="{FF07999E-EC8D-435C-95D5-B8CD345C58D7}" dt="2023-03-03T12:56:54.853" v="2645" actId="1076"/>
          <ac:grpSpMkLst>
            <pc:docMk/>
            <pc:sldMk cId="2306054761" sldId="2147469912"/>
            <ac:grpSpMk id="1044" creationId="{623E5E5D-B94F-9470-0EA9-ABF03336F0B4}"/>
          </ac:grpSpMkLst>
        </pc:grpChg>
        <pc:grpChg chg="add">
          <ac:chgData name="Alex Powers" userId="ae4a1fc7-4395-46d3-b2f1-3b3c37036ad1" providerId="ADAL" clId="{FF07999E-EC8D-435C-95D5-B8CD345C58D7}" dt="2023-03-02T23:23:39.553" v="2583" actId="164"/>
          <ac:grpSpMkLst>
            <pc:docMk/>
            <pc:sldMk cId="2306054761" sldId="2147469912"/>
            <ac:grpSpMk id="1045" creationId="{9FCBF750-B9A2-9A9F-4EF6-84D7360D1F30}"/>
          </ac:grpSpMkLst>
        </pc:grpChg>
        <pc:grpChg chg="add del mod">
          <ac:chgData name="Alex Powers" userId="ae4a1fc7-4395-46d3-b2f1-3b3c37036ad1" providerId="ADAL" clId="{FF07999E-EC8D-435C-95D5-B8CD345C58D7}" dt="2023-03-03T13:03:13.855" v="2705"/>
          <ac:grpSpMkLst>
            <pc:docMk/>
            <pc:sldMk cId="2306054761" sldId="2147469912"/>
            <ac:grpSpMk id="1056" creationId="{189723C9-67EB-7DEF-0494-38B8608D11A1}"/>
          </ac:grpSpMkLst>
        </pc:grpChg>
        <pc:grpChg chg="add mod">
          <ac:chgData name="Alex Powers" userId="ae4a1fc7-4395-46d3-b2f1-3b3c37036ad1" providerId="ADAL" clId="{FF07999E-EC8D-435C-95D5-B8CD345C58D7}" dt="2023-03-03T13:04:04.009" v="2719" actId="1076"/>
          <ac:grpSpMkLst>
            <pc:docMk/>
            <pc:sldMk cId="2306054761" sldId="2147469912"/>
            <ac:grpSpMk id="1067" creationId="{F7DE9C8E-4904-0070-270B-E6551333CF3D}"/>
          </ac:grpSpMkLst>
        </pc:grpChg>
        <pc:grpChg chg="add mod">
          <ac:chgData name="Alex Powers" userId="ae4a1fc7-4395-46d3-b2f1-3b3c37036ad1" providerId="ADAL" clId="{FF07999E-EC8D-435C-95D5-B8CD345C58D7}" dt="2023-03-03T13:04:09.829" v="2721" actId="1076"/>
          <ac:grpSpMkLst>
            <pc:docMk/>
            <pc:sldMk cId="2306054761" sldId="2147469912"/>
            <ac:grpSpMk id="1068" creationId="{F139FC07-8158-15F0-4FD8-7A6E7ECE3AB5}"/>
          </ac:grpSpMkLst>
        </pc:grpChg>
        <pc:grpChg chg="add mod">
          <ac:chgData name="Alex Powers" userId="ae4a1fc7-4395-46d3-b2f1-3b3c37036ad1" providerId="ADAL" clId="{FF07999E-EC8D-435C-95D5-B8CD345C58D7}" dt="2023-03-03T13:04:38.704" v="2727" actId="1076"/>
          <ac:grpSpMkLst>
            <pc:docMk/>
            <pc:sldMk cId="2306054761" sldId="2147469912"/>
            <ac:grpSpMk id="1071" creationId="{0324F3A9-34F0-85C2-3120-45A88C1129A7}"/>
          </ac:grpSpMkLst>
        </pc:grpChg>
        <pc:grpChg chg="add mod">
          <ac:chgData name="Alex Powers" userId="ae4a1fc7-4395-46d3-b2f1-3b3c37036ad1" providerId="ADAL" clId="{FF07999E-EC8D-435C-95D5-B8CD345C58D7}" dt="2023-03-03T13:04:35.042" v="2726" actId="1076"/>
          <ac:grpSpMkLst>
            <pc:docMk/>
            <pc:sldMk cId="2306054761" sldId="2147469912"/>
            <ac:grpSpMk id="1074" creationId="{11C90B8B-2F97-E717-AB22-0065941BFF28}"/>
          </ac:grpSpMkLst>
        </pc:grpChg>
        <pc:grpChg chg="add">
          <ac:chgData name="Alex Powers" userId="ae4a1fc7-4395-46d3-b2f1-3b3c37036ad1" providerId="ADAL" clId="{FF07999E-EC8D-435C-95D5-B8CD345C58D7}" dt="2023-03-03T13:06:12.528" v="2732" actId="164"/>
          <ac:grpSpMkLst>
            <pc:docMk/>
            <pc:sldMk cId="2306054761" sldId="2147469912"/>
            <ac:grpSpMk id="1077" creationId="{A5915ECB-6D1E-EA73-4AD7-776EC9F33C30}"/>
          </ac:grpSpMkLst>
        </pc:grpChg>
        <pc:grpChg chg="add">
          <ac:chgData name="Alex Powers" userId="ae4a1fc7-4395-46d3-b2f1-3b3c37036ad1" providerId="ADAL" clId="{FF07999E-EC8D-435C-95D5-B8CD345C58D7}" dt="2023-03-03T13:21:55.401" v="3243" actId="164"/>
          <ac:grpSpMkLst>
            <pc:docMk/>
            <pc:sldMk cId="2306054761" sldId="2147469912"/>
            <ac:grpSpMk id="1086" creationId="{BD769A70-F290-2C3C-5E7C-335765FD378B}"/>
          </ac:grpSpMkLst>
        </pc:grpChg>
        <pc:grpChg chg="add">
          <ac:chgData name="Alex Powers" userId="ae4a1fc7-4395-46d3-b2f1-3b3c37036ad1" providerId="ADAL" clId="{FF07999E-EC8D-435C-95D5-B8CD345C58D7}" dt="2023-03-03T13:22:04.585" v="3244" actId="164"/>
          <ac:grpSpMkLst>
            <pc:docMk/>
            <pc:sldMk cId="2306054761" sldId="2147469912"/>
            <ac:grpSpMk id="1087" creationId="{DA966F6E-EC5F-860E-5BDA-D9FA8A2EE0CE}"/>
          </ac:grpSpMkLst>
        </pc:grpChg>
        <pc:grpChg chg="add">
          <ac:chgData name="Alex Powers" userId="ae4a1fc7-4395-46d3-b2f1-3b3c37036ad1" providerId="ADAL" clId="{FF07999E-EC8D-435C-95D5-B8CD345C58D7}" dt="2023-03-03T13:24:50.643" v="3261" actId="164"/>
          <ac:grpSpMkLst>
            <pc:docMk/>
            <pc:sldMk cId="2306054761" sldId="2147469912"/>
            <ac:grpSpMk id="1092" creationId="{8D34BAA7-F68E-7EE6-D2EA-CB49CDF53E14}"/>
          </ac:grpSpMkLst>
        </pc:grpChg>
        <pc:picChg chg="add del mod">
          <ac:chgData name="Alex Powers" userId="ae4a1fc7-4395-46d3-b2f1-3b3c37036ad1" providerId="ADAL" clId="{FF07999E-EC8D-435C-95D5-B8CD345C58D7}" dt="2023-03-03T13:07:16.652" v="2773" actId="478"/>
          <ac:picMkLst>
            <pc:docMk/>
            <pc:sldMk cId="2306054761" sldId="2147469912"/>
            <ac:picMk id="7" creationId="{48455427-55AD-4F6E-9B0F-449016469252}"/>
          </ac:picMkLst>
        </pc:picChg>
        <pc:picChg chg="add del mod">
          <ac:chgData name="Alex Powers" userId="ae4a1fc7-4395-46d3-b2f1-3b3c37036ad1" providerId="ADAL" clId="{FF07999E-EC8D-435C-95D5-B8CD345C58D7}" dt="2023-03-02T23:02:33.710" v="2351" actId="478"/>
          <ac:picMkLst>
            <pc:docMk/>
            <pc:sldMk cId="2306054761" sldId="2147469912"/>
            <ac:picMk id="8" creationId="{485D99DF-8826-78FB-7814-FC75B7B293AA}"/>
          </ac:picMkLst>
        </pc:picChg>
        <pc:picChg chg="add del mod">
          <ac:chgData name="Alex Powers" userId="ae4a1fc7-4395-46d3-b2f1-3b3c37036ad1" providerId="ADAL" clId="{FF07999E-EC8D-435C-95D5-B8CD345C58D7}" dt="2023-03-02T23:01:33.410" v="2340" actId="478"/>
          <ac:picMkLst>
            <pc:docMk/>
            <pc:sldMk cId="2306054761" sldId="2147469912"/>
            <ac:picMk id="11" creationId="{CF898824-985D-3302-0C94-4828CF654BAC}"/>
          </ac:picMkLst>
        </pc:picChg>
        <pc:picChg chg="add mod">
          <ac:chgData name="Alex Powers" userId="ae4a1fc7-4395-46d3-b2f1-3b3c37036ad1" providerId="ADAL" clId="{FF07999E-EC8D-435C-95D5-B8CD345C58D7}" dt="2023-03-02T23:03:09.288" v="2363" actId="1076"/>
          <ac:picMkLst>
            <pc:docMk/>
            <pc:sldMk cId="2306054761" sldId="2147469912"/>
            <ac:picMk id="13" creationId="{54E61980-228D-7894-3958-08650C6FD861}"/>
          </ac:picMkLst>
        </pc:picChg>
        <pc:picChg chg="add mod">
          <ac:chgData name="Alex Powers" userId="ae4a1fc7-4395-46d3-b2f1-3b3c37036ad1" providerId="ADAL" clId="{FF07999E-EC8D-435C-95D5-B8CD345C58D7}" dt="2023-03-02T23:03:09.288" v="2363" actId="1076"/>
          <ac:picMkLst>
            <pc:docMk/>
            <pc:sldMk cId="2306054761" sldId="2147469912"/>
            <ac:picMk id="15" creationId="{0FEAB499-D54C-F5F7-FAE8-21472AD933C4}"/>
          </ac:picMkLst>
        </pc:picChg>
        <pc:picChg chg="add mod">
          <ac:chgData name="Alex Powers" userId="ae4a1fc7-4395-46d3-b2f1-3b3c37036ad1" providerId="ADAL" clId="{FF07999E-EC8D-435C-95D5-B8CD345C58D7}" dt="2023-03-03T13:10:50.622" v="2846" actId="1035"/>
          <ac:picMkLst>
            <pc:docMk/>
            <pc:sldMk cId="2306054761" sldId="2147469912"/>
            <ac:picMk id="16" creationId="{1E6952E8-DE27-5791-99CA-4358D3D071C2}"/>
          </ac:picMkLst>
        </pc:picChg>
        <pc:picChg chg="add mod">
          <ac:chgData name="Alex Powers" userId="ae4a1fc7-4395-46d3-b2f1-3b3c37036ad1" providerId="ADAL" clId="{FF07999E-EC8D-435C-95D5-B8CD345C58D7}" dt="2023-03-02T23:03:09.288" v="2363" actId="1076"/>
          <ac:picMkLst>
            <pc:docMk/>
            <pc:sldMk cId="2306054761" sldId="2147469912"/>
            <ac:picMk id="17" creationId="{3BBEB372-A8C9-31D2-E159-3F19E0EB5662}"/>
          </ac:picMkLst>
        </pc:picChg>
        <pc:picChg chg="add del mod">
          <ac:chgData name="Alex Powers" userId="ae4a1fc7-4395-46d3-b2f1-3b3c37036ad1" providerId="ADAL" clId="{FF07999E-EC8D-435C-95D5-B8CD345C58D7}" dt="2023-03-02T23:03:02.278" v="2362" actId="478"/>
          <ac:picMkLst>
            <pc:docMk/>
            <pc:sldMk cId="2306054761" sldId="2147469912"/>
            <ac:picMk id="18" creationId="{CC68374D-2E6E-90A5-DBF8-1B2F333B36EA}"/>
          </ac:picMkLst>
        </pc:picChg>
        <pc:picChg chg="add del mod">
          <ac:chgData name="Alex Powers" userId="ae4a1fc7-4395-46d3-b2f1-3b3c37036ad1" providerId="ADAL" clId="{FF07999E-EC8D-435C-95D5-B8CD345C58D7}" dt="2023-03-02T23:04:45.468" v="2387" actId="478"/>
          <ac:picMkLst>
            <pc:docMk/>
            <pc:sldMk cId="2306054761" sldId="2147469912"/>
            <ac:picMk id="20" creationId="{1C8136D5-1DB2-529F-F63A-E0245F7F5D7C}"/>
          </ac:picMkLst>
        </pc:picChg>
        <pc:picChg chg="add mod">
          <ac:chgData name="Alex Powers" userId="ae4a1fc7-4395-46d3-b2f1-3b3c37036ad1" providerId="ADAL" clId="{FF07999E-EC8D-435C-95D5-B8CD345C58D7}" dt="2023-03-02T23:04:53.169" v="2391" actId="1076"/>
          <ac:picMkLst>
            <pc:docMk/>
            <pc:sldMk cId="2306054761" sldId="2147469912"/>
            <ac:picMk id="24" creationId="{E5CA8B70-9227-2F65-9868-8208047A080D}"/>
          </ac:picMkLst>
        </pc:picChg>
        <pc:picChg chg="add mod">
          <ac:chgData name="Alex Powers" userId="ae4a1fc7-4395-46d3-b2f1-3b3c37036ad1" providerId="ADAL" clId="{FF07999E-EC8D-435C-95D5-B8CD345C58D7}" dt="2023-03-02T23:10:58.110" v="2447" actId="408"/>
          <ac:picMkLst>
            <pc:docMk/>
            <pc:sldMk cId="2306054761" sldId="2147469912"/>
            <ac:picMk id="26" creationId="{8E72EFF4-F601-29D5-005E-C02748601F02}"/>
          </ac:picMkLst>
        </pc:picChg>
        <pc:picChg chg="add mod">
          <ac:chgData name="Alex Powers" userId="ae4a1fc7-4395-46d3-b2f1-3b3c37036ad1" providerId="ADAL" clId="{FF07999E-EC8D-435C-95D5-B8CD345C58D7}" dt="2023-03-02T23:10:51.655" v="2446" actId="1076"/>
          <ac:picMkLst>
            <pc:docMk/>
            <pc:sldMk cId="2306054761" sldId="2147469912"/>
            <ac:picMk id="28" creationId="{7315FEB8-F197-5F79-FD0D-22B3B07FEEF9}"/>
          </ac:picMkLst>
        </pc:picChg>
        <pc:picChg chg="add mod">
          <ac:chgData name="Alex Powers" userId="ae4a1fc7-4395-46d3-b2f1-3b3c37036ad1" providerId="ADAL" clId="{FF07999E-EC8D-435C-95D5-B8CD345C58D7}" dt="2023-03-02T23:21:01.344" v="2562" actId="1076"/>
          <ac:picMkLst>
            <pc:docMk/>
            <pc:sldMk cId="2306054761" sldId="2147469912"/>
            <ac:picMk id="39" creationId="{3B976E79-7DDB-C0CA-B2B6-40D3F3BA6E4D}"/>
          </ac:picMkLst>
        </pc:picChg>
        <pc:picChg chg="add mod">
          <ac:chgData name="Alex Powers" userId="ae4a1fc7-4395-46d3-b2f1-3b3c37036ad1" providerId="ADAL" clId="{FF07999E-EC8D-435C-95D5-B8CD345C58D7}" dt="2023-03-02T23:12:52.051" v="2459" actId="1076"/>
          <ac:picMkLst>
            <pc:docMk/>
            <pc:sldMk cId="2306054761" sldId="2147469912"/>
            <ac:picMk id="41" creationId="{618F5D08-E145-B584-6A57-176AB9A8AFEB}"/>
          </ac:picMkLst>
        </pc:picChg>
        <pc:picChg chg="add mod">
          <ac:chgData name="Alex Powers" userId="ae4a1fc7-4395-46d3-b2f1-3b3c37036ad1" providerId="ADAL" clId="{FF07999E-EC8D-435C-95D5-B8CD345C58D7}" dt="2023-03-02T23:12:57.542" v="2462" actId="1076"/>
          <ac:picMkLst>
            <pc:docMk/>
            <pc:sldMk cId="2306054761" sldId="2147469912"/>
            <ac:picMk id="42" creationId="{7AD9EA28-A746-B767-B903-B6E37A92F9AF}"/>
          </ac:picMkLst>
        </pc:picChg>
        <pc:picChg chg="mod">
          <ac:chgData name="Alex Powers" userId="ae4a1fc7-4395-46d3-b2f1-3b3c37036ad1" providerId="ADAL" clId="{FF07999E-EC8D-435C-95D5-B8CD345C58D7}" dt="2023-03-02T23:20:54.861" v="2561" actId="1076"/>
          <ac:picMkLst>
            <pc:docMk/>
            <pc:sldMk cId="2306054761" sldId="2147469912"/>
            <ac:picMk id="46" creationId="{3819B164-A680-07DF-0E06-B9D95260D919}"/>
          </ac:picMkLst>
        </pc:picChg>
        <pc:picChg chg="mod">
          <ac:chgData name="Alex Powers" userId="ae4a1fc7-4395-46d3-b2f1-3b3c37036ad1" providerId="ADAL" clId="{FF07999E-EC8D-435C-95D5-B8CD345C58D7}" dt="2023-03-02T23:13:49.935" v="2472"/>
          <ac:picMkLst>
            <pc:docMk/>
            <pc:sldMk cId="2306054761" sldId="2147469912"/>
            <ac:picMk id="47" creationId="{BB28C495-E5E0-EAFB-87D0-925726241919}"/>
          </ac:picMkLst>
        </pc:picChg>
        <pc:picChg chg="mod">
          <ac:chgData name="Alex Powers" userId="ae4a1fc7-4395-46d3-b2f1-3b3c37036ad1" providerId="ADAL" clId="{FF07999E-EC8D-435C-95D5-B8CD345C58D7}" dt="2023-03-02T23:13:49.935" v="2472"/>
          <ac:picMkLst>
            <pc:docMk/>
            <pc:sldMk cId="2306054761" sldId="2147469912"/>
            <ac:picMk id="48" creationId="{216D162C-7BF3-709C-C864-FBB7A0845431}"/>
          </ac:picMkLst>
        </pc:picChg>
        <pc:picChg chg="mod">
          <ac:chgData name="Alex Powers" userId="ae4a1fc7-4395-46d3-b2f1-3b3c37036ad1" providerId="ADAL" clId="{FF07999E-EC8D-435C-95D5-B8CD345C58D7}" dt="2023-03-02T23:21:05.106" v="2563" actId="1076"/>
          <ac:picMkLst>
            <pc:docMk/>
            <pc:sldMk cId="2306054761" sldId="2147469912"/>
            <ac:picMk id="51" creationId="{5FFCF003-5469-A1EF-3961-F79FF88EF4B5}"/>
          </ac:picMkLst>
        </pc:picChg>
        <pc:picChg chg="mod">
          <ac:chgData name="Alex Powers" userId="ae4a1fc7-4395-46d3-b2f1-3b3c37036ad1" providerId="ADAL" clId="{FF07999E-EC8D-435C-95D5-B8CD345C58D7}" dt="2023-03-02T23:13:59.167" v="2474"/>
          <ac:picMkLst>
            <pc:docMk/>
            <pc:sldMk cId="2306054761" sldId="2147469912"/>
            <ac:picMk id="52" creationId="{A53A23E1-1F3E-691A-03F2-E8D91CF1D2BA}"/>
          </ac:picMkLst>
        </pc:picChg>
        <pc:picChg chg="mod">
          <ac:chgData name="Alex Powers" userId="ae4a1fc7-4395-46d3-b2f1-3b3c37036ad1" providerId="ADAL" clId="{FF07999E-EC8D-435C-95D5-B8CD345C58D7}" dt="2023-03-02T23:13:59.167" v="2474"/>
          <ac:picMkLst>
            <pc:docMk/>
            <pc:sldMk cId="2306054761" sldId="2147469912"/>
            <ac:picMk id="53" creationId="{9BA2ED06-7CE5-64DE-C0F4-A62D3F94D413}"/>
          </ac:picMkLst>
        </pc:picChg>
        <pc:picChg chg="mod">
          <ac:chgData name="Alex Powers" userId="ae4a1fc7-4395-46d3-b2f1-3b3c37036ad1" providerId="ADAL" clId="{FF07999E-EC8D-435C-95D5-B8CD345C58D7}" dt="2023-03-02T23:22:00.455" v="2570" actId="1076"/>
          <ac:picMkLst>
            <pc:docMk/>
            <pc:sldMk cId="2306054761" sldId="2147469912"/>
            <ac:picMk id="56" creationId="{0D6DE8F0-777E-46FE-C312-871724824C54}"/>
          </ac:picMkLst>
        </pc:picChg>
        <pc:picChg chg="mod">
          <ac:chgData name="Alex Powers" userId="ae4a1fc7-4395-46d3-b2f1-3b3c37036ad1" providerId="ADAL" clId="{FF07999E-EC8D-435C-95D5-B8CD345C58D7}" dt="2023-03-02T23:14:37.251" v="2477"/>
          <ac:picMkLst>
            <pc:docMk/>
            <pc:sldMk cId="2306054761" sldId="2147469912"/>
            <ac:picMk id="57" creationId="{10F406F1-C73E-E35F-21C5-7C824C53CB46}"/>
          </ac:picMkLst>
        </pc:picChg>
        <pc:picChg chg="mod">
          <ac:chgData name="Alex Powers" userId="ae4a1fc7-4395-46d3-b2f1-3b3c37036ad1" providerId="ADAL" clId="{FF07999E-EC8D-435C-95D5-B8CD345C58D7}" dt="2023-03-02T23:14:37.251" v="2477"/>
          <ac:picMkLst>
            <pc:docMk/>
            <pc:sldMk cId="2306054761" sldId="2147469912"/>
            <ac:picMk id="58" creationId="{A42897BC-D5B4-1017-1190-D80BC47BB3F6}"/>
          </ac:picMkLst>
        </pc:picChg>
        <pc:picChg chg="mod topLvl">
          <ac:chgData name="Alex Powers" userId="ae4a1fc7-4395-46d3-b2f1-3b3c37036ad1" providerId="ADAL" clId="{FF07999E-EC8D-435C-95D5-B8CD345C58D7}" dt="2023-03-02T23:20:25.772" v="2555" actId="1076"/>
          <ac:picMkLst>
            <pc:docMk/>
            <pc:sldMk cId="2306054761" sldId="2147469912"/>
            <ac:picMk id="61" creationId="{DB6A2D55-A500-9FF1-FBB6-DA0123E8ABD5}"/>
          </ac:picMkLst>
        </pc:picChg>
        <pc:picChg chg="del mod topLvl">
          <ac:chgData name="Alex Powers" userId="ae4a1fc7-4395-46d3-b2f1-3b3c37036ad1" providerId="ADAL" clId="{FF07999E-EC8D-435C-95D5-B8CD345C58D7}" dt="2023-03-03T13:03:53.784" v="2716" actId="478"/>
          <ac:picMkLst>
            <pc:docMk/>
            <pc:sldMk cId="2306054761" sldId="2147469912"/>
            <ac:picMk id="62" creationId="{976F256F-5CCC-9E13-B38F-B5E9AF5941C0}"/>
          </ac:picMkLst>
        </pc:picChg>
        <pc:picChg chg="del mod topLvl">
          <ac:chgData name="Alex Powers" userId="ae4a1fc7-4395-46d3-b2f1-3b3c37036ad1" providerId="ADAL" clId="{FF07999E-EC8D-435C-95D5-B8CD345C58D7}" dt="2023-03-02T23:16:34.197" v="2499" actId="478"/>
          <ac:picMkLst>
            <pc:docMk/>
            <pc:sldMk cId="2306054761" sldId="2147469912"/>
            <ac:picMk id="63" creationId="{35ACDE22-E4EA-B7CC-18E7-FE36B846A64B}"/>
          </ac:picMkLst>
        </pc:picChg>
        <pc:picChg chg="add del mod">
          <ac:chgData name="Alex Powers" userId="ae4a1fc7-4395-46d3-b2f1-3b3c37036ad1" providerId="ADAL" clId="{FF07999E-EC8D-435C-95D5-B8CD345C58D7}" dt="2023-03-03T13:03:09.777" v="2703" actId="478"/>
          <ac:picMkLst>
            <pc:docMk/>
            <pc:sldMk cId="2306054761" sldId="2147469912"/>
            <ac:picMk id="1025" creationId="{02A7D0A2-1E45-F4DC-1131-021B4E1C67A9}"/>
          </ac:picMkLst>
        </pc:picChg>
        <pc:picChg chg="add del">
          <ac:chgData name="Alex Powers" userId="ae4a1fc7-4395-46d3-b2f1-3b3c37036ad1" providerId="ADAL" clId="{FF07999E-EC8D-435C-95D5-B8CD345C58D7}" dt="2023-03-02T23:08:12.289" v="2412"/>
          <ac:picMkLst>
            <pc:docMk/>
            <pc:sldMk cId="2306054761" sldId="2147469912"/>
            <ac:picMk id="1026" creationId="{94DBA8CB-18B6-517C-5694-F76CFAEDA564}"/>
          </ac:picMkLst>
        </pc:picChg>
        <pc:picChg chg="add del mod">
          <ac:chgData name="Alex Powers" userId="ae4a1fc7-4395-46d3-b2f1-3b3c37036ad1" providerId="ADAL" clId="{FF07999E-EC8D-435C-95D5-B8CD345C58D7}" dt="2023-03-02T23:16:34.197" v="2499" actId="478"/>
          <ac:picMkLst>
            <pc:docMk/>
            <pc:sldMk cId="2306054761" sldId="2147469912"/>
            <ac:picMk id="1027" creationId="{6ED832D2-B23A-A51D-3701-80E32CE721AE}"/>
          </ac:picMkLst>
        </pc:picChg>
        <pc:picChg chg="add mod">
          <ac:chgData name="Alex Powers" userId="ae4a1fc7-4395-46d3-b2f1-3b3c37036ad1" providerId="ADAL" clId="{FF07999E-EC8D-435C-95D5-B8CD345C58D7}" dt="2023-03-02T23:16:30.134" v="2498" actId="408"/>
          <ac:picMkLst>
            <pc:docMk/>
            <pc:sldMk cId="2306054761" sldId="2147469912"/>
            <ac:picMk id="1028" creationId="{2930A7E9-9C7E-C294-57B6-7B16BD7E9D9B}"/>
          </ac:picMkLst>
        </pc:picChg>
        <pc:picChg chg="add del mod">
          <ac:chgData name="Alex Powers" userId="ae4a1fc7-4395-46d3-b2f1-3b3c37036ad1" providerId="ADAL" clId="{FF07999E-EC8D-435C-95D5-B8CD345C58D7}" dt="2023-03-02T23:16:34.197" v="2499" actId="478"/>
          <ac:picMkLst>
            <pc:docMk/>
            <pc:sldMk cId="2306054761" sldId="2147469912"/>
            <ac:picMk id="1029" creationId="{919F26F1-2960-FCDE-E9E9-9A825D671040}"/>
          </ac:picMkLst>
        </pc:picChg>
        <pc:picChg chg="add mod">
          <ac:chgData name="Alex Powers" userId="ae4a1fc7-4395-46d3-b2f1-3b3c37036ad1" providerId="ADAL" clId="{FF07999E-EC8D-435C-95D5-B8CD345C58D7}" dt="2023-03-02T23:16:24.936" v="2497" actId="465"/>
          <ac:picMkLst>
            <pc:docMk/>
            <pc:sldMk cId="2306054761" sldId="2147469912"/>
            <ac:picMk id="1030" creationId="{16CC54DE-2C05-A5FA-FF6F-30CBCB5FC063}"/>
          </ac:picMkLst>
        </pc:picChg>
        <pc:picChg chg="add del mod">
          <ac:chgData name="Alex Powers" userId="ae4a1fc7-4395-46d3-b2f1-3b3c37036ad1" providerId="ADAL" clId="{FF07999E-EC8D-435C-95D5-B8CD345C58D7}" dt="2023-03-02T23:16:34.197" v="2499" actId="478"/>
          <ac:picMkLst>
            <pc:docMk/>
            <pc:sldMk cId="2306054761" sldId="2147469912"/>
            <ac:picMk id="1031" creationId="{E7E60809-2730-D18A-5E97-74A096B6A640}"/>
          </ac:picMkLst>
        </pc:picChg>
        <pc:picChg chg="add del mod">
          <ac:chgData name="Alex Powers" userId="ae4a1fc7-4395-46d3-b2f1-3b3c37036ad1" providerId="ADAL" clId="{FF07999E-EC8D-435C-95D5-B8CD345C58D7}" dt="2023-03-03T13:03:06.163" v="2701" actId="478"/>
          <ac:picMkLst>
            <pc:docMk/>
            <pc:sldMk cId="2306054761" sldId="2147469912"/>
            <ac:picMk id="1032" creationId="{0FCB17B7-D0BD-2576-188E-592DE06895F0}"/>
          </ac:picMkLst>
        </pc:picChg>
        <pc:picChg chg="add del mod">
          <ac:chgData name="Alex Powers" userId="ae4a1fc7-4395-46d3-b2f1-3b3c37036ad1" providerId="ADAL" clId="{FF07999E-EC8D-435C-95D5-B8CD345C58D7}" dt="2023-03-03T13:03:08.457" v="2702" actId="478"/>
          <ac:picMkLst>
            <pc:docMk/>
            <pc:sldMk cId="2306054761" sldId="2147469912"/>
            <ac:picMk id="1033" creationId="{57C8EF5D-551A-7389-F3E7-217A6FD91C32}"/>
          </ac:picMkLst>
        </pc:picChg>
        <pc:picChg chg="add mod">
          <ac:chgData name="Alex Powers" userId="ae4a1fc7-4395-46d3-b2f1-3b3c37036ad1" providerId="ADAL" clId="{FF07999E-EC8D-435C-95D5-B8CD345C58D7}" dt="2023-03-03T16:55:20.299" v="4034" actId="1076"/>
          <ac:picMkLst>
            <pc:docMk/>
            <pc:sldMk cId="2306054761" sldId="2147469912"/>
            <ac:picMk id="1034" creationId="{4605184A-3D65-2733-F13B-FECF3DA2B15E}"/>
          </ac:picMkLst>
        </pc:picChg>
        <pc:picChg chg="add mod">
          <ac:chgData name="Alex Powers" userId="ae4a1fc7-4395-46d3-b2f1-3b3c37036ad1" providerId="ADAL" clId="{FF07999E-EC8D-435C-95D5-B8CD345C58D7}" dt="2023-03-03T16:55:26.073" v="4035" actId="1076"/>
          <ac:picMkLst>
            <pc:docMk/>
            <pc:sldMk cId="2306054761" sldId="2147469912"/>
            <ac:picMk id="1035" creationId="{ABFE7E9A-A053-07BF-66F8-0F38115D69C6}"/>
          </ac:picMkLst>
        </pc:picChg>
        <pc:picChg chg="add del mod">
          <ac:chgData name="Alex Powers" userId="ae4a1fc7-4395-46d3-b2f1-3b3c37036ad1" providerId="ADAL" clId="{FF07999E-EC8D-435C-95D5-B8CD345C58D7}" dt="2023-03-02T23:17:40.490" v="2512" actId="478"/>
          <ac:picMkLst>
            <pc:docMk/>
            <pc:sldMk cId="2306054761" sldId="2147469912"/>
            <ac:picMk id="1037" creationId="{876821D6-6DE1-FE1B-B760-1D4F1A1E1580}"/>
          </ac:picMkLst>
        </pc:picChg>
        <pc:picChg chg="add del mod ord">
          <ac:chgData name="Alex Powers" userId="ae4a1fc7-4395-46d3-b2f1-3b3c37036ad1" providerId="ADAL" clId="{FF07999E-EC8D-435C-95D5-B8CD345C58D7}" dt="2023-03-03T12:58:40.408" v="2665" actId="478"/>
          <ac:picMkLst>
            <pc:docMk/>
            <pc:sldMk cId="2306054761" sldId="2147469912"/>
            <ac:picMk id="1039" creationId="{00CB7298-9544-9F38-C94E-43AFD08B7780}"/>
          </ac:picMkLst>
        </pc:picChg>
        <pc:picChg chg="add del mod">
          <ac:chgData name="Alex Powers" userId="ae4a1fc7-4395-46d3-b2f1-3b3c37036ad1" providerId="ADAL" clId="{FF07999E-EC8D-435C-95D5-B8CD345C58D7}" dt="2023-03-02T23:19:22.740" v="2541" actId="478"/>
          <ac:picMkLst>
            <pc:docMk/>
            <pc:sldMk cId="2306054761" sldId="2147469912"/>
            <ac:picMk id="1041" creationId="{83DCC402-B338-621F-DD29-BAB28AC2FCC8}"/>
          </ac:picMkLst>
        </pc:picChg>
        <pc:picChg chg="add del mod">
          <ac:chgData name="Alex Powers" userId="ae4a1fc7-4395-46d3-b2f1-3b3c37036ad1" providerId="ADAL" clId="{FF07999E-EC8D-435C-95D5-B8CD345C58D7}" dt="2023-03-02T23:20:14.592" v="2554" actId="478"/>
          <ac:picMkLst>
            <pc:docMk/>
            <pc:sldMk cId="2306054761" sldId="2147469912"/>
            <ac:picMk id="1042" creationId="{82E3CF00-20F7-2F95-6C69-CD893B25D48E}"/>
          </ac:picMkLst>
        </pc:picChg>
        <pc:picChg chg="add del mod">
          <ac:chgData name="Alex Powers" userId="ae4a1fc7-4395-46d3-b2f1-3b3c37036ad1" providerId="ADAL" clId="{FF07999E-EC8D-435C-95D5-B8CD345C58D7}" dt="2023-03-03T12:58:38.619" v="2664" actId="478"/>
          <ac:picMkLst>
            <pc:docMk/>
            <pc:sldMk cId="2306054761" sldId="2147469912"/>
            <ac:picMk id="1052" creationId="{5A0E9341-6515-CEA8-2585-349C272C966C}"/>
          </ac:picMkLst>
        </pc:picChg>
        <pc:picChg chg="add del mod">
          <ac:chgData name="Alex Powers" userId="ae4a1fc7-4395-46d3-b2f1-3b3c37036ad1" providerId="ADAL" clId="{FF07999E-EC8D-435C-95D5-B8CD345C58D7}" dt="2023-03-03T13:03:52.437" v="2715" actId="478"/>
          <ac:picMkLst>
            <pc:docMk/>
            <pc:sldMk cId="2306054761" sldId="2147469912"/>
            <ac:picMk id="1054" creationId="{8EC5C165-69AD-1A72-CC19-8A98C7B84457}"/>
          </ac:picMkLst>
        </pc:picChg>
        <pc:picChg chg="add del mod">
          <ac:chgData name="Alex Powers" userId="ae4a1fc7-4395-46d3-b2f1-3b3c37036ad1" providerId="ADAL" clId="{FF07999E-EC8D-435C-95D5-B8CD345C58D7}" dt="2023-03-03T13:03:03.463" v="2700" actId="478"/>
          <ac:picMkLst>
            <pc:docMk/>
            <pc:sldMk cId="2306054761" sldId="2147469912"/>
            <ac:picMk id="1055" creationId="{E5B60FD1-DD37-D93C-0A13-E2E9B3F4BF8D}"/>
          </ac:picMkLst>
        </pc:picChg>
        <pc:picChg chg="mod">
          <ac:chgData name="Alex Powers" userId="ae4a1fc7-4395-46d3-b2f1-3b3c37036ad1" providerId="ADAL" clId="{FF07999E-EC8D-435C-95D5-B8CD345C58D7}" dt="2023-03-03T13:03:12.865" v="2704"/>
          <ac:picMkLst>
            <pc:docMk/>
            <pc:sldMk cId="2306054761" sldId="2147469912"/>
            <ac:picMk id="1057" creationId="{97F5E278-E27E-F185-65F2-A69C840E15EC}"/>
          </ac:picMkLst>
        </pc:picChg>
        <pc:picChg chg="mod">
          <ac:chgData name="Alex Powers" userId="ae4a1fc7-4395-46d3-b2f1-3b3c37036ad1" providerId="ADAL" clId="{FF07999E-EC8D-435C-95D5-B8CD345C58D7}" dt="2023-03-03T13:03:12.865" v="2704"/>
          <ac:picMkLst>
            <pc:docMk/>
            <pc:sldMk cId="2306054761" sldId="2147469912"/>
            <ac:picMk id="1058" creationId="{466295B4-8060-061B-33AE-43B9B85CCA19}"/>
          </ac:picMkLst>
        </pc:picChg>
        <pc:picChg chg="mod">
          <ac:chgData name="Alex Powers" userId="ae4a1fc7-4395-46d3-b2f1-3b3c37036ad1" providerId="ADAL" clId="{FF07999E-EC8D-435C-95D5-B8CD345C58D7}" dt="2023-03-03T13:03:12.865" v="2704"/>
          <ac:picMkLst>
            <pc:docMk/>
            <pc:sldMk cId="2306054761" sldId="2147469912"/>
            <ac:picMk id="1060" creationId="{401D418E-96D9-8163-7168-412D578FC679}"/>
          </ac:picMkLst>
        </pc:picChg>
        <pc:picChg chg="mod">
          <ac:chgData name="Alex Powers" userId="ae4a1fc7-4395-46d3-b2f1-3b3c37036ad1" providerId="ADAL" clId="{FF07999E-EC8D-435C-95D5-B8CD345C58D7}" dt="2023-03-03T13:03:12.865" v="2704"/>
          <ac:picMkLst>
            <pc:docMk/>
            <pc:sldMk cId="2306054761" sldId="2147469912"/>
            <ac:picMk id="1061" creationId="{80AF1CA0-5B7A-76D7-F74A-3393CCDC67F9}"/>
          </ac:picMkLst>
        </pc:picChg>
        <pc:picChg chg="mod">
          <ac:chgData name="Alex Powers" userId="ae4a1fc7-4395-46d3-b2f1-3b3c37036ad1" providerId="ADAL" clId="{FF07999E-EC8D-435C-95D5-B8CD345C58D7}" dt="2023-03-03T13:03:12.865" v="2704"/>
          <ac:picMkLst>
            <pc:docMk/>
            <pc:sldMk cId="2306054761" sldId="2147469912"/>
            <ac:picMk id="1062" creationId="{4198F2AC-0173-6B6D-CB01-BB7B58DEBEF1}"/>
          </ac:picMkLst>
        </pc:picChg>
        <pc:picChg chg="mod">
          <ac:chgData name="Alex Powers" userId="ae4a1fc7-4395-46d3-b2f1-3b3c37036ad1" providerId="ADAL" clId="{FF07999E-EC8D-435C-95D5-B8CD345C58D7}" dt="2023-03-03T13:03:12.865" v="2704"/>
          <ac:picMkLst>
            <pc:docMk/>
            <pc:sldMk cId="2306054761" sldId="2147469912"/>
            <ac:picMk id="1063" creationId="{028C3856-B0EF-371D-05BB-A8408DD6414A}"/>
          </ac:picMkLst>
        </pc:picChg>
        <pc:picChg chg="add del mod">
          <ac:chgData name="Alex Powers" userId="ae4a1fc7-4395-46d3-b2f1-3b3c37036ad1" providerId="ADAL" clId="{FF07999E-EC8D-435C-95D5-B8CD345C58D7}" dt="2023-03-03T13:03:13.855" v="2705"/>
          <ac:picMkLst>
            <pc:docMk/>
            <pc:sldMk cId="2306054761" sldId="2147469912"/>
            <ac:picMk id="1064" creationId="{253DCFFA-3BEB-490E-7F15-B01ADA9CCEDE}"/>
          </ac:picMkLst>
        </pc:picChg>
        <pc:picChg chg="add mod">
          <ac:chgData name="Alex Powers" userId="ae4a1fc7-4395-46d3-b2f1-3b3c37036ad1" providerId="ADAL" clId="{FF07999E-EC8D-435C-95D5-B8CD345C58D7}" dt="2023-03-03T13:03:33.999" v="2707" actId="1076"/>
          <ac:picMkLst>
            <pc:docMk/>
            <pc:sldMk cId="2306054761" sldId="2147469912"/>
            <ac:picMk id="1065" creationId="{40F6932B-D822-FCCB-7914-9ADD64AFAF56}"/>
          </ac:picMkLst>
        </pc:picChg>
        <pc:picChg chg="add mod">
          <ac:chgData name="Alex Powers" userId="ae4a1fc7-4395-46d3-b2f1-3b3c37036ad1" providerId="ADAL" clId="{FF07999E-EC8D-435C-95D5-B8CD345C58D7}" dt="2023-03-03T13:04:53.320" v="2728" actId="1582"/>
          <ac:picMkLst>
            <pc:docMk/>
            <pc:sldMk cId="2306054761" sldId="2147469912"/>
            <ac:picMk id="1066" creationId="{6DD6F771-F2C8-371E-8409-6ED5352A559D}"/>
          </ac:picMkLst>
        </pc:picChg>
        <pc:picChg chg="mod">
          <ac:chgData name="Alex Powers" userId="ae4a1fc7-4395-46d3-b2f1-3b3c37036ad1" providerId="ADAL" clId="{FF07999E-EC8D-435C-95D5-B8CD345C58D7}" dt="2023-03-03T13:04:04.705" v="2720"/>
          <ac:picMkLst>
            <pc:docMk/>
            <pc:sldMk cId="2306054761" sldId="2147469912"/>
            <ac:picMk id="1069" creationId="{FDDD6FC3-2E65-805F-6BA8-0D8DFB8C9CDD}"/>
          </ac:picMkLst>
        </pc:picChg>
        <pc:picChg chg="mod">
          <ac:chgData name="Alex Powers" userId="ae4a1fc7-4395-46d3-b2f1-3b3c37036ad1" providerId="ADAL" clId="{FF07999E-EC8D-435C-95D5-B8CD345C58D7}" dt="2023-03-03T13:05:00.981" v="2729" actId="1582"/>
          <ac:picMkLst>
            <pc:docMk/>
            <pc:sldMk cId="2306054761" sldId="2147469912"/>
            <ac:picMk id="1070" creationId="{5D3110B9-1C3D-B3E7-754C-2981850432D9}"/>
          </ac:picMkLst>
        </pc:picChg>
        <pc:picChg chg="mod">
          <ac:chgData name="Alex Powers" userId="ae4a1fc7-4395-46d3-b2f1-3b3c37036ad1" providerId="ADAL" clId="{FF07999E-EC8D-435C-95D5-B8CD345C58D7}" dt="2023-03-03T13:04:10.934" v="2722"/>
          <ac:picMkLst>
            <pc:docMk/>
            <pc:sldMk cId="2306054761" sldId="2147469912"/>
            <ac:picMk id="1072" creationId="{EC6E1754-B5AC-741B-A4DD-CA44F474711C}"/>
          </ac:picMkLst>
        </pc:picChg>
        <pc:picChg chg="mod">
          <ac:chgData name="Alex Powers" userId="ae4a1fc7-4395-46d3-b2f1-3b3c37036ad1" providerId="ADAL" clId="{FF07999E-EC8D-435C-95D5-B8CD345C58D7}" dt="2023-03-03T13:05:08.222" v="2730" actId="1582"/>
          <ac:picMkLst>
            <pc:docMk/>
            <pc:sldMk cId="2306054761" sldId="2147469912"/>
            <ac:picMk id="1073" creationId="{3D82B67C-20A5-E7D5-D521-B53AF401AEFD}"/>
          </ac:picMkLst>
        </pc:picChg>
        <pc:picChg chg="mod">
          <ac:chgData name="Alex Powers" userId="ae4a1fc7-4395-46d3-b2f1-3b3c37036ad1" providerId="ADAL" clId="{FF07999E-EC8D-435C-95D5-B8CD345C58D7}" dt="2023-03-03T13:04:22.401" v="2724"/>
          <ac:picMkLst>
            <pc:docMk/>
            <pc:sldMk cId="2306054761" sldId="2147469912"/>
            <ac:picMk id="1075" creationId="{A0CAA90D-2F7A-BE08-B0C1-17B6F62C9F20}"/>
          </ac:picMkLst>
        </pc:picChg>
        <pc:picChg chg="mod">
          <ac:chgData name="Alex Powers" userId="ae4a1fc7-4395-46d3-b2f1-3b3c37036ad1" providerId="ADAL" clId="{FF07999E-EC8D-435C-95D5-B8CD345C58D7}" dt="2023-03-03T13:05:12.786" v="2731" actId="1582"/>
          <ac:picMkLst>
            <pc:docMk/>
            <pc:sldMk cId="2306054761" sldId="2147469912"/>
            <ac:picMk id="1076" creationId="{0FDEBF6A-8675-1FB3-9D95-9B52865573C7}"/>
          </ac:picMkLst>
        </pc:picChg>
        <pc:picChg chg="add mod">
          <ac:chgData name="Alex Powers" userId="ae4a1fc7-4395-46d3-b2f1-3b3c37036ad1" providerId="ADAL" clId="{FF07999E-EC8D-435C-95D5-B8CD345C58D7}" dt="2023-03-03T13:08:02.729" v="2781" actId="1076"/>
          <ac:picMkLst>
            <pc:docMk/>
            <pc:sldMk cId="2306054761" sldId="2147469912"/>
            <ac:picMk id="1080" creationId="{5B3D5640-0948-E72B-3C86-4EBC75F1B76C}"/>
          </ac:picMkLst>
        </pc:picChg>
        <pc:cxnChg chg="add mod">
          <ac:chgData name="Alex Powers" userId="ae4a1fc7-4395-46d3-b2f1-3b3c37036ad1" providerId="ADAL" clId="{FF07999E-EC8D-435C-95D5-B8CD345C58D7}" dt="2023-03-03T13:08:06.351" v="2782" actId="14100"/>
          <ac:cxnSpMkLst>
            <pc:docMk/>
            <pc:sldMk cId="2306054761" sldId="2147469912"/>
            <ac:cxnSpMk id="31" creationId="{5398892E-3E61-156B-1211-00B5B6034393}"/>
          </ac:cxnSpMkLst>
        </pc:cxnChg>
        <pc:cxnChg chg="add mod">
          <ac:chgData name="Alex Powers" userId="ae4a1fc7-4395-46d3-b2f1-3b3c37036ad1" providerId="ADAL" clId="{FF07999E-EC8D-435C-95D5-B8CD345C58D7}" dt="2023-03-03T13:10:50.622" v="2846" actId="1035"/>
          <ac:cxnSpMkLst>
            <pc:docMk/>
            <pc:sldMk cId="2306054761" sldId="2147469912"/>
            <ac:cxnSpMk id="33" creationId="{5276025C-24CB-287C-FF1E-4E1944DFA491}"/>
          </ac:cxnSpMkLst>
        </pc:cxnChg>
        <pc:cxnChg chg="add mod">
          <ac:chgData name="Alex Powers" userId="ae4a1fc7-4395-46d3-b2f1-3b3c37036ad1" providerId="ADAL" clId="{FF07999E-EC8D-435C-95D5-B8CD345C58D7}" dt="2023-03-03T13:09:35.945" v="2817" actId="1035"/>
          <ac:cxnSpMkLst>
            <pc:docMk/>
            <pc:sldMk cId="2306054761" sldId="2147469912"/>
            <ac:cxnSpMk id="34" creationId="{56700C7F-CDCE-F30C-3880-AD7B5A2F1668}"/>
          </ac:cxnSpMkLst>
        </pc:cxnChg>
        <pc:cxnChg chg="add mod">
          <ac:chgData name="Alex Powers" userId="ae4a1fc7-4395-46d3-b2f1-3b3c37036ad1" providerId="ADAL" clId="{FF07999E-EC8D-435C-95D5-B8CD345C58D7}" dt="2023-03-03T13:24:23.485" v="3256" actId="1037"/>
          <ac:cxnSpMkLst>
            <pc:docMk/>
            <pc:sldMk cId="2306054761" sldId="2147469912"/>
            <ac:cxnSpMk id="1088" creationId="{562263A6-2525-4C7B-029E-632D56D62F49}"/>
          </ac:cxnSpMkLst>
        </pc:cxnChg>
        <pc:cxnChg chg="add mod">
          <ac:chgData name="Alex Powers" userId="ae4a1fc7-4395-46d3-b2f1-3b3c37036ad1" providerId="ADAL" clId="{FF07999E-EC8D-435C-95D5-B8CD345C58D7}" dt="2023-03-03T13:24:31.087" v="3258" actId="1076"/>
          <ac:cxnSpMkLst>
            <pc:docMk/>
            <pc:sldMk cId="2306054761" sldId="2147469912"/>
            <ac:cxnSpMk id="1090" creationId="{5618173F-9F11-7729-B6D0-31885056851A}"/>
          </ac:cxnSpMkLst>
        </pc:cxnChg>
        <pc:cxnChg chg="add mod">
          <ac:chgData name="Alex Powers" userId="ae4a1fc7-4395-46d3-b2f1-3b3c37036ad1" providerId="ADAL" clId="{FF07999E-EC8D-435C-95D5-B8CD345C58D7}" dt="2023-03-03T13:24:36.569" v="3260" actId="1076"/>
          <ac:cxnSpMkLst>
            <pc:docMk/>
            <pc:sldMk cId="2306054761" sldId="2147469912"/>
            <ac:cxnSpMk id="1091" creationId="{03D43DCA-0A80-4212-0831-0BD7545A566D}"/>
          </ac:cxnSpMkLst>
        </pc:cxnChg>
      </pc:sldChg>
      <pc:sldChg chg="del">
        <pc:chgData name="Alex Powers" userId="ae4a1fc7-4395-46d3-b2f1-3b3c37036ad1" providerId="ADAL" clId="{FF07999E-EC8D-435C-95D5-B8CD345C58D7}" dt="2023-03-03T13:30:00.573" v="3350" actId="47"/>
        <pc:sldMkLst>
          <pc:docMk/>
          <pc:sldMk cId="1513792599" sldId="2147469913"/>
        </pc:sldMkLst>
      </pc:sldChg>
      <pc:sldChg chg="del">
        <pc:chgData name="Alex Powers" userId="ae4a1fc7-4395-46d3-b2f1-3b3c37036ad1" providerId="ADAL" clId="{FF07999E-EC8D-435C-95D5-B8CD345C58D7}" dt="2023-03-03T13:30:00.573" v="3350" actId="47"/>
        <pc:sldMkLst>
          <pc:docMk/>
          <pc:sldMk cId="1362187620" sldId="2147469914"/>
        </pc:sldMkLst>
      </pc:sldChg>
      <pc:sldChg chg="del">
        <pc:chgData name="Alex Powers" userId="ae4a1fc7-4395-46d3-b2f1-3b3c37036ad1" providerId="ADAL" clId="{FF07999E-EC8D-435C-95D5-B8CD345C58D7}" dt="2023-03-03T13:30:00.573" v="3350" actId="47"/>
        <pc:sldMkLst>
          <pc:docMk/>
          <pc:sldMk cId="2000885324" sldId="2147469915"/>
        </pc:sldMkLst>
      </pc:sldChg>
      <pc:sldChg chg="del">
        <pc:chgData name="Alex Powers" userId="ae4a1fc7-4395-46d3-b2f1-3b3c37036ad1" providerId="ADAL" clId="{FF07999E-EC8D-435C-95D5-B8CD345C58D7}" dt="2023-03-03T13:30:00.573" v="3350" actId="47"/>
        <pc:sldMkLst>
          <pc:docMk/>
          <pc:sldMk cId="749599461" sldId="2147469916"/>
        </pc:sldMkLst>
      </pc:sldChg>
      <pc:sldChg chg="del">
        <pc:chgData name="Alex Powers" userId="ae4a1fc7-4395-46d3-b2f1-3b3c37036ad1" providerId="ADAL" clId="{FF07999E-EC8D-435C-95D5-B8CD345C58D7}" dt="2023-03-03T13:30:00.573" v="3350" actId="47"/>
        <pc:sldMkLst>
          <pc:docMk/>
          <pc:sldMk cId="151017795" sldId="2147469917"/>
        </pc:sldMkLst>
      </pc:sldChg>
      <pc:sldChg chg="modSp mod">
        <pc:chgData name="Alex Powers" userId="ae4a1fc7-4395-46d3-b2f1-3b3c37036ad1" providerId="ADAL" clId="{FF07999E-EC8D-435C-95D5-B8CD345C58D7}" dt="2023-03-03T13:31:03.538" v="3351" actId="1076"/>
        <pc:sldMkLst>
          <pc:docMk/>
          <pc:sldMk cId="1624631161" sldId="2147469920"/>
        </pc:sldMkLst>
        <pc:spChg chg="mod">
          <ac:chgData name="Alex Powers" userId="ae4a1fc7-4395-46d3-b2f1-3b3c37036ad1" providerId="ADAL" clId="{FF07999E-EC8D-435C-95D5-B8CD345C58D7}" dt="2023-03-03T13:31:03.538" v="3351" actId="1076"/>
          <ac:spMkLst>
            <pc:docMk/>
            <pc:sldMk cId="1624631161" sldId="2147469920"/>
            <ac:spMk id="12" creationId="{5AD6F86F-44A9-43D0-B579-CAF1D6C10211}"/>
          </ac:spMkLst>
        </pc:spChg>
      </pc:sldChg>
      <pc:sldChg chg="del">
        <pc:chgData name="Alex Powers" userId="ae4a1fc7-4395-46d3-b2f1-3b3c37036ad1" providerId="ADAL" clId="{FF07999E-EC8D-435C-95D5-B8CD345C58D7}" dt="2023-03-03T13:29:43.908" v="3349" actId="47"/>
        <pc:sldMkLst>
          <pc:docMk/>
          <pc:sldMk cId="3242872128" sldId="2147469922"/>
        </pc:sldMkLst>
      </pc:sldChg>
      <pc:sldChg chg="add del">
        <pc:chgData name="Alex Powers" userId="ae4a1fc7-4395-46d3-b2f1-3b3c37036ad1" providerId="ADAL" clId="{FF07999E-EC8D-435C-95D5-B8CD345C58D7}" dt="2023-02-22T16:20:11.449" v="1782" actId="47"/>
        <pc:sldMkLst>
          <pc:docMk/>
          <pc:sldMk cId="1858130895" sldId="2147469945"/>
        </pc:sldMkLst>
      </pc:sldChg>
      <pc:sldChg chg="del">
        <pc:chgData name="Alex Powers" userId="ae4a1fc7-4395-46d3-b2f1-3b3c37036ad1" providerId="ADAL" clId="{FF07999E-EC8D-435C-95D5-B8CD345C58D7}" dt="2023-02-22T16:17:50.196" v="1703" actId="2696"/>
        <pc:sldMkLst>
          <pc:docMk/>
          <pc:sldMk cId="2524957959" sldId="2147469945"/>
        </pc:sldMkLst>
      </pc:sldChg>
      <pc:sldChg chg="modSp mod modAnim">
        <pc:chgData name="Alex Powers" userId="ae4a1fc7-4395-46d3-b2f1-3b3c37036ad1" providerId="ADAL" clId="{FF07999E-EC8D-435C-95D5-B8CD345C58D7}" dt="2023-02-22T16:15:10.986" v="1701" actId="20577"/>
        <pc:sldMkLst>
          <pc:docMk/>
          <pc:sldMk cId="2308292781" sldId="2147469956"/>
        </pc:sldMkLst>
        <pc:spChg chg="mod">
          <ac:chgData name="Alex Powers" userId="ae4a1fc7-4395-46d3-b2f1-3b3c37036ad1" providerId="ADAL" clId="{FF07999E-EC8D-435C-95D5-B8CD345C58D7}" dt="2023-02-22T16:15:10.986" v="1701" actId="20577"/>
          <ac:spMkLst>
            <pc:docMk/>
            <pc:sldMk cId="2308292781" sldId="2147469956"/>
            <ac:spMk id="5" creationId="{F1A1FFD5-C456-44EB-A603-F704C281AD6C}"/>
          </ac:spMkLst>
        </pc:spChg>
        <pc:spChg chg="mod">
          <ac:chgData name="Alex Powers" userId="ae4a1fc7-4395-46d3-b2f1-3b3c37036ad1" providerId="ADAL" clId="{FF07999E-EC8D-435C-95D5-B8CD345C58D7}" dt="2023-02-22T16:12:56.766" v="1653" actId="20577"/>
          <ac:spMkLst>
            <pc:docMk/>
            <pc:sldMk cId="2308292781" sldId="2147469956"/>
            <ac:spMk id="7" creationId="{4C3AEDD1-7AF0-4617-B9A5-3CB333EA9FC7}"/>
          </ac:spMkLst>
        </pc:spChg>
      </pc:sldChg>
      <pc:sldChg chg="modSp modAnim">
        <pc:chgData name="Alex Powers" userId="ae4a1fc7-4395-46d3-b2f1-3b3c37036ad1" providerId="ADAL" clId="{FF07999E-EC8D-435C-95D5-B8CD345C58D7}" dt="2023-02-22T13:26:02.740" v="1411"/>
        <pc:sldMkLst>
          <pc:docMk/>
          <pc:sldMk cId="2488301222" sldId="2147469958"/>
        </pc:sldMkLst>
        <pc:spChg chg="mod">
          <ac:chgData name="Alex Powers" userId="ae4a1fc7-4395-46d3-b2f1-3b3c37036ad1" providerId="ADAL" clId="{FF07999E-EC8D-435C-95D5-B8CD345C58D7}" dt="2023-02-22T13:25:56.771" v="1410" actId="33524"/>
          <ac:spMkLst>
            <pc:docMk/>
            <pc:sldMk cId="2488301222" sldId="2147469958"/>
            <ac:spMk id="6" creationId="{D5957D0F-43EF-47AA-A9B7-AC33B7AF4E6C}"/>
          </ac:spMkLst>
        </pc:spChg>
      </pc:sldChg>
      <pc:sldChg chg="del">
        <pc:chgData name="Alex Powers" userId="ae4a1fc7-4395-46d3-b2f1-3b3c37036ad1" providerId="ADAL" clId="{FF07999E-EC8D-435C-95D5-B8CD345C58D7}" dt="2023-03-03T13:30:00.573" v="3350" actId="47"/>
        <pc:sldMkLst>
          <pc:docMk/>
          <pc:sldMk cId="148994746" sldId="2147469981"/>
        </pc:sldMkLst>
      </pc:sldChg>
      <pc:sldChg chg="modSp mod modShow">
        <pc:chgData name="Alex Powers" userId="ae4a1fc7-4395-46d3-b2f1-3b3c37036ad1" providerId="ADAL" clId="{FF07999E-EC8D-435C-95D5-B8CD345C58D7}" dt="2023-02-08T17:27:45.428" v="28" actId="729"/>
        <pc:sldMkLst>
          <pc:docMk/>
          <pc:sldMk cId="2580878638" sldId="2147469997"/>
        </pc:sldMkLst>
        <pc:spChg chg="mod">
          <ac:chgData name="Alex Powers" userId="ae4a1fc7-4395-46d3-b2f1-3b3c37036ad1" providerId="ADAL" clId="{FF07999E-EC8D-435C-95D5-B8CD345C58D7}" dt="2023-02-08T17:27:37.959" v="27" actId="20577"/>
          <ac:spMkLst>
            <pc:docMk/>
            <pc:sldMk cId="2580878638" sldId="2147469997"/>
            <ac:spMk id="4" creationId="{C8F1E3C8-B98E-45A3-87C1-4650493983B3}"/>
          </ac:spMkLst>
        </pc:spChg>
      </pc:sldChg>
      <pc:sldChg chg="del">
        <pc:chgData name="Alex Powers" userId="ae4a1fc7-4395-46d3-b2f1-3b3c37036ad1" providerId="ADAL" clId="{FF07999E-EC8D-435C-95D5-B8CD345C58D7}" dt="2023-02-22T14:17:18.659" v="1563" actId="47"/>
        <pc:sldMkLst>
          <pc:docMk/>
          <pc:sldMk cId="2194558404" sldId="2147469998"/>
        </pc:sldMkLst>
      </pc:sldChg>
      <pc:sldChg chg="mod modShow">
        <pc:chgData name="Alex Powers" userId="ae4a1fc7-4395-46d3-b2f1-3b3c37036ad1" providerId="ADAL" clId="{FF07999E-EC8D-435C-95D5-B8CD345C58D7}" dt="2023-02-22T16:33:13.887" v="2020" actId="729"/>
        <pc:sldMkLst>
          <pc:docMk/>
          <pc:sldMk cId="1979941133" sldId="2147470002"/>
        </pc:sldMkLst>
      </pc:sldChg>
      <pc:sldChg chg="del">
        <pc:chgData name="Alex Powers" userId="ae4a1fc7-4395-46d3-b2f1-3b3c37036ad1" providerId="ADAL" clId="{FF07999E-EC8D-435C-95D5-B8CD345C58D7}" dt="2023-02-08T17:27:24.232" v="26" actId="47"/>
        <pc:sldMkLst>
          <pc:docMk/>
          <pc:sldMk cId="1492071313" sldId="2147470003"/>
        </pc:sldMkLst>
      </pc:sldChg>
      <pc:sldChg chg="del">
        <pc:chgData name="Alex Powers" userId="ae4a1fc7-4395-46d3-b2f1-3b3c37036ad1" providerId="ADAL" clId="{FF07999E-EC8D-435C-95D5-B8CD345C58D7}" dt="2023-02-22T14:14:27.346" v="1500" actId="47"/>
        <pc:sldMkLst>
          <pc:docMk/>
          <pc:sldMk cId="4111129342" sldId="2147470004"/>
        </pc:sldMkLst>
      </pc:sldChg>
      <pc:sldChg chg="del">
        <pc:chgData name="Alex Powers" userId="ae4a1fc7-4395-46d3-b2f1-3b3c37036ad1" providerId="ADAL" clId="{FF07999E-EC8D-435C-95D5-B8CD345C58D7}" dt="2023-02-22T13:26:16.120" v="1412" actId="47"/>
        <pc:sldMkLst>
          <pc:docMk/>
          <pc:sldMk cId="2483214558" sldId="2147470005"/>
        </pc:sldMkLst>
      </pc:sldChg>
      <pc:sldChg chg="del mod modShow">
        <pc:chgData name="Alex Powers" userId="ae4a1fc7-4395-46d3-b2f1-3b3c37036ad1" providerId="ADAL" clId="{FF07999E-EC8D-435C-95D5-B8CD345C58D7}" dt="2023-02-22T16:29:54.032" v="1914" actId="2696"/>
        <pc:sldMkLst>
          <pc:docMk/>
          <pc:sldMk cId="882698997" sldId="2147470006"/>
        </pc:sldMkLst>
      </pc:sldChg>
      <pc:sldChg chg="add">
        <pc:chgData name="Alex Powers" userId="ae4a1fc7-4395-46d3-b2f1-3b3c37036ad1" providerId="ADAL" clId="{FF07999E-EC8D-435C-95D5-B8CD345C58D7}" dt="2023-02-22T16:29:59.457" v="1915"/>
        <pc:sldMkLst>
          <pc:docMk/>
          <pc:sldMk cId="3401039702" sldId="2147470006"/>
        </pc:sldMkLst>
      </pc:sldChg>
      <pc:sldChg chg="ord">
        <pc:chgData name="Alex Powers" userId="ae4a1fc7-4395-46d3-b2f1-3b3c37036ad1" providerId="ADAL" clId="{FF07999E-EC8D-435C-95D5-B8CD345C58D7}" dt="2023-02-22T14:12:28.211" v="1499"/>
        <pc:sldMkLst>
          <pc:docMk/>
          <pc:sldMk cId="3916173309" sldId="2147470007"/>
        </pc:sldMkLst>
      </pc:sldChg>
      <pc:sldChg chg="ord">
        <pc:chgData name="Alex Powers" userId="ae4a1fc7-4395-46d3-b2f1-3b3c37036ad1" providerId="ADAL" clId="{FF07999E-EC8D-435C-95D5-B8CD345C58D7}" dt="2023-02-22T14:12:28.211" v="1499"/>
        <pc:sldMkLst>
          <pc:docMk/>
          <pc:sldMk cId="1439426021" sldId="2147470008"/>
        </pc:sldMkLst>
      </pc:sldChg>
      <pc:sldChg chg="ord">
        <pc:chgData name="Alex Powers" userId="ae4a1fc7-4395-46d3-b2f1-3b3c37036ad1" providerId="ADAL" clId="{FF07999E-EC8D-435C-95D5-B8CD345C58D7}" dt="2023-02-22T14:12:28.211" v="1499"/>
        <pc:sldMkLst>
          <pc:docMk/>
          <pc:sldMk cId="1079864653" sldId="2147470009"/>
        </pc:sldMkLst>
      </pc:sldChg>
      <pc:sldChg chg="del">
        <pc:chgData name="Alex Powers" userId="ae4a1fc7-4395-46d3-b2f1-3b3c37036ad1" providerId="ADAL" clId="{FF07999E-EC8D-435C-95D5-B8CD345C58D7}" dt="2023-02-08T17:25:57.112" v="25" actId="47"/>
        <pc:sldMkLst>
          <pc:docMk/>
          <pc:sldMk cId="2337724613" sldId="2147470010"/>
        </pc:sldMkLst>
      </pc:sldChg>
      <pc:sldChg chg="del">
        <pc:chgData name="Alex Powers" userId="ae4a1fc7-4395-46d3-b2f1-3b3c37036ad1" providerId="ADAL" clId="{FF07999E-EC8D-435C-95D5-B8CD345C58D7}" dt="2023-02-08T17:25:57.112" v="25" actId="47"/>
        <pc:sldMkLst>
          <pc:docMk/>
          <pc:sldMk cId="4049856942" sldId="2147470011"/>
        </pc:sldMkLst>
      </pc:sldChg>
      <pc:sldChg chg="del">
        <pc:chgData name="Alex Powers" userId="ae4a1fc7-4395-46d3-b2f1-3b3c37036ad1" providerId="ADAL" clId="{FF07999E-EC8D-435C-95D5-B8CD345C58D7}" dt="2023-02-08T17:25:57.112" v="25" actId="47"/>
        <pc:sldMkLst>
          <pc:docMk/>
          <pc:sldMk cId="4131539047" sldId="2147470012"/>
        </pc:sldMkLst>
      </pc:sldChg>
      <pc:sldChg chg="del">
        <pc:chgData name="Alex Powers" userId="ae4a1fc7-4395-46d3-b2f1-3b3c37036ad1" providerId="ADAL" clId="{FF07999E-EC8D-435C-95D5-B8CD345C58D7}" dt="2023-02-08T17:25:57.112" v="25" actId="47"/>
        <pc:sldMkLst>
          <pc:docMk/>
          <pc:sldMk cId="1221072378" sldId="2147470013"/>
        </pc:sldMkLst>
      </pc:sldChg>
      <pc:sldChg chg="del mod modShow">
        <pc:chgData name="Alex Powers" userId="ae4a1fc7-4395-46d3-b2f1-3b3c37036ad1" providerId="ADAL" clId="{FF07999E-EC8D-435C-95D5-B8CD345C58D7}" dt="2023-02-22T16:29:54.032" v="1914" actId="2696"/>
        <pc:sldMkLst>
          <pc:docMk/>
          <pc:sldMk cId="1820482319" sldId="2147470015"/>
        </pc:sldMkLst>
      </pc:sldChg>
      <pc:sldChg chg="add">
        <pc:chgData name="Alex Powers" userId="ae4a1fc7-4395-46d3-b2f1-3b3c37036ad1" providerId="ADAL" clId="{FF07999E-EC8D-435C-95D5-B8CD345C58D7}" dt="2023-02-22T16:29:59.457" v="1915"/>
        <pc:sldMkLst>
          <pc:docMk/>
          <pc:sldMk cId="4169422848" sldId="2147470015"/>
        </pc:sldMkLst>
      </pc:sldChg>
      <pc:sldChg chg="del">
        <pc:chgData name="Alex Powers" userId="ae4a1fc7-4395-46d3-b2f1-3b3c37036ad1" providerId="ADAL" clId="{FF07999E-EC8D-435C-95D5-B8CD345C58D7}" dt="2023-02-22T16:17:40.321" v="1702" actId="47"/>
        <pc:sldMkLst>
          <pc:docMk/>
          <pc:sldMk cId="1292939250" sldId="2147470016"/>
        </pc:sldMkLst>
      </pc:sldChg>
      <pc:sldChg chg="del">
        <pc:chgData name="Alex Powers" userId="ae4a1fc7-4395-46d3-b2f1-3b3c37036ad1" providerId="ADAL" clId="{FF07999E-EC8D-435C-95D5-B8CD345C58D7}" dt="2023-02-22T16:32:54.997" v="2017" actId="47"/>
        <pc:sldMkLst>
          <pc:docMk/>
          <pc:sldMk cId="1281316738" sldId="2147470017"/>
        </pc:sldMkLst>
      </pc:sldChg>
      <pc:sldChg chg="addSp delSp modSp mod">
        <pc:chgData name="Alex Powers" userId="ae4a1fc7-4395-46d3-b2f1-3b3c37036ad1" providerId="ADAL" clId="{FF07999E-EC8D-435C-95D5-B8CD345C58D7}" dt="2023-03-03T13:31:15.207" v="3353"/>
        <pc:sldMkLst>
          <pc:docMk/>
          <pc:sldMk cId="2660385707" sldId="2147470018"/>
        </pc:sldMkLst>
        <pc:spChg chg="add mod">
          <ac:chgData name="Alex Powers" userId="ae4a1fc7-4395-46d3-b2f1-3b3c37036ad1" providerId="ADAL" clId="{FF07999E-EC8D-435C-95D5-B8CD345C58D7}" dt="2023-03-03T13:31:15.207" v="3353"/>
          <ac:spMkLst>
            <pc:docMk/>
            <pc:sldMk cId="2660385707" sldId="2147470018"/>
            <ac:spMk id="4" creationId="{3A537867-72FC-297A-E715-2FEB132B18F0}"/>
          </ac:spMkLst>
        </pc:spChg>
        <pc:spChg chg="del">
          <ac:chgData name="Alex Powers" userId="ae4a1fc7-4395-46d3-b2f1-3b3c37036ad1" providerId="ADAL" clId="{FF07999E-EC8D-435C-95D5-B8CD345C58D7}" dt="2023-03-03T13:31:13.990" v="3352" actId="478"/>
          <ac:spMkLst>
            <pc:docMk/>
            <pc:sldMk cId="2660385707" sldId="2147470018"/>
            <ac:spMk id="21" creationId="{68C0AFA7-9C61-4CC0-B5E4-DA3E4BE94EDA}"/>
          </ac:spMkLst>
        </pc:spChg>
      </pc:sldChg>
      <pc:sldChg chg="modSp mod">
        <pc:chgData name="Alex Powers" userId="ae4a1fc7-4395-46d3-b2f1-3b3c37036ad1" providerId="ADAL" clId="{FF07999E-EC8D-435C-95D5-B8CD345C58D7}" dt="2023-02-11T18:53:29.311" v="1343" actId="20577"/>
        <pc:sldMkLst>
          <pc:docMk/>
          <pc:sldMk cId="3255266748" sldId="2147470029"/>
        </pc:sldMkLst>
        <pc:spChg chg="mod">
          <ac:chgData name="Alex Powers" userId="ae4a1fc7-4395-46d3-b2f1-3b3c37036ad1" providerId="ADAL" clId="{FF07999E-EC8D-435C-95D5-B8CD345C58D7}" dt="2023-02-11T18:53:29.311" v="1343" actId="20577"/>
          <ac:spMkLst>
            <pc:docMk/>
            <pc:sldMk cId="3255266748" sldId="2147470029"/>
            <ac:spMk id="142" creationId="{CE8813FB-2DD8-4D1F-8F33-704BF1DB97F9}"/>
          </ac:spMkLst>
        </pc:spChg>
      </pc:sldChg>
      <pc:sldChg chg="modSp mod">
        <pc:chgData name="Alex Powers" userId="ae4a1fc7-4395-46d3-b2f1-3b3c37036ad1" providerId="ADAL" clId="{FF07999E-EC8D-435C-95D5-B8CD345C58D7}" dt="2023-02-22T13:24:44.940" v="1408" actId="20577"/>
        <pc:sldMkLst>
          <pc:docMk/>
          <pc:sldMk cId="1737087969" sldId="2147470033"/>
        </pc:sldMkLst>
        <pc:spChg chg="mod">
          <ac:chgData name="Alex Powers" userId="ae4a1fc7-4395-46d3-b2f1-3b3c37036ad1" providerId="ADAL" clId="{FF07999E-EC8D-435C-95D5-B8CD345C58D7}" dt="2023-02-22T13:24:44.940" v="1408" actId="20577"/>
          <ac:spMkLst>
            <pc:docMk/>
            <pc:sldMk cId="1737087969" sldId="2147470033"/>
            <ac:spMk id="142" creationId="{CE8813FB-2DD8-4D1F-8F33-704BF1DB97F9}"/>
          </ac:spMkLst>
        </pc:spChg>
      </pc:sldChg>
      <pc:sldChg chg="addSp delSp modSp add mod ord delAnim modAnim">
        <pc:chgData name="Alex Powers" userId="ae4a1fc7-4395-46d3-b2f1-3b3c37036ad1" providerId="ADAL" clId="{FF07999E-EC8D-435C-95D5-B8CD345C58D7}" dt="2023-02-22T13:23:33.426" v="1404" actId="12789"/>
        <pc:sldMkLst>
          <pc:docMk/>
          <pc:sldMk cId="3026600060" sldId="2147470037"/>
        </pc:sldMkLst>
        <pc:spChg chg="add del mod">
          <ac:chgData name="Alex Powers" userId="ae4a1fc7-4395-46d3-b2f1-3b3c37036ad1" providerId="ADAL" clId="{FF07999E-EC8D-435C-95D5-B8CD345C58D7}" dt="2023-02-08T17:47:46.587" v="74" actId="478"/>
          <ac:spMkLst>
            <pc:docMk/>
            <pc:sldMk cId="3026600060" sldId="2147470037"/>
            <ac:spMk id="6" creationId="{2FF5A937-A202-4B74-8453-665265C90FC9}"/>
          </ac:spMkLst>
        </pc:spChg>
        <pc:spChg chg="mod">
          <ac:chgData name="Alex Powers" userId="ae4a1fc7-4395-46d3-b2f1-3b3c37036ad1" providerId="ADAL" clId="{FF07999E-EC8D-435C-95D5-B8CD345C58D7}" dt="2023-02-22T13:23:33.426" v="1404" actId="12789"/>
          <ac:spMkLst>
            <pc:docMk/>
            <pc:sldMk cId="3026600060" sldId="2147470037"/>
            <ac:spMk id="7" creationId="{31270810-ED89-415E-B487-8B7CD44605BC}"/>
          </ac:spMkLst>
        </pc:spChg>
        <pc:spChg chg="mod">
          <ac:chgData name="Alex Powers" userId="ae4a1fc7-4395-46d3-b2f1-3b3c37036ad1" providerId="ADAL" clId="{FF07999E-EC8D-435C-95D5-B8CD345C58D7}" dt="2023-02-22T13:23:33.426" v="1404" actId="12789"/>
          <ac:spMkLst>
            <pc:docMk/>
            <pc:sldMk cId="3026600060" sldId="2147470037"/>
            <ac:spMk id="9" creationId="{0977A2E0-A182-4C11-B815-88B257E1642F}"/>
          </ac:spMkLst>
        </pc:spChg>
        <pc:spChg chg="mod">
          <ac:chgData name="Alex Powers" userId="ae4a1fc7-4395-46d3-b2f1-3b3c37036ad1" providerId="ADAL" clId="{FF07999E-EC8D-435C-95D5-B8CD345C58D7}" dt="2023-02-08T17:48:29.740" v="84" actId="1076"/>
          <ac:spMkLst>
            <pc:docMk/>
            <pc:sldMk cId="3026600060" sldId="2147470037"/>
            <ac:spMk id="10" creationId="{B0154E7A-9CEF-42E4-9393-76973B939CB7}"/>
          </ac:spMkLst>
        </pc:spChg>
        <pc:grpChg chg="add del mod">
          <ac:chgData name="Alex Powers" userId="ae4a1fc7-4395-46d3-b2f1-3b3c37036ad1" providerId="ADAL" clId="{FF07999E-EC8D-435C-95D5-B8CD345C58D7}" dt="2023-02-08T17:42:00.240" v="34" actId="164"/>
          <ac:grpSpMkLst>
            <pc:docMk/>
            <pc:sldMk cId="3026600060" sldId="2147470037"/>
            <ac:grpSpMk id="2" creationId="{6F5A0DFB-7C6C-EF68-1888-717AFFE4085B}"/>
          </ac:grpSpMkLst>
        </pc:grpChg>
        <pc:grpChg chg="add mod">
          <ac:chgData name="Alex Powers" userId="ae4a1fc7-4395-46d3-b2f1-3b3c37036ad1" providerId="ADAL" clId="{FF07999E-EC8D-435C-95D5-B8CD345C58D7}" dt="2023-02-22T13:23:33.426" v="1404" actId="12789"/>
          <ac:grpSpMkLst>
            <pc:docMk/>
            <pc:sldMk cId="3026600060" sldId="2147470037"/>
            <ac:grpSpMk id="2" creationId="{C7E1FB3A-5E17-2C5B-F201-7D8395E72301}"/>
          </ac:grpSpMkLst>
        </pc:grpChg>
        <pc:grpChg chg="add mod">
          <ac:chgData name="Alex Powers" userId="ae4a1fc7-4395-46d3-b2f1-3b3c37036ad1" providerId="ADAL" clId="{FF07999E-EC8D-435C-95D5-B8CD345C58D7}" dt="2023-02-08T17:48:29.740" v="84" actId="1076"/>
          <ac:grpSpMkLst>
            <pc:docMk/>
            <pc:sldMk cId="3026600060" sldId="2147470037"/>
            <ac:grpSpMk id="5" creationId="{E3AC5406-13CD-7070-38CF-28F76D9C01B6}"/>
          </ac:grpSpMkLst>
        </pc:grpChg>
        <pc:grpChg chg="add del mod">
          <ac:chgData name="Alex Powers" userId="ae4a1fc7-4395-46d3-b2f1-3b3c37036ad1" providerId="ADAL" clId="{FF07999E-EC8D-435C-95D5-B8CD345C58D7}" dt="2023-02-22T13:22:57.946" v="1344" actId="478"/>
          <ac:grpSpMkLst>
            <pc:docMk/>
            <pc:sldMk cId="3026600060" sldId="2147470037"/>
            <ac:grpSpMk id="12" creationId="{BBD21E13-0007-7D96-AA54-19ABA7B6A592}"/>
          </ac:grpSpMkLst>
        </pc:grpChg>
        <pc:grpChg chg="mod topLvl">
          <ac:chgData name="Alex Powers" userId="ae4a1fc7-4395-46d3-b2f1-3b3c37036ad1" providerId="ADAL" clId="{FF07999E-EC8D-435C-95D5-B8CD345C58D7}" dt="2023-02-22T13:23:33.426" v="1404" actId="12789"/>
          <ac:grpSpMkLst>
            <pc:docMk/>
            <pc:sldMk cId="3026600060" sldId="2147470037"/>
            <ac:grpSpMk id="15" creationId="{306F28ED-FEDE-4963-BEE6-9C009E3E4D67}"/>
          </ac:grpSpMkLst>
        </pc:grpChg>
        <pc:grpChg chg="mod topLvl">
          <ac:chgData name="Alex Powers" userId="ae4a1fc7-4395-46d3-b2f1-3b3c37036ad1" providerId="ADAL" clId="{FF07999E-EC8D-435C-95D5-B8CD345C58D7}" dt="2023-02-22T13:23:33.426" v="1404" actId="12789"/>
          <ac:grpSpMkLst>
            <pc:docMk/>
            <pc:sldMk cId="3026600060" sldId="2147470037"/>
            <ac:grpSpMk id="17" creationId="{4046E838-71DF-4EFA-BE12-033083A30315}"/>
          </ac:grpSpMkLst>
        </pc:grpChg>
        <pc:grpChg chg="add del mod">
          <ac:chgData name="Alex Powers" userId="ae4a1fc7-4395-46d3-b2f1-3b3c37036ad1" providerId="ADAL" clId="{FF07999E-EC8D-435C-95D5-B8CD345C58D7}" dt="2023-02-08T17:46:33.749" v="61" actId="478"/>
          <ac:grpSpMkLst>
            <pc:docMk/>
            <pc:sldMk cId="3026600060" sldId="2147470037"/>
            <ac:grpSpMk id="18" creationId="{6E940751-367B-49A4-84F9-DBFC74A84358}"/>
          </ac:grpSpMkLst>
        </pc:grpChg>
        <pc:picChg chg="add mod">
          <ac:chgData name="Alex Powers" userId="ae4a1fc7-4395-46d3-b2f1-3b3c37036ad1" providerId="ADAL" clId="{FF07999E-EC8D-435C-95D5-B8CD345C58D7}" dt="2023-02-08T17:48:29.740" v="84" actId="1076"/>
          <ac:picMkLst>
            <pc:docMk/>
            <pc:sldMk cId="3026600060" sldId="2147470037"/>
            <ac:picMk id="3" creationId="{6B4BBB21-3650-161F-9F15-6DAA6FD455E2}"/>
          </ac:picMkLst>
        </pc:picChg>
        <pc:picChg chg="mod">
          <ac:chgData name="Alex Powers" userId="ae4a1fc7-4395-46d3-b2f1-3b3c37036ad1" providerId="ADAL" clId="{FF07999E-EC8D-435C-95D5-B8CD345C58D7}" dt="2023-02-22T13:23:33.426" v="1404" actId="12789"/>
          <ac:picMkLst>
            <pc:docMk/>
            <pc:sldMk cId="3026600060" sldId="2147470037"/>
            <ac:picMk id="4" creationId="{F8755F4C-D041-41EF-8042-747E523CDAF4}"/>
          </ac:picMkLst>
        </pc:picChg>
        <pc:picChg chg="add mod">
          <ac:chgData name="Alex Powers" userId="ae4a1fc7-4395-46d3-b2f1-3b3c37036ad1" providerId="ADAL" clId="{FF07999E-EC8D-435C-95D5-B8CD345C58D7}" dt="2023-02-08T17:48:29.740" v="84" actId="1076"/>
          <ac:picMkLst>
            <pc:docMk/>
            <pc:sldMk cId="3026600060" sldId="2147470037"/>
            <ac:picMk id="11" creationId="{EADC4C31-AD24-7E0E-E6D9-266399AA7BF8}"/>
          </ac:picMkLst>
        </pc:picChg>
        <pc:picChg chg="add del mod">
          <ac:chgData name="Alex Powers" userId="ae4a1fc7-4395-46d3-b2f1-3b3c37036ad1" providerId="ADAL" clId="{FF07999E-EC8D-435C-95D5-B8CD345C58D7}" dt="2023-02-08T17:46:25.994" v="57" actId="21"/>
          <ac:picMkLst>
            <pc:docMk/>
            <pc:sldMk cId="3026600060" sldId="2147470037"/>
            <ac:picMk id="1026" creationId="{9A5E3027-508E-0189-3256-0A9C9FB935AA}"/>
          </ac:picMkLst>
        </pc:picChg>
        <pc:picChg chg="mod">
          <ac:chgData name="Alex Powers" userId="ae4a1fc7-4395-46d3-b2f1-3b3c37036ad1" providerId="ADAL" clId="{FF07999E-EC8D-435C-95D5-B8CD345C58D7}" dt="2023-02-22T13:23:33.426" v="1404" actId="12789"/>
          <ac:picMkLst>
            <pc:docMk/>
            <pc:sldMk cId="3026600060" sldId="2147470037"/>
            <ac:picMk id="1030" creationId="{C95D7207-2937-45B3-97A1-B01C11D9BE4D}"/>
          </ac:picMkLst>
        </pc:picChg>
        <pc:picChg chg="add del mod">
          <ac:chgData name="Alex Powers" userId="ae4a1fc7-4395-46d3-b2f1-3b3c37036ad1" providerId="ADAL" clId="{FF07999E-EC8D-435C-95D5-B8CD345C58D7}" dt="2023-02-08T17:46:33.749" v="61" actId="478"/>
          <ac:picMkLst>
            <pc:docMk/>
            <pc:sldMk cId="3026600060" sldId="2147470037"/>
            <ac:picMk id="1032" creationId="{B096ECF5-725B-4483-938B-9E2875FD0F79}"/>
          </ac:picMkLst>
        </pc:picChg>
      </pc:sldChg>
      <pc:sldChg chg="modSp add mod">
        <pc:chgData name="Alex Powers" userId="ae4a1fc7-4395-46d3-b2f1-3b3c37036ad1" providerId="ADAL" clId="{FF07999E-EC8D-435C-95D5-B8CD345C58D7}" dt="2023-03-01T21:58:35.037" v="2324"/>
        <pc:sldMkLst>
          <pc:docMk/>
          <pc:sldMk cId="1531936027" sldId="2147470038"/>
        </pc:sldMkLst>
        <pc:spChg chg="mod">
          <ac:chgData name="Alex Powers" userId="ae4a1fc7-4395-46d3-b2f1-3b3c37036ad1" providerId="ADAL" clId="{FF07999E-EC8D-435C-95D5-B8CD345C58D7}" dt="2023-02-08T18:06:15.867" v="238" actId="1076"/>
          <ac:spMkLst>
            <pc:docMk/>
            <pc:sldMk cId="1531936027" sldId="2147470038"/>
            <ac:spMk id="4" creationId="{073A8F06-C566-BAFF-6E2C-C7B7BAA5FABC}"/>
          </ac:spMkLst>
        </pc:spChg>
        <pc:graphicFrameChg chg="mod modGraphic">
          <ac:chgData name="Alex Powers" userId="ae4a1fc7-4395-46d3-b2f1-3b3c37036ad1" providerId="ADAL" clId="{FF07999E-EC8D-435C-95D5-B8CD345C58D7}" dt="2023-03-01T21:58:35.037" v="2324"/>
          <ac:graphicFrameMkLst>
            <pc:docMk/>
            <pc:sldMk cId="1531936027" sldId="2147470038"/>
            <ac:graphicFrameMk id="7" creationId="{3E5C1877-83B6-43B2-8D9F-D6B32A5B8BB7}"/>
          </ac:graphicFrameMkLst>
        </pc:graphicFrameChg>
      </pc:sldChg>
      <pc:sldChg chg="addSp delSp modSp add mod">
        <pc:chgData name="Alex Powers" userId="ae4a1fc7-4395-46d3-b2f1-3b3c37036ad1" providerId="ADAL" clId="{FF07999E-EC8D-435C-95D5-B8CD345C58D7}" dt="2023-03-02T00:57:01.099" v="2330" actId="12788"/>
        <pc:sldMkLst>
          <pc:docMk/>
          <pc:sldMk cId="3020266290" sldId="2147470039"/>
        </pc:sldMkLst>
        <pc:spChg chg="del mod">
          <ac:chgData name="Alex Powers" userId="ae4a1fc7-4395-46d3-b2f1-3b3c37036ad1" providerId="ADAL" clId="{FF07999E-EC8D-435C-95D5-B8CD345C58D7}" dt="2023-03-01T21:52:49.908" v="2152" actId="478"/>
          <ac:spMkLst>
            <pc:docMk/>
            <pc:sldMk cId="3020266290" sldId="2147470039"/>
            <ac:spMk id="2" creationId="{00000000-0000-0000-0000-000000000000}"/>
          </ac:spMkLst>
        </pc:spChg>
        <pc:spChg chg="add del mod">
          <ac:chgData name="Alex Powers" userId="ae4a1fc7-4395-46d3-b2f1-3b3c37036ad1" providerId="ADAL" clId="{FF07999E-EC8D-435C-95D5-B8CD345C58D7}" dt="2023-03-02T00:57:01.099" v="2330" actId="12788"/>
          <ac:spMkLst>
            <pc:docMk/>
            <pc:sldMk cId="3020266290" sldId="2147470039"/>
            <ac:spMk id="3" creationId="{9AADEFE3-F834-052F-AF0C-36FD39E68470}"/>
          </ac:spMkLst>
        </pc:spChg>
        <pc:spChg chg="del mod">
          <ac:chgData name="Alex Powers" userId="ae4a1fc7-4395-46d3-b2f1-3b3c37036ad1" providerId="ADAL" clId="{FF07999E-EC8D-435C-95D5-B8CD345C58D7}" dt="2023-03-01T21:53:07.683" v="2162"/>
          <ac:spMkLst>
            <pc:docMk/>
            <pc:sldMk cId="3020266290" sldId="2147470039"/>
            <ac:spMk id="4" creationId="{0A6BBA13-66A2-9689-F50A-598B57A8481C}"/>
          </ac:spMkLst>
        </pc:spChg>
        <pc:spChg chg="add del mod">
          <ac:chgData name="Alex Powers" userId="ae4a1fc7-4395-46d3-b2f1-3b3c37036ad1" providerId="ADAL" clId="{FF07999E-EC8D-435C-95D5-B8CD345C58D7}" dt="2023-03-01T21:52:51.923" v="2153" actId="478"/>
          <ac:spMkLst>
            <pc:docMk/>
            <pc:sldMk cId="3020266290" sldId="2147470039"/>
            <ac:spMk id="7" creationId="{079F7A40-39FB-33DA-4576-5B476B3B8B9E}"/>
          </ac:spMkLst>
        </pc:spChg>
        <pc:spChg chg="del">
          <ac:chgData name="Alex Powers" userId="ae4a1fc7-4395-46d3-b2f1-3b3c37036ad1" providerId="ADAL" clId="{FF07999E-EC8D-435C-95D5-B8CD345C58D7}" dt="2023-02-11T18:39:54.317" v="484" actId="478"/>
          <ac:spMkLst>
            <pc:docMk/>
            <pc:sldMk cId="3020266290" sldId="2147470039"/>
            <ac:spMk id="8" creationId="{797C0335-7D4C-6A0B-5C4C-E117F9DCF97F}"/>
          </ac:spMkLst>
        </pc:spChg>
        <pc:spChg chg="add mod">
          <ac:chgData name="Alex Powers" userId="ae4a1fc7-4395-46d3-b2f1-3b3c37036ad1" providerId="ADAL" clId="{FF07999E-EC8D-435C-95D5-B8CD345C58D7}" dt="2023-03-02T00:57:01.099" v="2330" actId="12788"/>
          <ac:spMkLst>
            <pc:docMk/>
            <pc:sldMk cId="3020266290" sldId="2147470039"/>
            <ac:spMk id="8" creationId="{A18972E8-BCF3-0341-00A6-CF7F048883BB}"/>
          </ac:spMkLst>
        </pc:spChg>
        <pc:spChg chg="add del mod">
          <ac:chgData name="Alex Powers" userId="ae4a1fc7-4395-46d3-b2f1-3b3c37036ad1" providerId="ADAL" clId="{FF07999E-EC8D-435C-95D5-B8CD345C58D7}" dt="2023-03-01T21:56:28.303" v="2296"/>
          <ac:spMkLst>
            <pc:docMk/>
            <pc:sldMk cId="3020266290" sldId="2147470039"/>
            <ac:spMk id="9" creationId="{097CF0BC-C34C-E43F-AB99-3574790D3D3C}"/>
          </ac:spMkLst>
        </pc:spChg>
        <pc:spChg chg="add del mod">
          <ac:chgData name="Alex Powers" userId="ae4a1fc7-4395-46d3-b2f1-3b3c37036ad1" providerId="ADAL" clId="{FF07999E-EC8D-435C-95D5-B8CD345C58D7}" dt="2023-03-01T21:56:28.304" v="2298"/>
          <ac:spMkLst>
            <pc:docMk/>
            <pc:sldMk cId="3020266290" sldId="2147470039"/>
            <ac:spMk id="10" creationId="{355E01BF-6E71-0EA8-16E4-AF568BE7CC6B}"/>
          </ac:spMkLst>
        </pc:spChg>
        <pc:cxnChg chg="add del mod">
          <ac:chgData name="Alex Powers" userId="ae4a1fc7-4395-46d3-b2f1-3b3c37036ad1" providerId="ADAL" clId="{FF07999E-EC8D-435C-95D5-B8CD345C58D7}" dt="2023-03-02T00:57:01.099" v="2330" actId="12788"/>
          <ac:cxnSpMkLst>
            <pc:docMk/>
            <pc:sldMk cId="3020266290" sldId="2147470039"/>
            <ac:cxnSpMk id="6" creationId="{4CB7DC4D-ABEA-EF64-35B6-9731FB6DB9E5}"/>
          </ac:cxnSpMkLst>
        </pc:cxnChg>
      </pc:sldChg>
      <pc:sldChg chg="modSp add mod ord">
        <pc:chgData name="Alex Powers" userId="ae4a1fc7-4395-46d3-b2f1-3b3c37036ad1" providerId="ADAL" clId="{FF07999E-EC8D-435C-95D5-B8CD345C58D7}" dt="2023-02-22T14:12:28.211" v="1499"/>
        <pc:sldMkLst>
          <pc:docMk/>
          <pc:sldMk cId="1292489040" sldId="2147470040"/>
        </pc:sldMkLst>
        <pc:spChg chg="mod">
          <ac:chgData name="Alex Powers" userId="ae4a1fc7-4395-46d3-b2f1-3b3c37036ad1" providerId="ADAL" clId="{FF07999E-EC8D-435C-95D5-B8CD345C58D7}" dt="2023-02-22T13:28:30.994" v="1497" actId="6549"/>
          <ac:spMkLst>
            <pc:docMk/>
            <pc:sldMk cId="1292489040" sldId="2147470040"/>
            <ac:spMk id="2" creationId="{4BEDC80E-304E-4653-AE93-151A1465E98B}"/>
          </ac:spMkLst>
        </pc:spChg>
      </pc:sldChg>
      <pc:sldChg chg="add del">
        <pc:chgData name="Alex Powers" userId="ae4a1fc7-4395-46d3-b2f1-3b3c37036ad1" providerId="ADAL" clId="{FF07999E-EC8D-435C-95D5-B8CD345C58D7}" dt="2023-02-11T18:48:29.595" v="1062" actId="47"/>
        <pc:sldMkLst>
          <pc:docMk/>
          <pc:sldMk cId="4088218150" sldId="2147470040"/>
        </pc:sldMkLst>
      </pc:sldChg>
      <pc:sldChg chg="modSp add del mod">
        <pc:chgData name="Alex Powers" userId="ae4a1fc7-4395-46d3-b2f1-3b3c37036ad1" providerId="ADAL" clId="{FF07999E-EC8D-435C-95D5-B8CD345C58D7}" dt="2023-02-22T14:15:47.780" v="1525" actId="47"/>
        <pc:sldMkLst>
          <pc:docMk/>
          <pc:sldMk cId="557691477" sldId="2147470041"/>
        </pc:sldMkLst>
        <pc:spChg chg="mod">
          <ac:chgData name="Alex Powers" userId="ae4a1fc7-4395-46d3-b2f1-3b3c37036ad1" providerId="ADAL" clId="{FF07999E-EC8D-435C-95D5-B8CD345C58D7}" dt="2023-02-22T14:15:12.086" v="1515" actId="20577"/>
          <ac:spMkLst>
            <pc:docMk/>
            <pc:sldMk cId="557691477" sldId="2147470041"/>
            <ac:spMk id="5" creationId="{F1A1FFD5-C456-44EB-A603-F704C281AD6C}"/>
          </ac:spMkLst>
        </pc:spChg>
      </pc:sldChg>
      <pc:sldChg chg="addSp delSp modSp add mod ord">
        <pc:chgData name="Alex Powers" userId="ae4a1fc7-4395-46d3-b2f1-3b3c37036ad1" providerId="ADAL" clId="{FF07999E-EC8D-435C-95D5-B8CD345C58D7}" dt="2023-02-22T14:16:07.303" v="1549"/>
        <pc:sldMkLst>
          <pc:docMk/>
          <pc:sldMk cId="229807602" sldId="2147470042"/>
        </pc:sldMkLst>
        <pc:spChg chg="add mod">
          <ac:chgData name="Alex Powers" userId="ae4a1fc7-4395-46d3-b2f1-3b3c37036ad1" providerId="ADAL" clId="{FF07999E-EC8D-435C-95D5-B8CD345C58D7}" dt="2023-02-22T14:16:07.303" v="1549"/>
          <ac:spMkLst>
            <pc:docMk/>
            <pc:sldMk cId="229807602" sldId="2147470042"/>
            <ac:spMk id="2" creationId="{7C1440B5-102A-2341-0CD4-C7052D186262}"/>
          </ac:spMkLst>
        </pc:spChg>
        <pc:spChg chg="del">
          <ac:chgData name="Alex Powers" userId="ae4a1fc7-4395-46d3-b2f1-3b3c37036ad1" providerId="ADAL" clId="{FF07999E-EC8D-435C-95D5-B8CD345C58D7}" dt="2023-02-22T14:16:01.516" v="1547" actId="478"/>
          <ac:spMkLst>
            <pc:docMk/>
            <pc:sldMk cId="229807602" sldId="2147470042"/>
            <ac:spMk id="4" creationId="{1798A255-6512-D0FC-2262-92E3FE6D66B0}"/>
          </ac:spMkLst>
        </pc:spChg>
        <pc:spChg chg="mod">
          <ac:chgData name="Alex Powers" userId="ae4a1fc7-4395-46d3-b2f1-3b3c37036ad1" providerId="ADAL" clId="{FF07999E-EC8D-435C-95D5-B8CD345C58D7}" dt="2023-02-22T14:15:53.498" v="1546" actId="20577"/>
          <ac:spMkLst>
            <pc:docMk/>
            <pc:sldMk cId="229807602" sldId="2147470042"/>
            <ac:spMk id="5" creationId="{F1A1FFD5-C456-44EB-A603-F704C281AD6C}"/>
          </ac:spMkLst>
        </pc:spChg>
        <pc:spChg chg="del">
          <ac:chgData name="Alex Powers" userId="ae4a1fc7-4395-46d3-b2f1-3b3c37036ad1" providerId="ADAL" clId="{FF07999E-EC8D-435C-95D5-B8CD345C58D7}" dt="2023-02-22T14:16:03.231" v="1548" actId="478"/>
          <ac:spMkLst>
            <pc:docMk/>
            <pc:sldMk cId="229807602" sldId="2147470042"/>
            <ac:spMk id="7" creationId="{4C3AEDD1-7AF0-4617-B9A5-3CB333EA9FC7}"/>
          </ac:spMkLst>
        </pc:spChg>
      </pc:sldChg>
      <pc:sldChg chg="addSp delSp modSp add mod">
        <pc:chgData name="Alex Powers" userId="ae4a1fc7-4395-46d3-b2f1-3b3c37036ad1" providerId="ADAL" clId="{FF07999E-EC8D-435C-95D5-B8CD345C58D7}" dt="2023-02-22T14:17:05.742" v="1562"/>
        <pc:sldMkLst>
          <pc:docMk/>
          <pc:sldMk cId="1765774517" sldId="2147470043"/>
        </pc:sldMkLst>
        <pc:spChg chg="del">
          <ac:chgData name="Alex Powers" userId="ae4a1fc7-4395-46d3-b2f1-3b3c37036ad1" providerId="ADAL" clId="{FF07999E-EC8D-435C-95D5-B8CD345C58D7}" dt="2023-02-22T14:16:52.706" v="1561" actId="478"/>
          <ac:spMkLst>
            <pc:docMk/>
            <pc:sldMk cId="1765774517" sldId="2147470043"/>
            <ac:spMk id="2" creationId="{7C1440B5-102A-2341-0CD4-C7052D186262}"/>
          </ac:spMkLst>
        </pc:spChg>
        <pc:spChg chg="mod">
          <ac:chgData name="Alex Powers" userId="ae4a1fc7-4395-46d3-b2f1-3b3c37036ad1" providerId="ADAL" clId="{FF07999E-EC8D-435C-95D5-B8CD345C58D7}" dt="2023-02-22T14:16:48.795" v="1560" actId="20577"/>
          <ac:spMkLst>
            <pc:docMk/>
            <pc:sldMk cId="1765774517" sldId="2147470043"/>
            <ac:spMk id="5" creationId="{F1A1FFD5-C456-44EB-A603-F704C281AD6C}"/>
          </ac:spMkLst>
        </pc:spChg>
        <pc:spChg chg="add mod">
          <ac:chgData name="Alex Powers" userId="ae4a1fc7-4395-46d3-b2f1-3b3c37036ad1" providerId="ADAL" clId="{FF07999E-EC8D-435C-95D5-B8CD345C58D7}" dt="2023-02-22T14:17:05.742" v="1562"/>
          <ac:spMkLst>
            <pc:docMk/>
            <pc:sldMk cId="1765774517" sldId="2147470043"/>
            <ac:spMk id="6" creationId="{A2F44B1A-37A7-56DE-6C71-0EA6D0948895}"/>
          </ac:spMkLst>
        </pc:spChg>
        <pc:picChg chg="add mod">
          <ac:chgData name="Alex Powers" userId="ae4a1fc7-4395-46d3-b2f1-3b3c37036ad1" providerId="ADAL" clId="{FF07999E-EC8D-435C-95D5-B8CD345C58D7}" dt="2023-02-22T14:17:05.742" v="1562"/>
          <ac:picMkLst>
            <pc:docMk/>
            <pc:sldMk cId="1765774517" sldId="2147470043"/>
            <ac:picMk id="4" creationId="{EF5B23A0-2CB8-C002-5CC8-B681BD8D0BE7}"/>
          </ac:picMkLst>
        </pc:picChg>
      </pc:sldChg>
      <pc:sldChg chg="add del">
        <pc:chgData name="Alex Powers" userId="ae4a1fc7-4395-46d3-b2f1-3b3c37036ad1" providerId="ADAL" clId="{FF07999E-EC8D-435C-95D5-B8CD345C58D7}" dt="2023-02-22T14:18:41.718" v="1587" actId="47"/>
        <pc:sldMkLst>
          <pc:docMk/>
          <pc:sldMk cId="1269604912" sldId="2147470044"/>
        </pc:sldMkLst>
      </pc:sldChg>
      <pc:sldChg chg="addSp delSp modSp add mod">
        <pc:chgData name="Alex Powers" userId="ae4a1fc7-4395-46d3-b2f1-3b3c37036ad1" providerId="ADAL" clId="{FF07999E-EC8D-435C-95D5-B8CD345C58D7}" dt="2023-02-22T14:18:38.850" v="1586"/>
        <pc:sldMkLst>
          <pc:docMk/>
          <pc:sldMk cId="2909263155" sldId="2147470045"/>
        </pc:sldMkLst>
        <pc:spChg chg="del">
          <ac:chgData name="Alex Powers" userId="ae4a1fc7-4395-46d3-b2f1-3b3c37036ad1" providerId="ADAL" clId="{FF07999E-EC8D-435C-95D5-B8CD345C58D7}" dt="2023-02-22T14:18:35.152" v="1585" actId="478"/>
          <ac:spMkLst>
            <pc:docMk/>
            <pc:sldMk cId="2909263155" sldId="2147470045"/>
            <ac:spMk id="2" creationId="{7C1440B5-102A-2341-0CD4-C7052D186262}"/>
          </ac:spMkLst>
        </pc:spChg>
        <pc:spChg chg="add mod">
          <ac:chgData name="Alex Powers" userId="ae4a1fc7-4395-46d3-b2f1-3b3c37036ad1" providerId="ADAL" clId="{FF07999E-EC8D-435C-95D5-B8CD345C58D7}" dt="2023-02-22T14:18:38.850" v="1586"/>
          <ac:spMkLst>
            <pc:docMk/>
            <pc:sldMk cId="2909263155" sldId="2147470045"/>
            <ac:spMk id="4" creationId="{836EB69B-7794-7F04-09D0-935915D0F407}"/>
          </ac:spMkLst>
        </pc:spChg>
        <pc:spChg chg="mod">
          <ac:chgData name="Alex Powers" userId="ae4a1fc7-4395-46d3-b2f1-3b3c37036ad1" providerId="ADAL" clId="{FF07999E-EC8D-435C-95D5-B8CD345C58D7}" dt="2023-02-22T14:18:31.838" v="1584" actId="20577"/>
          <ac:spMkLst>
            <pc:docMk/>
            <pc:sldMk cId="2909263155" sldId="2147470045"/>
            <ac:spMk id="5" creationId="{F1A1FFD5-C456-44EB-A603-F704C281AD6C}"/>
          </ac:spMkLst>
        </pc:spChg>
      </pc:sldChg>
      <pc:sldChg chg="modSp add del mod">
        <pc:chgData name="Alex Powers" userId="ae4a1fc7-4395-46d3-b2f1-3b3c37036ad1" providerId="ADAL" clId="{FF07999E-EC8D-435C-95D5-B8CD345C58D7}" dt="2023-02-22T14:20:18.447" v="1604" actId="47"/>
        <pc:sldMkLst>
          <pc:docMk/>
          <pc:sldMk cId="1953452325" sldId="2147470046"/>
        </pc:sldMkLst>
        <pc:spChg chg="mod">
          <ac:chgData name="Alex Powers" userId="ae4a1fc7-4395-46d3-b2f1-3b3c37036ad1" providerId="ADAL" clId="{FF07999E-EC8D-435C-95D5-B8CD345C58D7}" dt="2023-02-22T14:19:54.710" v="1602" actId="20577"/>
          <ac:spMkLst>
            <pc:docMk/>
            <pc:sldMk cId="1953452325" sldId="2147470046"/>
            <ac:spMk id="2" creationId="{4BEDC80E-304E-4653-AE93-151A1465E98B}"/>
          </ac:spMkLst>
        </pc:spChg>
      </pc:sldChg>
      <pc:sldChg chg="modSp add mod">
        <pc:chgData name="Alex Powers" userId="ae4a1fc7-4395-46d3-b2f1-3b3c37036ad1" providerId="ADAL" clId="{FF07999E-EC8D-435C-95D5-B8CD345C58D7}" dt="2023-02-22T14:21:04.706" v="1641" actId="20577"/>
        <pc:sldMkLst>
          <pc:docMk/>
          <pc:sldMk cId="3349465913" sldId="2147470047"/>
        </pc:sldMkLst>
        <pc:spChg chg="mod">
          <ac:chgData name="Alex Powers" userId="ae4a1fc7-4395-46d3-b2f1-3b3c37036ad1" providerId="ADAL" clId="{FF07999E-EC8D-435C-95D5-B8CD345C58D7}" dt="2023-02-22T14:21:04.706" v="1641" actId="20577"/>
          <ac:spMkLst>
            <pc:docMk/>
            <pc:sldMk cId="3349465913" sldId="2147470047"/>
            <ac:spMk id="2" creationId="{4BEDC80E-304E-4653-AE93-151A1465E98B}"/>
          </ac:spMkLst>
        </pc:spChg>
      </pc:sldChg>
      <pc:sldChg chg="addSp delSp modSp add mod">
        <pc:chgData name="Alex Powers" userId="ae4a1fc7-4395-46d3-b2f1-3b3c37036ad1" providerId="ADAL" clId="{FF07999E-EC8D-435C-95D5-B8CD345C58D7}" dt="2023-02-22T16:32:13.355" v="2015" actId="113"/>
        <pc:sldMkLst>
          <pc:docMk/>
          <pc:sldMk cId="1449389869" sldId="2147470048"/>
        </pc:sldMkLst>
        <pc:spChg chg="add mod">
          <ac:chgData name="Alex Powers" userId="ae4a1fc7-4395-46d3-b2f1-3b3c37036ad1" providerId="ADAL" clId="{FF07999E-EC8D-435C-95D5-B8CD345C58D7}" dt="2023-02-22T16:32:13.355" v="2015" actId="113"/>
          <ac:spMkLst>
            <pc:docMk/>
            <pc:sldMk cId="1449389869" sldId="2147470048"/>
            <ac:spMk id="2" creationId="{A8FEC8D0-DDE3-150B-5F9F-713A64DFFD4C}"/>
          </ac:spMkLst>
        </pc:spChg>
        <pc:spChg chg="mod">
          <ac:chgData name="Alex Powers" userId="ae4a1fc7-4395-46d3-b2f1-3b3c37036ad1" providerId="ADAL" clId="{FF07999E-EC8D-435C-95D5-B8CD345C58D7}" dt="2023-02-22T16:18:13.843" v="1722" actId="20577"/>
          <ac:spMkLst>
            <pc:docMk/>
            <pc:sldMk cId="1449389869" sldId="2147470048"/>
            <ac:spMk id="5" creationId="{F1A1FFD5-C456-44EB-A603-F704C281AD6C}"/>
          </ac:spMkLst>
        </pc:spChg>
        <pc:spChg chg="del">
          <ac:chgData name="Alex Powers" userId="ae4a1fc7-4395-46d3-b2f1-3b3c37036ad1" providerId="ADAL" clId="{FF07999E-EC8D-435C-95D5-B8CD345C58D7}" dt="2023-02-22T16:18:17.552" v="1723" actId="478"/>
          <ac:spMkLst>
            <pc:docMk/>
            <pc:sldMk cId="1449389869" sldId="2147470048"/>
            <ac:spMk id="6" creationId="{DC082D62-027F-4C5F-927C-774129B7310E}"/>
          </ac:spMkLst>
        </pc:spChg>
        <pc:picChg chg="del">
          <ac:chgData name="Alex Powers" userId="ae4a1fc7-4395-46d3-b2f1-3b3c37036ad1" providerId="ADAL" clId="{FF07999E-EC8D-435C-95D5-B8CD345C58D7}" dt="2023-02-22T16:18:17.552" v="1723" actId="478"/>
          <ac:picMkLst>
            <pc:docMk/>
            <pc:sldMk cId="1449389869" sldId="2147470048"/>
            <ac:picMk id="8" creationId="{512F2D75-AF2E-4101-8FEB-4D706D619077}"/>
          </ac:picMkLst>
        </pc:picChg>
      </pc:sldChg>
      <pc:sldChg chg="modSp add mod">
        <pc:chgData name="Alex Powers" userId="ae4a1fc7-4395-46d3-b2f1-3b3c37036ad1" providerId="ADAL" clId="{FF07999E-EC8D-435C-95D5-B8CD345C58D7}" dt="2023-02-22T16:19:46.039" v="1781" actId="20577"/>
        <pc:sldMkLst>
          <pc:docMk/>
          <pc:sldMk cId="713603935" sldId="2147470049"/>
        </pc:sldMkLst>
        <pc:spChg chg="mod">
          <ac:chgData name="Alex Powers" userId="ae4a1fc7-4395-46d3-b2f1-3b3c37036ad1" providerId="ADAL" clId="{FF07999E-EC8D-435C-95D5-B8CD345C58D7}" dt="2023-02-22T16:19:46.039" v="1781" actId="20577"/>
          <ac:spMkLst>
            <pc:docMk/>
            <pc:sldMk cId="713603935" sldId="2147470049"/>
            <ac:spMk id="5" creationId="{F1A1FFD5-C456-44EB-A603-F704C281AD6C}"/>
          </ac:spMkLst>
        </pc:spChg>
        <pc:spChg chg="mod">
          <ac:chgData name="Alex Powers" userId="ae4a1fc7-4395-46d3-b2f1-3b3c37036ad1" providerId="ADAL" clId="{FF07999E-EC8D-435C-95D5-B8CD345C58D7}" dt="2023-02-22T16:19:35.227" v="1749" actId="20577"/>
          <ac:spMkLst>
            <pc:docMk/>
            <pc:sldMk cId="713603935" sldId="2147470049"/>
            <ac:spMk id="6" creationId="{DC082D62-027F-4C5F-927C-774129B7310E}"/>
          </ac:spMkLst>
        </pc:spChg>
      </pc:sldChg>
      <pc:sldChg chg="add del">
        <pc:chgData name="Alex Powers" userId="ae4a1fc7-4395-46d3-b2f1-3b3c37036ad1" providerId="ADAL" clId="{FF07999E-EC8D-435C-95D5-B8CD345C58D7}" dt="2023-02-22T16:19:30.581" v="1746"/>
        <pc:sldMkLst>
          <pc:docMk/>
          <pc:sldMk cId="3037390504" sldId="2147470049"/>
        </pc:sldMkLst>
      </pc:sldChg>
      <pc:sldChg chg="add del">
        <pc:chgData name="Alex Powers" userId="ae4a1fc7-4395-46d3-b2f1-3b3c37036ad1" providerId="ADAL" clId="{FF07999E-EC8D-435C-95D5-B8CD345C58D7}" dt="2023-02-22T16:20:50.737" v="1814" actId="47"/>
        <pc:sldMkLst>
          <pc:docMk/>
          <pc:sldMk cId="2425579910" sldId="2147470050"/>
        </pc:sldMkLst>
      </pc:sldChg>
      <pc:sldChg chg="add del">
        <pc:chgData name="Alex Powers" userId="ae4a1fc7-4395-46d3-b2f1-3b3c37036ad1" providerId="ADAL" clId="{FF07999E-EC8D-435C-95D5-B8CD345C58D7}" dt="2023-02-22T16:21:14.561" v="1841" actId="47"/>
        <pc:sldMkLst>
          <pc:docMk/>
          <pc:sldMk cId="3282312072" sldId="2147470051"/>
        </pc:sldMkLst>
      </pc:sldChg>
      <pc:sldChg chg="addSp delSp modSp add mod">
        <pc:chgData name="Alex Powers" userId="ae4a1fc7-4395-46d3-b2f1-3b3c37036ad1" providerId="ADAL" clId="{FF07999E-EC8D-435C-95D5-B8CD345C58D7}" dt="2023-02-22T16:20:45.428" v="1813" actId="20577"/>
        <pc:sldMkLst>
          <pc:docMk/>
          <pc:sldMk cId="3723718815" sldId="2147470052"/>
        </pc:sldMkLst>
        <pc:spChg chg="add mod">
          <ac:chgData name="Alex Powers" userId="ae4a1fc7-4395-46d3-b2f1-3b3c37036ad1" providerId="ADAL" clId="{FF07999E-EC8D-435C-95D5-B8CD345C58D7}" dt="2023-02-22T16:20:38.438" v="1812"/>
          <ac:spMkLst>
            <pc:docMk/>
            <pc:sldMk cId="3723718815" sldId="2147470052"/>
            <ac:spMk id="2" creationId="{190C4945-3DD8-3C73-DBC7-E42C097C5295}"/>
          </ac:spMkLst>
        </pc:spChg>
        <pc:spChg chg="mod">
          <ac:chgData name="Alex Powers" userId="ae4a1fc7-4395-46d3-b2f1-3b3c37036ad1" providerId="ADAL" clId="{FF07999E-EC8D-435C-95D5-B8CD345C58D7}" dt="2023-02-22T16:20:45.428" v="1813" actId="20577"/>
          <ac:spMkLst>
            <pc:docMk/>
            <pc:sldMk cId="3723718815" sldId="2147470052"/>
            <ac:spMk id="5" creationId="{F1A1FFD5-C456-44EB-A603-F704C281AD6C}"/>
          </ac:spMkLst>
        </pc:spChg>
        <pc:spChg chg="del">
          <ac:chgData name="Alex Powers" userId="ae4a1fc7-4395-46d3-b2f1-3b3c37036ad1" providerId="ADAL" clId="{FF07999E-EC8D-435C-95D5-B8CD345C58D7}" dt="2023-02-22T16:20:35.541" v="1811" actId="478"/>
          <ac:spMkLst>
            <pc:docMk/>
            <pc:sldMk cId="3723718815" sldId="2147470052"/>
            <ac:spMk id="6" creationId="{A2F44B1A-37A7-56DE-6C71-0EA6D0948895}"/>
          </ac:spMkLst>
        </pc:spChg>
        <pc:picChg chg="del">
          <ac:chgData name="Alex Powers" userId="ae4a1fc7-4395-46d3-b2f1-3b3c37036ad1" providerId="ADAL" clId="{FF07999E-EC8D-435C-95D5-B8CD345C58D7}" dt="2023-02-22T16:20:34.230" v="1810" actId="478"/>
          <ac:picMkLst>
            <pc:docMk/>
            <pc:sldMk cId="3723718815" sldId="2147470052"/>
            <ac:picMk id="4" creationId="{EF5B23A0-2CB8-C002-5CC8-B681BD8D0BE7}"/>
          </ac:picMkLst>
        </pc:picChg>
      </pc:sldChg>
      <pc:sldChg chg="addSp delSp modSp add mod">
        <pc:chgData name="Alex Powers" userId="ae4a1fc7-4395-46d3-b2f1-3b3c37036ad1" providerId="ADAL" clId="{FF07999E-EC8D-435C-95D5-B8CD345C58D7}" dt="2023-02-22T16:21:22.819" v="1846" actId="20577"/>
        <pc:sldMkLst>
          <pc:docMk/>
          <pc:sldMk cId="18369262" sldId="2147470053"/>
        </pc:sldMkLst>
        <pc:spChg chg="del">
          <ac:chgData name="Alex Powers" userId="ae4a1fc7-4395-46d3-b2f1-3b3c37036ad1" providerId="ADAL" clId="{FF07999E-EC8D-435C-95D5-B8CD345C58D7}" dt="2023-02-22T16:21:06.644" v="1837" actId="478"/>
          <ac:spMkLst>
            <pc:docMk/>
            <pc:sldMk cId="18369262" sldId="2147470053"/>
            <ac:spMk id="2" creationId="{190C4945-3DD8-3C73-DBC7-E42C097C5295}"/>
          </ac:spMkLst>
        </pc:spChg>
        <pc:spChg chg="mod">
          <ac:chgData name="Alex Powers" userId="ae4a1fc7-4395-46d3-b2f1-3b3c37036ad1" providerId="ADAL" clId="{FF07999E-EC8D-435C-95D5-B8CD345C58D7}" dt="2023-02-22T16:20:59.491" v="1836" actId="20577"/>
          <ac:spMkLst>
            <pc:docMk/>
            <pc:sldMk cId="18369262" sldId="2147470053"/>
            <ac:spMk id="5" creationId="{F1A1FFD5-C456-44EB-A603-F704C281AD6C}"/>
          </ac:spMkLst>
        </pc:spChg>
        <pc:spChg chg="add del">
          <ac:chgData name="Alex Powers" userId="ae4a1fc7-4395-46d3-b2f1-3b3c37036ad1" providerId="ADAL" clId="{FF07999E-EC8D-435C-95D5-B8CD345C58D7}" dt="2023-02-22T16:21:09.275" v="1839" actId="22"/>
          <ac:spMkLst>
            <pc:docMk/>
            <pc:sldMk cId="18369262" sldId="2147470053"/>
            <ac:spMk id="6" creationId="{D89ADA9B-A19B-F85B-6C2E-C71B376A2156}"/>
          </ac:spMkLst>
        </pc:spChg>
        <pc:spChg chg="add mod">
          <ac:chgData name="Alex Powers" userId="ae4a1fc7-4395-46d3-b2f1-3b3c37036ad1" providerId="ADAL" clId="{FF07999E-EC8D-435C-95D5-B8CD345C58D7}" dt="2023-02-22T16:21:22.819" v="1846" actId="20577"/>
          <ac:spMkLst>
            <pc:docMk/>
            <pc:sldMk cId="18369262" sldId="2147470053"/>
            <ac:spMk id="7" creationId="{178C877C-F79F-5F8E-D401-7CA47E7DF657}"/>
          </ac:spMkLst>
        </pc:spChg>
      </pc:sldChg>
      <pc:sldChg chg="add del">
        <pc:chgData name="Alex Powers" userId="ae4a1fc7-4395-46d3-b2f1-3b3c37036ad1" providerId="ADAL" clId="{FF07999E-EC8D-435C-95D5-B8CD345C58D7}" dt="2023-02-22T16:23:16.111" v="1865" actId="47"/>
        <pc:sldMkLst>
          <pc:docMk/>
          <pc:sldMk cId="1421171335" sldId="2147470054"/>
        </pc:sldMkLst>
      </pc:sldChg>
      <pc:sldChg chg="addSp delSp modSp add mod modAnim">
        <pc:chgData name="Alex Powers" userId="ae4a1fc7-4395-46d3-b2f1-3b3c37036ad1" providerId="ADAL" clId="{FF07999E-EC8D-435C-95D5-B8CD345C58D7}" dt="2023-02-22T16:24:48.391" v="1878" actId="1036"/>
        <pc:sldMkLst>
          <pc:docMk/>
          <pc:sldMk cId="4188369865" sldId="2147470055"/>
        </pc:sldMkLst>
        <pc:spChg chg="del mod">
          <ac:chgData name="Alex Powers" userId="ae4a1fc7-4395-46d3-b2f1-3b3c37036ad1" providerId="ADAL" clId="{FF07999E-EC8D-435C-95D5-B8CD345C58D7}" dt="2023-02-22T16:23:11.121" v="1863" actId="478"/>
          <ac:spMkLst>
            <pc:docMk/>
            <pc:sldMk cId="4188369865" sldId="2147470055"/>
            <ac:spMk id="2" creationId="{7C1440B5-102A-2341-0CD4-C7052D186262}"/>
          </ac:spMkLst>
        </pc:spChg>
        <pc:spChg chg="add mod">
          <ac:chgData name="Alex Powers" userId="ae4a1fc7-4395-46d3-b2f1-3b3c37036ad1" providerId="ADAL" clId="{FF07999E-EC8D-435C-95D5-B8CD345C58D7}" dt="2023-02-22T16:23:14.064" v="1864"/>
          <ac:spMkLst>
            <pc:docMk/>
            <pc:sldMk cId="4188369865" sldId="2147470055"/>
            <ac:spMk id="4" creationId="{8EECFA92-CF8D-A089-715D-75DD10DC6A37}"/>
          </ac:spMkLst>
        </pc:spChg>
        <pc:spChg chg="mod">
          <ac:chgData name="Alex Powers" userId="ae4a1fc7-4395-46d3-b2f1-3b3c37036ad1" providerId="ADAL" clId="{FF07999E-EC8D-435C-95D5-B8CD345C58D7}" dt="2023-02-22T16:22:01.459" v="1861" actId="20577"/>
          <ac:spMkLst>
            <pc:docMk/>
            <pc:sldMk cId="4188369865" sldId="2147470055"/>
            <ac:spMk id="5" creationId="{F1A1FFD5-C456-44EB-A603-F704C281AD6C}"/>
          </ac:spMkLst>
        </pc:spChg>
        <pc:picChg chg="add mod">
          <ac:chgData name="Alex Powers" userId="ae4a1fc7-4395-46d3-b2f1-3b3c37036ad1" providerId="ADAL" clId="{FF07999E-EC8D-435C-95D5-B8CD345C58D7}" dt="2023-02-22T16:24:48.391" v="1878" actId="1036"/>
          <ac:picMkLst>
            <pc:docMk/>
            <pc:sldMk cId="4188369865" sldId="2147470055"/>
            <ac:picMk id="6" creationId="{CD411D05-CE00-E455-98F0-66AA9D06365D}"/>
          </ac:picMkLst>
        </pc:picChg>
      </pc:sldChg>
      <pc:sldChg chg="add del">
        <pc:chgData name="Alex Powers" userId="ae4a1fc7-4395-46d3-b2f1-3b3c37036ad1" providerId="ADAL" clId="{FF07999E-EC8D-435C-95D5-B8CD345C58D7}" dt="2023-02-22T16:26:23.008" v="1911" actId="47"/>
        <pc:sldMkLst>
          <pc:docMk/>
          <pc:sldMk cId="1320643142" sldId="2147470056"/>
        </pc:sldMkLst>
      </pc:sldChg>
      <pc:sldChg chg="addSp delSp modSp add mod">
        <pc:chgData name="Alex Powers" userId="ae4a1fc7-4395-46d3-b2f1-3b3c37036ad1" providerId="ADAL" clId="{FF07999E-EC8D-435C-95D5-B8CD345C58D7}" dt="2023-02-22T16:26:17.036" v="1910" actId="15"/>
        <pc:sldMkLst>
          <pc:docMk/>
          <pc:sldMk cId="2215071468" sldId="2147470057"/>
        </pc:sldMkLst>
        <pc:spChg chg="add mod">
          <ac:chgData name="Alex Powers" userId="ae4a1fc7-4395-46d3-b2f1-3b3c37036ad1" providerId="ADAL" clId="{FF07999E-EC8D-435C-95D5-B8CD345C58D7}" dt="2023-02-22T16:26:17.036" v="1910" actId="15"/>
          <ac:spMkLst>
            <pc:docMk/>
            <pc:sldMk cId="2215071468" sldId="2147470057"/>
            <ac:spMk id="2" creationId="{0AF5C69C-4F07-7439-ED0F-F5C314512EEE}"/>
          </ac:spMkLst>
        </pc:spChg>
        <pc:spChg chg="mod">
          <ac:chgData name="Alex Powers" userId="ae4a1fc7-4395-46d3-b2f1-3b3c37036ad1" providerId="ADAL" clId="{FF07999E-EC8D-435C-95D5-B8CD345C58D7}" dt="2023-02-22T16:25:57.296" v="1900" actId="20577"/>
          <ac:spMkLst>
            <pc:docMk/>
            <pc:sldMk cId="2215071468" sldId="2147470057"/>
            <ac:spMk id="5" creationId="{F1A1FFD5-C456-44EB-A603-F704C281AD6C}"/>
          </ac:spMkLst>
        </pc:spChg>
        <pc:spChg chg="del">
          <ac:chgData name="Alex Powers" userId="ae4a1fc7-4395-46d3-b2f1-3b3c37036ad1" providerId="ADAL" clId="{FF07999E-EC8D-435C-95D5-B8CD345C58D7}" dt="2023-02-22T16:26:00.511" v="1901" actId="478"/>
          <ac:spMkLst>
            <pc:docMk/>
            <pc:sldMk cId="2215071468" sldId="2147470057"/>
            <ac:spMk id="7" creationId="{178C877C-F79F-5F8E-D401-7CA47E7DF657}"/>
          </ac:spMkLst>
        </pc:spChg>
      </pc:sldChg>
      <pc:sldChg chg="add del">
        <pc:chgData name="Alex Powers" userId="ae4a1fc7-4395-46d3-b2f1-3b3c37036ad1" providerId="ADAL" clId="{FF07999E-EC8D-435C-95D5-B8CD345C58D7}" dt="2023-02-22T16:32:08.346" v="2013" actId="47"/>
        <pc:sldMkLst>
          <pc:docMk/>
          <pc:sldMk cId="400541564" sldId="2147470058"/>
        </pc:sldMkLst>
      </pc:sldChg>
      <pc:sldChg chg="addSp delSp modSp add mod">
        <pc:chgData name="Alex Powers" userId="ae4a1fc7-4395-46d3-b2f1-3b3c37036ad1" providerId="ADAL" clId="{FF07999E-EC8D-435C-95D5-B8CD345C58D7}" dt="2023-02-22T16:32:04.030" v="2012" actId="14100"/>
        <pc:sldMkLst>
          <pc:docMk/>
          <pc:sldMk cId="1301839477" sldId="2147470059"/>
        </pc:sldMkLst>
        <pc:spChg chg="del">
          <ac:chgData name="Alex Powers" userId="ae4a1fc7-4395-46d3-b2f1-3b3c37036ad1" providerId="ADAL" clId="{FF07999E-EC8D-435C-95D5-B8CD345C58D7}" dt="2023-02-22T16:30:24.583" v="1938" actId="478"/>
          <ac:spMkLst>
            <pc:docMk/>
            <pc:sldMk cId="1301839477" sldId="2147470059"/>
            <ac:spMk id="2" creationId="{A8FEC8D0-DDE3-150B-5F9F-713A64DFFD4C}"/>
          </ac:spMkLst>
        </pc:spChg>
        <pc:spChg chg="add mod">
          <ac:chgData name="Alex Powers" userId="ae4a1fc7-4395-46d3-b2f1-3b3c37036ad1" providerId="ADAL" clId="{FF07999E-EC8D-435C-95D5-B8CD345C58D7}" dt="2023-02-22T16:32:04.030" v="2012" actId="14100"/>
          <ac:spMkLst>
            <pc:docMk/>
            <pc:sldMk cId="1301839477" sldId="2147470059"/>
            <ac:spMk id="4" creationId="{88EE4C34-F967-7F63-54BB-7A208E0344B3}"/>
          </ac:spMkLst>
        </pc:spChg>
        <pc:spChg chg="mod">
          <ac:chgData name="Alex Powers" userId="ae4a1fc7-4395-46d3-b2f1-3b3c37036ad1" providerId="ADAL" clId="{FF07999E-EC8D-435C-95D5-B8CD345C58D7}" dt="2023-02-22T16:31:52.136" v="2010" actId="20577"/>
          <ac:spMkLst>
            <pc:docMk/>
            <pc:sldMk cId="1301839477" sldId="2147470059"/>
            <ac:spMk id="5" creationId="{F1A1FFD5-C456-44EB-A603-F704C281AD6C}"/>
          </ac:spMkLst>
        </pc:spChg>
        <pc:picChg chg="add mod">
          <ac:chgData name="Alex Powers" userId="ae4a1fc7-4395-46d3-b2f1-3b3c37036ad1" providerId="ADAL" clId="{FF07999E-EC8D-435C-95D5-B8CD345C58D7}" dt="2023-02-22T16:30:43.647" v="1943" actId="1076"/>
          <ac:picMkLst>
            <pc:docMk/>
            <pc:sldMk cId="1301839477" sldId="2147470059"/>
            <ac:picMk id="6" creationId="{77761A04-9BF5-06B2-05C2-840346C315E7}"/>
          </ac:picMkLst>
        </pc:picChg>
      </pc:sldChg>
      <pc:sldChg chg="add">
        <pc:chgData name="Alex Powers" userId="ae4a1fc7-4395-46d3-b2f1-3b3c37036ad1" providerId="ADAL" clId="{FF07999E-EC8D-435C-95D5-B8CD345C58D7}" dt="2023-02-22T16:32:48.665" v="2016"/>
        <pc:sldMkLst>
          <pc:docMk/>
          <pc:sldMk cId="1094387869" sldId="2147470060"/>
        </pc:sldMkLst>
      </pc:sldChg>
      <pc:sldChg chg="add del">
        <pc:chgData name="Alex Powers" userId="ae4a1fc7-4395-46d3-b2f1-3b3c37036ad1" providerId="ADAL" clId="{FF07999E-EC8D-435C-95D5-B8CD345C58D7}" dt="2023-02-22T16:54:36.131" v="2031" actId="47"/>
        <pc:sldMkLst>
          <pc:docMk/>
          <pc:sldMk cId="3144415480" sldId="2147470061"/>
        </pc:sldMkLst>
      </pc:sldChg>
      <pc:sldChg chg="addSp delSp modSp add mod">
        <pc:chgData name="Alex Powers" userId="ae4a1fc7-4395-46d3-b2f1-3b3c37036ad1" providerId="ADAL" clId="{FF07999E-EC8D-435C-95D5-B8CD345C58D7}" dt="2023-02-22T17:15:58.326" v="2034" actId="14100"/>
        <pc:sldMkLst>
          <pc:docMk/>
          <pc:sldMk cId="2009408845" sldId="2147470062"/>
        </pc:sldMkLst>
        <pc:spChg chg="add mod">
          <ac:chgData name="Alex Powers" userId="ae4a1fc7-4395-46d3-b2f1-3b3c37036ad1" providerId="ADAL" clId="{FF07999E-EC8D-435C-95D5-B8CD345C58D7}" dt="2023-02-22T17:15:58.326" v="2034" actId="14100"/>
          <ac:spMkLst>
            <pc:docMk/>
            <pc:sldMk cId="2009408845" sldId="2147470062"/>
            <ac:spMk id="2" creationId="{973E70A4-87F5-41F9-829A-C4FD21CB3ED8}"/>
          </ac:spMkLst>
        </pc:spChg>
        <pc:spChg chg="del">
          <ac:chgData name="Alex Powers" userId="ae4a1fc7-4395-46d3-b2f1-3b3c37036ad1" providerId="ADAL" clId="{FF07999E-EC8D-435C-95D5-B8CD345C58D7}" dt="2023-02-22T16:54:29.338" v="2029" actId="478"/>
          <ac:spMkLst>
            <pc:docMk/>
            <pc:sldMk cId="2009408845" sldId="2147470062"/>
            <ac:spMk id="4" creationId="{88EE4C34-F967-7F63-54BB-7A208E0344B3}"/>
          </ac:spMkLst>
        </pc:spChg>
        <pc:spChg chg="mod">
          <ac:chgData name="Alex Powers" userId="ae4a1fc7-4395-46d3-b2f1-3b3c37036ad1" providerId="ADAL" clId="{FF07999E-EC8D-435C-95D5-B8CD345C58D7}" dt="2023-02-22T16:54:26.890" v="2027" actId="20577"/>
          <ac:spMkLst>
            <pc:docMk/>
            <pc:sldMk cId="2009408845" sldId="2147470062"/>
            <ac:spMk id="5" creationId="{F1A1FFD5-C456-44EB-A603-F704C281AD6C}"/>
          </ac:spMkLst>
        </pc:spChg>
        <pc:picChg chg="del">
          <ac:chgData name="Alex Powers" userId="ae4a1fc7-4395-46d3-b2f1-3b3c37036ad1" providerId="ADAL" clId="{FF07999E-EC8D-435C-95D5-B8CD345C58D7}" dt="2023-02-22T16:54:27.981" v="2028" actId="478"/>
          <ac:picMkLst>
            <pc:docMk/>
            <pc:sldMk cId="2009408845" sldId="2147470062"/>
            <ac:picMk id="6" creationId="{77761A04-9BF5-06B2-05C2-840346C315E7}"/>
          </ac:picMkLst>
        </pc:picChg>
      </pc:sldChg>
      <pc:sldChg chg="addSp delSp modSp add mod modAnim">
        <pc:chgData name="Alex Powers" userId="ae4a1fc7-4395-46d3-b2f1-3b3c37036ad1" providerId="ADAL" clId="{FF07999E-EC8D-435C-95D5-B8CD345C58D7}" dt="2023-03-03T13:38:19.041" v="3537" actId="20577"/>
        <pc:sldMkLst>
          <pc:docMk/>
          <pc:sldMk cId="400474336" sldId="2147470063"/>
        </pc:sldMkLst>
        <pc:spChg chg="mod">
          <ac:chgData name="Alex Powers" userId="ae4a1fc7-4395-46d3-b2f1-3b3c37036ad1" providerId="ADAL" clId="{FF07999E-EC8D-435C-95D5-B8CD345C58D7}" dt="2023-03-03T13:38:19.041" v="3537" actId="20577"/>
          <ac:spMkLst>
            <pc:docMk/>
            <pc:sldMk cId="400474336" sldId="2147470063"/>
            <ac:spMk id="2" creationId="{2A1FB337-CDF0-458C-864B-CA1289A60A44}"/>
          </ac:spMkLst>
        </pc:spChg>
        <pc:spChg chg="del mod topLvl">
          <ac:chgData name="Alex Powers" userId="ae4a1fc7-4395-46d3-b2f1-3b3c37036ad1" providerId="ADAL" clId="{FF07999E-EC8D-435C-95D5-B8CD345C58D7}" dt="2023-03-03T13:27:10.582" v="3273" actId="478"/>
          <ac:spMkLst>
            <pc:docMk/>
            <pc:sldMk cId="400474336" sldId="2147470063"/>
            <ac:spMk id="6" creationId="{77AED221-E2D4-87CA-3337-0E870F33FA44}"/>
          </ac:spMkLst>
        </pc:spChg>
        <pc:spChg chg="del mod topLvl">
          <ac:chgData name="Alex Powers" userId="ae4a1fc7-4395-46d3-b2f1-3b3c37036ad1" providerId="ADAL" clId="{FF07999E-EC8D-435C-95D5-B8CD345C58D7}" dt="2023-03-03T13:27:19.714" v="3276" actId="478"/>
          <ac:spMkLst>
            <pc:docMk/>
            <pc:sldMk cId="400474336" sldId="2147470063"/>
            <ac:spMk id="10" creationId="{03F0F631-9B4D-3F6E-CC92-A199B68EE027}"/>
          </ac:spMkLst>
        </pc:spChg>
        <pc:spChg chg="mod">
          <ac:chgData name="Alex Powers" userId="ae4a1fc7-4395-46d3-b2f1-3b3c37036ad1" providerId="ADAL" clId="{FF07999E-EC8D-435C-95D5-B8CD345C58D7}" dt="2023-03-03T13:12:27.944" v="2888" actId="20577"/>
          <ac:spMkLst>
            <pc:docMk/>
            <pc:sldMk cId="400474336" sldId="2147470063"/>
            <ac:spMk id="15" creationId="{86A6193E-2B4C-463B-85D2-5F86D7866537}"/>
          </ac:spMkLst>
        </pc:spChg>
        <pc:grpChg chg="add del mod">
          <ac:chgData name="Alex Powers" userId="ae4a1fc7-4395-46d3-b2f1-3b3c37036ad1" providerId="ADAL" clId="{FF07999E-EC8D-435C-95D5-B8CD345C58D7}" dt="2023-03-03T13:27:10.582" v="3273" actId="478"/>
          <ac:grpSpMkLst>
            <pc:docMk/>
            <pc:sldMk cId="400474336" sldId="2147470063"/>
            <ac:grpSpMk id="3" creationId="{31489E65-5890-B199-61B3-BD9A7D506A20}"/>
          </ac:grpSpMkLst>
        </pc:grpChg>
        <pc:grpChg chg="del mod topLvl">
          <ac:chgData name="Alex Powers" userId="ae4a1fc7-4395-46d3-b2f1-3b3c37036ad1" providerId="ADAL" clId="{FF07999E-EC8D-435C-95D5-B8CD345C58D7}" dt="2023-03-03T13:27:17.190" v="3275" actId="165"/>
          <ac:grpSpMkLst>
            <pc:docMk/>
            <pc:sldMk cId="400474336" sldId="2147470063"/>
            <ac:grpSpMk id="4" creationId="{229D1931-2B2D-3140-EB4C-8192DA388934}"/>
          </ac:grpSpMkLst>
        </pc:grpChg>
        <pc:graphicFrameChg chg="del">
          <ac:chgData name="Alex Powers" userId="ae4a1fc7-4395-46d3-b2f1-3b3c37036ad1" providerId="ADAL" clId="{FF07999E-EC8D-435C-95D5-B8CD345C58D7}" dt="2023-03-03T13:12:56.759" v="2891" actId="478"/>
          <ac:graphicFrameMkLst>
            <pc:docMk/>
            <pc:sldMk cId="400474336" sldId="2147470063"/>
            <ac:graphicFrameMk id="5" creationId="{5DE13ECA-AD23-4A63-BFA8-9511E1994C63}"/>
          </ac:graphicFrameMkLst>
        </pc:graphicFrameChg>
        <pc:picChg chg="mod topLvl">
          <ac:chgData name="Alex Powers" userId="ae4a1fc7-4395-46d3-b2f1-3b3c37036ad1" providerId="ADAL" clId="{FF07999E-EC8D-435C-95D5-B8CD345C58D7}" dt="2023-03-03T13:29:30.607" v="3348" actId="1076"/>
          <ac:picMkLst>
            <pc:docMk/>
            <pc:sldMk cId="400474336" sldId="2147470063"/>
            <ac:picMk id="7" creationId="{66CE50B9-0EB0-A611-6485-84B4B996A74E}"/>
          </ac:picMkLst>
        </pc:picChg>
        <pc:picChg chg="del mod topLvl">
          <ac:chgData name="Alex Powers" userId="ae4a1fc7-4395-46d3-b2f1-3b3c37036ad1" providerId="ADAL" clId="{FF07999E-EC8D-435C-95D5-B8CD345C58D7}" dt="2023-03-03T13:27:19.714" v="3276" actId="478"/>
          <ac:picMkLst>
            <pc:docMk/>
            <pc:sldMk cId="400474336" sldId="2147470063"/>
            <ac:picMk id="8" creationId="{A9ED6A5C-FAE2-6CF1-E9C5-0C3A44476C04}"/>
          </ac:picMkLst>
        </pc:picChg>
        <pc:picChg chg="del mod topLvl">
          <ac:chgData name="Alex Powers" userId="ae4a1fc7-4395-46d3-b2f1-3b3c37036ad1" providerId="ADAL" clId="{FF07999E-EC8D-435C-95D5-B8CD345C58D7}" dt="2023-03-03T13:27:19.714" v="3276" actId="478"/>
          <ac:picMkLst>
            <pc:docMk/>
            <pc:sldMk cId="400474336" sldId="2147470063"/>
            <ac:picMk id="9" creationId="{AB3A5BA2-5D38-503D-5130-A4FB7796AA9F}"/>
          </ac:picMkLst>
        </pc:picChg>
      </pc:sldChg>
      <pc:sldChg chg="addSp delSp modSp add del mod">
        <pc:chgData name="Alex Powers" userId="ae4a1fc7-4395-46d3-b2f1-3b3c37036ad1" providerId="ADAL" clId="{FF07999E-EC8D-435C-95D5-B8CD345C58D7}" dt="2023-03-03T16:46:00.483" v="3544" actId="47"/>
        <pc:sldMkLst>
          <pc:docMk/>
          <pc:sldMk cId="295468395" sldId="2147470064"/>
        </pc:sldMkLst>
        <pc:spChg chg="del">
          <ac:chgData name="Alex Powers" userId="ae4a1fc7-4395-46d3-b2f1-3b3c37036ad1" providerId="ADAL" clId="{FF07999E-EC8D-435C-95D5-B8CD345C58D7}" dt="2023-03-03T13:35:59.651" v="3421" actId="478"/>
          <ac:spMkLst>
            <pc:docMk/>
            <pc:sldMk cId="295468395" sldId="2147470064"/>
            <ac:spMk id="2" creationId="{2A1FB337-CDF0-458C-864B-CA1289A60A44}"/>
          </ac:spMkLst>
        </pc:spChg>
        <pc:spChg chg="add del mod">
          <ac:chgData name="Alex Powers" userId="ae4a1fc7-4395-46d3-b2f1-3b3c37036ad1" providerId="ADAL" clId="{FF07999E-EC8D-435C-95D5-B8CD345C58D7}" dt="2023-03-03T13:36:03.011" v="3423" actId="478"/>
          <ac:spMkLst>
            <pc:docMk/>
            <pc:sldMk cId="295468395" sldId="2147470064"/>
            <ac:spMk id="4" creationId="{4BC67DC6-AC52-6D09-B67C-EC9EF10E3A8D}"/>
          </ac:spMkLst>
        </pc:spChg>
        <pc:spChg chg="mod">
          <ac:chgData name="Alex Powers" userId="ae4a1fc7-4395-46d3-b2f1-3b3c37036ad1" providerId="ADAL" clId="{FF07999E-EC8D-435C-95D5-B8CD345C58D7}" dt="2023-03-03T16:45:47.950" v="3540" actId="6549"/>
          <ac:spMkLst>
            <pc:docMk/>
            <pc:sldMk cId="295468395" sldId="2147470064"/>
            <ac:spMk id="15" creationId="{86A6193E-2B4C-463B-85D2-5F86D7866537}"/>
          </ac:spMkLst>
        </pc:spChg>
        <pc:picChg chg="del">
          <ac:chgData name="Alex Powers" userId="ae4a1fc7-4395-46d3-b2f1-3b3c37036ad1" providerId="ADAL" clId="{FF07999E-EC8D-435C-95D5-B8CD345C58D7}" dt="2023-03-03T13:36:01.823" v="3422" actId="478"/>
          <ac:picMkLst>
            <pc:docMk/>
            <pc:sldMk cId="295468395" sldId="2147470064"/>
            <ac:picMk id="7" creationId="{66CE50B9-0EB0-A611-6485-84B4B996A74E}"/>
          </ac:picMkLst>
        </pc:picChg>
      </pc:sldChg>
      <pc:sldChg chg="addSp delSp modSp add mod ord delAnim">
        <pc:chgData name="Alex Powers" userId="ae4a1fc7-4395-46d3-b2f1-3b3c37036ad1" providerId="ADAL" clId="{FF07999E-EC8D-435C-95D5-B8CD345C58D7}" dt="2023-03-03T17:24:29.823" v="4568" actId="1035"/>
        <pc:sldMkLst>
          <pc:docMk/>
          <pc:sldMk cId="1290944113" sldId="2147470065"/>
        </pc:sldMkLst>
        <pc:spChg chg="mod">
          <ac:chgData name="Alex Powers" userId="ae4a1fc7-4395-46d3-b2f1-3b3c37036ad1" providerId="ADAL" clId="{FF07999E-EC8D-435C-95D5-B8CD345C58D7}" dt="2023-03-03T16:46:06.764" v="3559" actId="20577"/>
          <ac:spMkLst>
            <pc:docMk/>
            <pc:sldMk cId="1290944113" sldId="2147470065"/>
            <ac:spMk id="3" creationId="{0D69A8A3-2B39-48E2-94C2-0F25489C12ED}"/>
          </ac:spMkLst>
        </pc:spChg>
        <pc:spChg chg="mod">
          <ac:chgData name="Alex Powers" userId="ae4a1fc7-4395-46d3-b2f1-3b3c37036ad1" providerId="ADAL" clId="{FF07999E-EC8D-435C-95D5-B8CD345C58D7}" dt="2023-03-03T16:54:35.062" v="4027" actId="20577"/>
          <ac:spMkLst>
            <pc:docMk/>
            <pc:sldMk cId="1290944113" sldId="2147470065"/>
            <ac:spMk id="4" creationId="{D4917F3F-DCCF-4C8F-B2BF-8DFC2DD1037A}"/>
          </ac:spMkLst>
        </pc:spChg>
        <pc:spChg chg="mod">
          <ac:chgData name="Alex Powers" userId="ae4a1fc7-4395-46d3-b2f1-3b3c37036ad1" providerId="ADAL" clId="{FF07999E-EC8D-435C-95D5-B8CD345C58D7}" dt="2023-03-03T17:18:47.139" v="4532" actId="14100"/>
          <ac:spMkLst>
            <pc:docMk/>
            <pc:sldMk cId="1290944113" sldId="2147470065"/>
            <ac:spMk id="19" creationId="{C9E4195A-C6CD-3E76-EE13-C54500180E68}"/>
          </ac:spMkLst>
        </pc:spChg>
        <pc:spChg chg="add del mod">
          <ac:chgData name="Alex Powers" userId="ae4a1fc7-4395-46d3-b2f1-3b3c37036ad1" providerId="ADAL" clId="{FF07999E-EC8D-435C-95D5-B8CD345C58D7}" dt="2023-03-03T17:01:57.779" v="4128" actId="478"/>
          <ac:spMkLst>
            <pc:docMk/>
            <pc:sldMk cId="1290944113" sldId="2147470065"/>
            <ac:spMk id="1025" creationId="{74F7ABBA-5483-AB9B-2537-A6C020C36649}"/>
          </ac:spMkLst>
        </pc:spChg>
        <pc:spChg chg="add del mod">
          <ac:chgData name="Alex Powers" userId="ae4a1fc7-4395-46d3-b2f1-3b3c37036ad1" providerId="ADAL" clId="{FF07999E-EC8D-435C-95D5-B8CD345C58D7}" dt="2023-03-03T17:13:53.091" v="4447" actId="478"/>
          <ac:spMkLst>
            <pc:docMk/>
            <pc:sldMk cId="1290944113" sldId="2147470065"/>
            <ac:spMk id="1026" creationId="{64900306-1E1A-7CD2-9A25-471E1DD38E20}"/>
          </ac:spMkLst>
        </pc:spChg>
        <pc:spChg chg="add mod">
          <ac:chgData name="Alex Powers" userId="ae4a1fc7-4395-46d3-b2f1-3b3c37036ad1" providerId="ADAL" clId="{FF07999E-EC8D-435C-95D5-B8CD345C58D7}" dt="2023-03-03T17:24:29.823" v="4568" actId="1035"/>
          <ac:spMkLst>
            <pc:docMk/>
            <pc:sldMk cId="1290944113" sldId="2147470065"/>
            <ac:spMk id="1029" creationId="{F9804F50-EAFF-E858-A844-4BBE3ACFBF89}"/>
          </ac:spMkLst>
        </pc:spChg>
        <pc:spChg chg="add mod">
          <ac:chgData name="Alex Powers" userId="ae4a1fc7-4395-46d3-b2f1-3b3c37036ad1" providerId="ADAL" clId="{FF07999E-EC8D-435C-95D5-B8CD345C58D7}" dt="2023-03-03T17:24:29.823" v="4568" actId="1035"/>
          <ac:spMkLst>
            <pc:docMk/>
            <pc:sldMk cId="1290944113" sldId="2147470065"/>
            <ac:spMk id="1039" creationId="{ADC40D8D-FFCA-36CD-766B-7AA8FE94303B}"/>
          </ac:spMkLst>
        </pc:spChg>
        <pc:spChg chg="add mod">
          <ac:chgData name="Alex Powers" userId="ae4a1fc7-4395-46d3-b2f1-3b3c37036ad1" providerId="ADAL" clId="{FF07999E-EC8D-435C-95D5-B8CD345C58D7}" dt="2023-03-03T17:24:29.823" v="4568" actId="1035"/>
          <ac:spMkLst>
            <pc:docMk/>
            <pc:sldMk cId="1290944113" sldId="2147470065"/>
            <ac:spMk id="1043" creationId="{A7ACE756-7490-75CC-32B8-C4DB8EEAA048}"/>
          </ac:spMkLst>
        </pc:spChg>
        <pc:spChg chg="add mod">
          <ac:chgData name="Alex Powers" userId="ae4a1fc7-4395-46d3-b2f1-3b3c37036ad1" providerId="ADAL" clId="{FF07999E-EC8D-435C-95D5-B8CD345C58D7}" dt="2023-03-03T17:24:29.823" v="4568" actId="1035"/>
          <ac:spMkLst>
            <pc:docMk/>
            <pc:sldMk cId="1290944113" sldId="2147470065"/>
            <ac:spMk id="1052" creationId="{247D13A3-08D8-1104-CAF5-12E0078CFFEB}"/>
          </ac:spMkLst>
        </pc:spChg>
        <pc:spChg chg="add mod">
          <ac:chgData name="Alex Powers" userId="ae4a1fc7-4395-46d3-b2f1-3b3c37036ad1" providerId="ADAL" clId="{FF07999E-EC8D-435C-95D5-B8CD345C58D7}" dt="2023-03-03T17:24:29.823" v="4568" actId="1035"/>
          <ac:spMkLst>
            <pc:docMk/>
            <pc:sldMk cId="1290944113" sldId="2147470065"/>
            <ac:spMk id="1053" creationId="{BDDB259D-B129-4152-D11B-C403B261ED51}"/>
          </ac:spMkLst>
        </pc:spChg>
        <pc:spChg chg="add del mod">
          <ac:chgData name="Alex Powers" userId="ae4a1fc7-4395-46d3-b2f1-3b3c37036ad1" providerId="ADAL" clId="{FF07999E-EC8D-435C-95D5-B8CD345C58D7}" dt="2023-03-03T17:23:57.110" v="4554" actId="478"/>
          <ac:spMkLst>
            <pc:docMk/>
            <pc:sldMk cId="1290944113" sldId="2147470065"/>
            <ac:spMk id="1056" creationId="{C3558E13-7DDC-CE39-2E3C-6EC358A23F84}"/>
          </ac:spMkLst>
        </pc:spChg>
        <pc:grpChg chg="add del mod">
          <ac:chgData name="Alex Powers" userId="ae4a1fc7-4395-46d3-b2f1-3b3c37036ad1" providerId="ADAL" clId="{FF07999E-EC8D-435C-95D5-B8CD345C58D7}" dt="2023-03-03T16:58:31.583" v="4073" actId="165"/>
          <ac:grpSpMkLst>
            <pc:docMk/>
            <pc:sldMk cId="1290944113" sldId="2147470065"/>
            <ac:grpSpMk id="23" creationId="{49046C51-7880-58AD-E8B2-6FE359F26FA3}"/>
          </ac:grpSpMkLst>
        </pc:grpChg>
        <pc:grpChg chg="add mod">
          <ac:chgData name="Alex Powers" userId="ae4a1fc7-4395-46d3-b2f1-3b3c37036ad1" providerId="ADAL" clId="{FF07999E-EC8D-435C-95D5-B8CD345C58D7}" dt="2023-03-03T17:24:29.823" v="4568" actId="1035"/>
          <ac:grpSpMkLst>
            <pc:docMk/>
            <pc:sldMk cId="1290944113" sldId="2147470065"/>
            <ac:grpSpMk id="62" creationId="{3834409F-E16E-200F-FE8E-2FA31D870E53}"/>
          </ac:grpSpMkLst>
        </pc:grpChg>
        <pc:grpChg chg="del mod">
          <ac:chgData name="Alex Powers" userId="ae4a1fc7-4395-46d3-b2f1-3b3c37036ad1" providerId="ADAL" clId="{FF07999E-EC8D-435C-95D5-B8CD345C58D7}" dt="2023-03-03T17:06:22.224" v="4281" actId="478"/>
          <ac:grpSpMkLst>
            <pc:docMk/>
            <pc:sldMk cId="1290944113" sldId="2147470065"/>
            <ac:grpSpMk id="1077" creationId="{A5915ECB-6D1E-EA73-4AD7-776EC9F33C30}"/>
          </ac:grpSpMkLst>
        </pc:grpChg>
        <pc:grpChg chg="del mod">
          <ac:chgData name="Alex Powers" userId="ae4a1fc7-4395-46d3-b2f1-3b3c37036ad1" providerId="ADAL" clId="{FF07999E-EC8D-435C-95D5-B8CD345C58D7}" dt="2023-03-03T16:54:56.206" v="4031" actId="478"/>
          <ac:grpSpMkLst>
            <pc:docMk/>
            <pc:sldMk cId="1290944113" sldId="2147470065"/>
            <ac:grpSpMk id="1086" creationId="{BD769A70-F290-2C3C-5E7C-335765FD378B}"/>
          </ac:grpSpMkLst>
        </pc:grpChg>
        <pc:grpChg chg="del">
          <ac:chgData name="Alex Powers" userId="ae4a1fc7-4395-46d3-b2f1-3b3c37036ad1" providerId="ADAL" clId="{FF07999E-EC8D-435C-95D5-B8CD345C58D7}" dt="2023-03-03T16:54:54.288" v="4029" actId="478"/>
          <ac:grpSpMkLst>
            <pc:docMk/>
            <pc:sldMk cId="1290944113" sldId="2147470065"/>
            <ac:grpSpMk id="1087" creationId="{DA966F6E-EC5F-860E-5BDA-D9FA8A2EE0CE}"/>
          </ac:grpSpMkLst>
        </pc:grpChg>
        <pc:grpChg chg="del">
          <ac:chgData name="Alex Powers" userId="ae4a1fc7-4395-46d3-b2f1-3b3c37036ad1" providerId="ADAL" clId="{FF07999E-EC8D-435C-95D5-B8CD345C58D7}" dt="2023-03-03T16:54:44.675" v="4028" actId="478"/>
          <ac:grpSpMkLst>
            <pc:docMk/>
            <pc:sldMk cId="1290944113" sldId="2147470065"/>
            <ac:grpSpMk id="1092" creationId="{8D34BAA7-F68E-7EE6-D2EA-CB49CDF53E14}"/>
          </ac:grpSpMkLst>
        </pc:grpChg>
        <pc:picChg chg="add del mod">
          <ac:chgData name="Alex Powers" userId="ae4a1fc7-4395-46d3-b2f1-3b3c37036ad1" providerId="ADAL" clId="{FF07999E-EC8D-435C-95D5-B8CD345C58D7}" dt="2023-03-03T16:56:31.797" v="4047" actId="478"/>
          <ac:picMkLst>
            <pc:docMk/>
            <pc:sldMk cId="1290944113" sldId="2147470065"/>
            <ac:picMk id="5" creationId="{BEFE7503-A238-A5DE-51F4-9674A7649CEC}"/>
          </ac:picMkLst>
        </pc:picChg>
        <pc:picChg chg="add del mod">
          <ac:chgData name="Alex Powers" userId="ae4a1fc7-4395-46d3-b2f1-3b3c37036ad1" providerId="ADAL" clId="{FF07999E-EC8D-435C-95D5-B8CD345C58D7}" dt="2023-03-03T16:56:31.390" v="4046" actId="478"/>
          <ac:picMkLst>
            <pc:docMk/>
            <pc:sldMk cId="1290944113" sldId="2147470065"/>
            <ac:picMk id="6" creationId="{83920DCF-028C-283B-F7A7-619444A2210B}"/>
          </ac:picMkLst>
        </pc:picChg>
        <pc:picChg chg="add del mod">
          <ac:chgData name="Alex Powers" userId="ae4a1fc7-4395-46d3-b2f1-3b3c37036ad1" providerId="ADAL" clId="{FF07999E-EC8D-435C-95D5-B8CD345C58D7}" dt="2023-03-03T16:56:32.337" v="4048" actId="478"/>
          <ac:picMkLst>
            <pc:docMk/>
            <pc:sldMk cId="1290944113" sldId="2147470065"/>
            <ac:picMk id="7" creationId="{87FCB269-3F9A-CAE4-C6C6-36E019E03B21}"/>
          </ac:picMkLst>
        </pc:picChg>
        <pc:picChg chg="add mod">
          <ac:chgData name="Alex Powers" userId="ae4a1fc7-4395-46d3-b2f1-3b3c37036ad1" providerId="ADAL" clId="{FF07999E-EC8D-435C-95D5-B8CD345C58D7}" dt="2023-03-03T17:24:29.823" v="4568" actId="1035"/>
          <ac:picMkLst>
            <pc:docMk/>
            <pc:sldMk cId="1290944113" sldId="2147470065"/>
            <ac:picMk id="8" creationId="{600F87CA-4F82-43D6-AA46-02F38CB23A35}"/>
          </ac:picMkLst>
        </pc:picChg>
        <pc:picChg chg="add mod">
          <ac:chgData name="Alex Powers" userId="ae4a1fc7-4395-46d3-b2f1-3b3c37036ad1" providerId="ADAL" clId="{FF07999E-EC8D-435C-95D5-B8CD345C58D7}" dt="2023-03-03T17:24:29.823" v="4568" actId="1035"/>
          <ac:picMkLst>
            <pc:docMk/>
            <pc:sldMk cId="1290944113" sldId="2147470065"/>
            <ac:picMk id="9" creationId="{8F58B164-EEDE-109E-286B-B06A502EA0E7}"/>
          </ac:picMkLst>
        </pc:picChg>
        <pc:picChg chg="add mod">
          <ac:chgData name="Alex Powers" userId="ae4a1fc7-4395-46d3-b2f1-3b3c37036ad1" providerId="ADAL" clId="{FF07999E-EC8D-435C-95D5-B8CD345C58D7}" dt="2023-03-03T17:24:29.823" v="4568" actId="1035"/>
          <ac:picMkLst>
            <pc:docMk/>
            <pc:sldMk cId="1290944113" sldId="2147470065"/>
            <ac:picMk id="10" creationId="{C45F612D-E9AD-88DE-218F-755280C3319F}"/>
          </ac:picMkLst>
        </pc:picChg>
        <pc:picChg chg="add del mod">
          <ac:chgData name="Alex Powers" userId="ae4a1fc7-4395-46d3-b2f1-3b3c37036ad1" providerId="ADAL" clId="{FF07999E-EC8D-435C-95D5-B8CD345C58D7}" dt="2023-03-03T16:57:42" v="4060" actId="478"/>
          <ac:picMkLst>
            <pc:docMk/>
            <pc:sldMk cId="1290944113" sldId="2147470065"/>
            <ac:picMk id="18" creationId="{A7332E2A-5951-1E20-B383-B2159FA30FBA}"/>
          </ac:picMkLst>
        </pc:picChg>
        <pc:picChg chg="add del mod topLvl">
          <ac:chgData name="Alex Powers" userId="ae4a1fc7-4395-46d3-b2f1-3b3c37036ad1" providerId="ADAL" clId="{FF07999E-EC8D-435C-95D5-B8CD345C58D7}" dt="2023-03-03T16:58:33.191" v="4074" actId="478"/>
          <ac:picMkLst>
            <pc:docMk/>
            <pc:sldMk cId="1290944113" sldId="2147470065"/>
            <ac:picMk id="21" creationId="{FEC3C7CB-3B80-8C1F-23E7-55A989282BE5}"/>
          </ac:picMkLst>
        </pc:picChg>
        <pc:picChg chg="add mod ord topLvl">
          <ac:chgData name="Alex Powers" userId="ae4a1fc7-4395-46d3-b2f1-3b3c37036ad1" providerId="ADAL" clId="{FF07999E-EC8D-435C-95D5-B8CD345C58D7}" dt="2023-03-03T16:58:50.640" v="4079" actId="1076"/>
          <ac:picMkLst>
            <pc:docMk/>
            <pc:sldMk cId="1290944113" sldId="2147470065"/>
            <ac:picMk id="22" creationId="{7FEA1831-9D96-9CF7-9DE5-BEBDE62C9619}"/>
          </ac:picMkLst>
        </pc:picChg>
        <pc:picChg chg="add mod">
          <ac:chgData name="Alex Powers" userId="ae4a1fc7-4395-46d3-b2f1-3b3c37036ad1" providerId="ADAL" clId="{FF07999E-EC8D-435C-95D5-B8CD345C58D7}" dt="2023-03-03T16:58:50.640" v="4079" actId="1076"/>
          <ac:picMkLst>
            <pc:docMk/>
            <pc:sldMk cId="1290944113" sldId="2147470065"/>
            <ac:picMk id="25" creationId="{F7A16294-0E94-ED1C-C98D-502549DDC670}"/>
          </ac:picMkLst>
        </pc:picChg>
        <pc:picChg chg="add del mod">
          <ac:chgData name="Alex Powers" userId="ae4a1fc7-4395-46d3-b2f1-3b3c37036ad1" providerId="ADAL" clId="{FF07999E-EC8D-435C-95D5-B8CD345C58D7}" dt="2023-03-03T16:59:25.081" v="4087" actId="478"/>
          <ac:picMkLst>
            <pc:docMk/>
            <pc:sldMk cId="1290944113" sldId="2147470065"/>
            <ac:picMk id="30" creationId="{3667356A-4D0A-4D90-5C70-689A0CDFE576}"/>
          </ac:picMkLst>
        </pc:picChg>
        <pc:picChg chg="add del mod">
          <ac:chgData name="Alex Powers" userId="ae4a1fc7-4395-46d3-b2f1-3b3c37036ad1" providerId="ADAL" clId="{FF07999E-EC8D-435C-95D5-B8CD345C58D7}" dt="2023-03-03T17:00:00.092" v="4093" actId="21"/>
          <ac:picMkLst>
            <pc:docMk/>
            <pc:sldMk cId="1290944113" sldId="2147470065"/>
            <ac:picMk id="38" creationId="{7AEC1E2F-195E-B760-DA67-CBC210D08115}"/>
          </ac:picMkLst>
        </pc:picChg>
        <pc:picChg chg="add del mod">
          <ac:chgData name="Alex Powers" userId="ae4a1fc7-4395-46d3-b2f1-3b3c37036ad1" providerId="ADAL" clId="{FF07999E-EC8D-435C-95D5-B8CD345C58D7}" dt="2023-03-03T17:00:07.080" v="4095" actId="478"/>
          <ac:picMkLst>
            <pc:docMk/>
            <pc:sldMk cId="1290944113" sldId="2147470065"/>
            <ac:picMk id="40" creationId="{E573D438-019F-74C0-D0C5-C127D95BED11}"/>
          </ac:picMkLst>
        </pc:picChg>
        <pc:picChg chg="add mod ord">
          <ac:chgData name="Alex Powers" userId="ae4a1fc7-4395-46d3-b2f1-3b3c37036ad1" providerId="ADAL" clId="{FF07999E-EC8D-435C-95D5-B8CD345C58D7}" dt="2023-03-03T17:24:29.823" v="4568" actId="1035"/>
          <ac:picMkLst>
            <pc:docMk/>
            <pc:sldMk cId="1290944113" sldId="2147470065"/>
            <ac:picMk id="60" creationId="{773A50FC-1B9A-E986-C9EA-5667BF760BA8}"/>
          </ac:picMkLst>
        </pc:picChg>
        <pc:picChg chg="add del mod">
          <ac:chgData name="Alex Powers" userId="ae4a1fc7-4395-46d3-b2f1-3b3c37036ad1" providerId="ADAL" clId="{FF07999E-EC8D-435C-95D5-B8CD345C58D7}" dt="2023-03-03T17:09:32.315" v="4300" actId="478"/>
          <ac:picMkLst>
            <pc:docMk/>
            <pc:sldMk cId="1290944113" sldId="2147470065"/>
            <ac:picMk id="1042" creationId="{A7BBDC92-EC1A-248E-CAF3-7BC53D34556D}"/>
          </ac:picMkLst>
        </pc:picChg>
        <pc:picChg chg="add mod">
          <ac:chgData name="Alex Powers" userId="ae4a1fc7-4395-46d3-b2f1-3b3c37036ad1" providerId="ADAL" clId="{FF07999E-EC8D-435C-95D5-B8CD345C58D7}" dt="2023-03-03T17:24:29.823" v="4568" actId="1035"/>
          <ac:picMkLst>
            <pc:docMk/>
            <pc:sldMk cId="1290944113" sldId="2147470065"/>
            <ac:picMk id="1046" creationId="{76FB850E-5920-140C-F635-617D9CC116E2}"/>
          </ac:picMkLst>
        </pc:picChg>
        <pc:cxnChg chg="add mod">
          <ac:chgData name="Alex Powers" userId="ae4a1fc7-4395-46d3-b2f1-3b3c37036ad1" providerId="ADAL" clId="{FF07999E-EC8D-435C-95D5-B8CD345C58D7}" dt="2023-03-03T17:24:29.823" v="4568" actId="1035"/>
          <ac:cxnSpMkLst>
            <pc:docMk/>
            <pc:sldMk cId="1290944113" sldId="2147470065"/>
            <ac:cxnSpMk id="12" creationId="{C6F81F86-8BD9-A180-E5E7-269ABDF0FC0A}"/>
          </ac:cxnSpMkLst>
        </pc:cxnChg>
        <pc:cxnChg chg="add del mod">
          <ac:chgData name="Alex Powers" userId="ae4a1fc7-4395-46d3-b2f1-3b3c37036ad1" providerId="ADAL" clId="{FF07999E-EC8D-435C-95D5-B8CD345C58D7}" dt="2023-03-03T17:03:13.523" v="4152" actId="478"/>
          <ac:cxnSpMkLst>
            <pc:docMk/>
            <pc:sldMk cId="1290944113" sldId="2147470065"/>
            <ac:cxnSpMk id="1031" creationId="{068DC62D-1225-3731-7624-0DCE6EE5900E}"/>
          </ac:cxnSpMkLst>
        </pc:cxnChg>
        <pc:cxnChg chg="add del mod">
          <ac:chgData name="Alex Powers" userId="ae4a1fc7-4395-46d3-b2f1-3b3c37036ad1" providerId="ADAL" clId="{FF07999E-EC8D-435C-95D5-B8CD345C58D7}" dt="2023-03-03T17:06:17.207" v="4280" actId="478"/>
          <ac:cxnSpMkLst>
            <pc:docMk/>
            <pc:sldMk cId="1290944113" sldId="2147470065"/>
            <ac:cxnSpMk id="1037" creationId="{DD015212-4F3D-9D7E-9DE2-6D83A18998D5}"/>
          </ac:cxnSpMkLst>
        </pc:cxnChg>
      </pc:sldChg>
      <pc:sldMasterChg chg="delSldLayout">
        <pc:chgData name="Alex Powers" userId="ae4a1fc7-4395-46d3-b2f1-3b3c37036ad1" providerId="ADAL" clId="{FF07999E-EC8D-435C-95D5-B8CD345C58D7}" dt="2023-02-08T17:50:24.620" v="85" actId="47"/>
        <pc:sldMasterMkLst>
          <pc:docMk/>
          <pc:sldMasterMk cId="3746029279" sldId="2147484590"/>
        </pc:sldMasterMkLst>
        <pc:sldLayoutChg chg="del">
          <pc:chgData name="Alex Powers" userId="ae4a1fc7-4395-46d3-b2f1-3b3c37036ad1" providerId="ADAL" clId="{FF07999E-EC8D-435C-95D5-B8CD345C58D7}" dt="2023-02-08T17:50:24.620" v="85" actId="47"/>
          <pc:sldLayoutMkLst>
            <pc:docMk/>
            <pc:sldMasterMk cId="3746029279" sldId="2147484590"/>
            <pc:sldLayoutMk cId="2618934949" sldId="2147485327"/>
          </pc:sldLayoutMkLst>
        </pc:sldLayoutChg>
      </pc:sldMasterChg>
    </pc:docChg>
  </pc:docChgLst>
  <pc:docChgLst>
    <pc:chgData name="Alex Powers" userId="ae4a1fc7-4395-46d3-b2f1-3b3c37036ad1" providerId="ADAL" clId="{CA276D41-AFC9-4BEF-B6EE-46680A52C501}"/>
    <pc:docChg chg="undo redo custSel addSld delSld modSld sldOrd modSection">
      <pc:chgData name="Alex Powers" userId="ae4a1fc7-4395-46d3-b2f1-3b3c37036ad1" providerId="ADAL" clId="{CA276D41-AFC9-4BEF-B6EE-46680A52C501}" dt="2022-09-22T15:20:49.453" v="5404" actId="12789"/>
      <pc:docMkLst>
        <pc:docMk/>
      </pc:docMkLst>
      <pc:sldChg chg="addSp modSp mod">
        <pc:chgData name="Alex Powers" userId="ae4a1fc7-4395-46d3-b2f1-3b3c37036ad1" providerId="ADAL" clId="{CA276D41-AFC9-4BEF-B6EE-46680A52C501}" dt="2022-09-21T18:09:01.656" v="849" actId="20577"/>
        <pc:sldMkLst>
          <pc:docMk/>
          <pc:sldMk cId="590324826" sldId="331"/>
        </pc:sldMkLst>
        <pc:spChg chg="add mod">
          <ac:chgData name="Alex Powers" userId="ae4a1fc7-4395-46d3-b2f1-3b3c37036ad1" providerId="ADAL" clId="{CA276D41-AFC9-4BEF-B6EE-46680A52C501}" dt="2022-09-21T17:20:03.716" v="742" actId="1076"/>
          <ac:spMkLst>
            <pc:docMk/>
            <pc:sldMk cId="590324826" sldId="331"/>
            <ac:spMk id="4" creationId="{073A8F06-C566-BAFF-6E2C-C7B7BAA5FABC}"/>
          </ac:spMkLst>
        </pc:spChg>
        <pc:graphicFrameChg chg="modGraphic">
          <ac:chgData name="Alex Powers" userId="ae4a1fc7-4395-46d3-b2f1-3b3c37036ad1" providerId="ADAL" clId="{CA276D41-AFC9-4BEF-B6EE-46680A52C501}" dt="2022-09-21T18:09:01.656" v="849" actId="20577"/>
          <ac:graphicFrameMkLst>
            <pc:docMk/>
            <pc:sldMk cId="590324826" sldId="331"/>
            <ac:graphicFrameMk id="7" creationId="{3E5C1877-83B6-43B2-8D9F-D6B32A5B8BB7}"/>
          </ac:graphicFrameMkLst>
        </pc:graphicFrameChg>
      </pc:sldChg>
      <pc:sldChg chg="ord">
        <pc:chgData name="Alex Powers" userId="ae4a1fc7-4395-46d3-b2f1-3b3c37036ad1" providerId="ADAL" clId="{CA276D41-AFC9-4BEF-B6EE-46680A52C501}" dt="2022-09-22T15:14:23.018" v="5274"/>
        <pc:sldMkLst>
          <pc:docMk/>
          <pc:sldMk cId="640778274" sldId="376"/>
        </pc:sldMkLst>
      </pc:sldChg>
      <pc:sldChg chg="add">
        <pc:chgData name="Alex Powers" userId="ae4a1fc7-4395-46d3-b2f1-3b3c37036ad1" providerId="ADAL" clId="{CA276D41-AFC9-4BEF-B6EE-46680A52C501}" dt="2022-09-21T17:30:51.937" v="759"/>
        <pc:sldMkLst>
          <pc:docMk/>
          <pc:sldMk cId="2081997488" sldId="452"/>
        </pc:sldMkLst>
      </pc:sldChg>
      <pc:sldChg chg="del">
        <pc:chgData name="Alex Powers" userId="ae4a1fc7-4395-46d3-b2f1-3b3c37036ad1" providerId="ADAL" clId="{CA276D41-AFC9-4BEF-B6EE-46680A52C501}" dt="2022-09-21T17:30:48.037" v="758" actId="2696"/>
        <pc:sldMkLst>
          <pc:docMk/>
          <pc:sldMk cId="4176326124" sldId="452"/>
        </pc:sldMkLst>
      </pc:sldChg>
      <pc:sldChg chg="modTransition">
        <pc:chgData name="Alex Powers" userId="ae4a1fc7-4395-46d3-b2f1-3b3c37036ad1" providerId="ADAL" clId="{CA276D41-AFC9-4BEF-B6EE-46680A52C501}" dt="2022-09-21T12:44:01.891" v="0"/>
        <pc:sldMkLst>
          <pc:docMk/>
          <pc:sldMk cId="3586899211" sldId="565"/>
        </pc:sldMkLst>
      </pc:sldChg>
      <pc:sldChg chg="add del">
        <pc:chgData name="Alex Powers" userId="ae4a1fc7-4395-46d3-b2f1-3b3c37036ad1" providerId="ADAL" clId="{CA276D41-AFC9-4BEF-B6EE-46680A52C501}" dt="2022-09-21T17:56:51.800" v="796" actId="2696"/>
        <pc:sldMkLst>
          <pc:docMk/>
          <pc:sldMk cId="128019046" sldId="2980"/>
        </pc:sldMkLst>
      </pc:sldChg>
      <pc:sldChg chg="add del">
        <pc:chgData name="Alex Powers" userId="ae4a1fc7-4395-46d3-b2f1-3b3c37036ad1" providerId="ADAL" clId="{CA276D41-AFC9-4BEF-B6EE-46680A52C501}" dt="2022-09-21T17:56:13.495" v="788"/>
        <pc:sldMkLst>
          <pc:docMk/>
          <pc:sldMk cId="273647098" sldId="2980"/>
        </pc:sldMkLst>
      </pc:sldChg>
      <pc:sldChg chg="add">
        <pc:chgData name="Alex Powers" userId="ae4a1fc7-4395-46d3-b2f1-3b3c37036ad1" providerId="ADAL" clId="{CA276D41-AFC9-4BEF-B6EE-46680A52C501}" dt="2022-09-21T17:56:55.544" v="797"/>
        <pc:sldMkLst>
          <pc:docMk/>
          <pc:sldMk cId="1604298163" sldId="2980"/>
        </pc:sldMkLst>
      </pc:sldChg>
      <pc:sldChg chg="del">
        <pc:chgData name="Alex Powers" userId="ae4a1fc7-4395-46d3-b2f1-3b3c37036ad1" providerId="ADAL" clId="{CA276D41-AFC9-4BEF-B6EE-46680A52C501}" dt="2022-09-21T17:56:01.790" v="786" actId="2696"/>
        <pc:sldMkLst>
          <pc:docMk/>
          <pc:sldMk cId="2294182962" sldId="2980"/>
        </pc:sldMkLst>
      </pc:sldChg>
      <pc:sldChg chg="add">
        <pc:chgData name="Alex Powers" userId="ae4a1fc7-4395-46d3-b2f1-3b3c37036ad1" providerId="ADAL" clId="{CA276D41-AFC9-4BEF-B6EE-46680A52C501}" dt="2022-09-21T17:56:55.544" v="797"/>
        <pc:sldMkLst>
          <pc:docMk/>
          <pc:sldMk cId="1352095539" sldId="8747"/>
        </pc:sldMkLst>
      </pc:sldChg>
      <pc:sldChg chg="del">
        <pc:chgData name="Alex Powers" userId="ae4a1fc7-4395-46d3-b2f1-3b3c37036ad1" providerId="ADAL" clId="{CA276D41-AFC9-4BEF-B6EE-46680A52C501}" dt="2022-09-21T17:56:01.790" v="786" actId="2696"/>
        <pc:sldMkLst>
          <pc:docMk/>
          <pc:sldMk cId="1425196971" sldId="8747"/>
        </pc:sldMkLst>
      </pc:sldChg>
      <pc:sldChg chg="add del">
        <pc:chgData name="Alex Powers" userId="ae4a1fc7-4395-46d3-b2f1-3b3c37036ad1" providerId="ADAL" clId="{CA276D41-AFC9-4BEF-B6EE-46680A52C501}" dt="2022-09-21T17:56:51.800" v="796" actId="2696"/>
        <pc:sldMkLst>
          <pc:docMk/>
          <pc:sldMk cId="2904193164" sldId="8747"/>
        </pc:sldMkLst>
      </pc:sldChg>
      <pc:sldChg chg="add del">
        <pc:chgData name="Alex Powers" userId="ae4a1fc7-4395-46d3-b2f1-3b3c37036ad1" providerId="ADAL" clId="{CA276D41-AFC9-4BEF-B6EE-46680A52C501}" dt="2022-09-21T17:56:13.495" v="788"/>
        <pc:sldMkLst>
          <pc:docMk/>
          <pc:sldMk cId="3463218286" sldId="8747"/>
        </pc:sldMkLst>
      </pc:sldChg>
      <pc:sldChg chg="add">
        <pc:chgData name="Alex Powers" userId="ae4a1fc7-4395-46d3-b2f1-3b3c37036ad1" providerId="ADAL" clId="{CA276D41-AFC9-4BEF-B6EE-46680A52C501}" dt="2022-09-21T17:56:55.544" v="797"/>
        <pc:sldMkLst>
          <pc:docMk/>
          <pc:sldMk cId="661967785" sldId="8748"/>
        </pc:sldMkLst>
      </pc:sldChg>
      <pc:sldChg chg="add del">
        <pc:chgData name="Alex Powers" userId="ae4a1fc7-4395-46d3-b2f1-3b3c37036ad1" providerId="ADAL" clId="{CA276D41-AFC9-4BEF-B6EE-46680A52C501}" dt="2022-09-21T17:56:13.495" v="788"/>
        <pc:sldMkLst>
          <pc:docMk/>
          <pc:sldMk cId="703330947" sldId="8748"/>
        </pc:sldMkLst>
      </pc:sldChg>
      <pc:sldChg chg="add del">
        <pc:chgData name="Alex Powers" userId="ae4a1fc7-4395-46d3-b2f1-3b3c37036ad1" providerId="ADAL" clId="{CA276D41-AFC9-4BEF-B6EE-46680A52C501}" dt="2022-09-21T17:56:51.800" v="796" actId="2696"/>
        <pc:sldMkLst>
          <pc:docMk/>
          <pc:sldMk cId="2890785978" sldId="8748"/>
        </pc:sldMkLst>
      </pc:sldChg>
      <pc:sldChg chg="del mod modShow">
        <pc:chgData name="Alex Powers" userId="ae4a1fc7-4395-46d3-b2f1-3b3c37036ad1" providerId="ADAL" clId="{CA276D41-AFC9-4BEF-B6EE-46680A52C501}" dt="2022-09-21T17:56:01.790" v="786" actId="2696"/>
        <pc:sldMkLst>
          <pc:docMk/>
          <pc:sldMk cId="2966015754" sldId="8748"/>
        </pc:sldMkLst>
      </pc:sldChg>
      <pc:sldChg chg="del">
        <pc:chgData name="Alex Powers" userId="ae4a1fc7-4395-46d3-b2f1-3b3c37036ad1" providerId="ADAL" clId="{CA276D41-AFC9-4BEF-B6EE-46680A52C501}" dt="2022-09-21T17:30:48.037" v="758" actId="2696"/>
        <pc:sldMkLst>
          <pc:docMk/>
          <pc:sldMk cId="1887737446" sldId="2134805322"/>
        </pc:sldMkLst>
      </pc:sldChg>
      <pc:sldChg chg="delSp modSp add mod delAnim modAnim">
        <pc:chgData name="Alex Powers" userId="ae4a1fc7-4395-46d3-b2f1-3b3c37036ad1" providerId="ADAL" clId="{CA276D41-AFC9-4BEF-B6EE-46680A52C501}" dt="2022-09-21T20:19:37.109" v="1018"/>
        <pc:sldMkLst>
          <pc:docMk/>
          <pc:sldMk cId="2722310442" sldId="2134805322"/>
        </pc:sldMkLst>
        <pc:spChg chg="del">
          <ac:chgData name="Alex Powers" userId="ae4a1fc7-4395-46d3-b2f1-3b3c37036ad1" providerId="ADAL" clId="{CA276D41-AFC9-4BEF-B6EE-46680A52C501}" dt="2022-09-21T17:52:24.485" v="771" actId="478"/>
          <ac:spMkLst>
            <pc:docMk/>
            <pc:sldMk cId="2722310442" sldId="2134805322"/>
            <ac:spMk id="7" creationId="{00000000-0000-0000-0000-000000000000}"/>
          </ac:spMkLst>
        </pc:spChg>
        <pc:spChg chg="del mod">
          <ac:chgData name="Alex Powers" userId="ae4a1fc7-4395-46d3-b2f1-3b3c37036ad1" providerId="ADAL" clId="{CA276D41-AFC9-4BEF-B6EE-46680A52C501}" dt="2022-09-21T17:52:21.133" v="770" actId="478"/>
          <ac:spMkLst>
            <pc:docMk/>
            <pc:sldMk cId="2722310442" sldId="2134805322"/>
            <ac:spMk id="11" creationId="{00000000-0000-0000-0000-000000000000}"/>
          </ac:spMkLst>
        </pc:spChg>
        <pc:spChg chg="mod">
          <ac:chgData name="Alex Powers" userId="ae4a1fc7-4395-46d3-b2f1-3b3c37036ad1" providerId="ADAL" clId="{CA276D41-AFC9-4BEF-B6EE-46680A52C501}" dt="2022-09-21T17:52:16.579" v="768" actId="21"/>
          <ac:spMkLst>
            <pc:docMk/>
            <pc:sldMk cId="2722310442" sldId="2134805322"/>
            <ac:spMk id="14" creationId="{870E74A7-55E3-4A2E-BAA5-7145B4E4C2D1}"/>
          </ac:spMkLst>
        </pc:spChg>
        <pc:spChg chg="del topLvl">
          <ac:chgData name="Alex Powers" userId="ae4a1fc7-4395-46d3-b2f1-3b3c37036ad1" providerId="ADAL" clId="{CA276D41-AFC9-4BEF-B6EE-46680A52C501}" dt="2022-09-21T17:53:01.946" v="772" actId="478"/>
          <ac:spMkLst>
            <pc:docMk/>
            <pc:sldMk cId="2722310442" sldId="2134805322"/>
            <ac:spMk id="29" creationId="{D35C2071-A088-4E1F-B660-883E003F8DE1}"/>
          </ac:spMkLst>
        </pc:spChg>
        <pc:spChg chg="mod topLvl">
          <ac:chgData name="Alex Powers" userId="ae4a1fc7-4395-46d3-b2f1-3b3c37036ad1" providerId="ADAL" clId="{CA276D41-AFC9-4BEF-B6EE-46680A52C501}" dt="2022-09-21T17:53:18.481" v="783" actId="20577"/>
          <ac:spMkLst>
            <pc:docMk/>
            <pc:sldMk cId="2722310442" sldId="2134805322"/>
            <ac:spMk id="45" creationId="{EAF243BA-79BB-4E9B-A926-13A91B678701}"/>
          </ac:spMkLst>
        </pc:spChg>
        <pc:spChg chg="del">
          <ac:chgData name="Alex Powers" userId="ae4a1fc7-4395-46d3-b2f1-3b3c37036ad1" providerId="ADAL" clId="{CA276D41-AFC9-4BEF-B6EE-46680A52C501}" dt="2022-09-21T17:52:08.380" v="766" actId="478"/>
          <ac:spMkLst>
            <pc:docMk/>
            <pc:sldMk cId="2722310442" sldId="2134805322"/>
            <ac:spMk id="49" creationId="{2BC01710-A7E0-42E2-B935-77DDB32A2F51}"/>
          </ac:spMkLst>
        </pc:spChg>
        <pc:grpChg chg="del">
          <ac:chgData name="Alex Powers" userId="ae4a1fc7-4395-46d3-b2f1-3b3c37036ad1" providerId="ADAL" clId="{CA276D41-AFC9-4BEF-B6EE-46680A52C501}" dt="2022-09-21T17:53:01.946" v="772" actId="478"/>
          <ac:grpSpMkLst>
            <pc:docMk/>
            <pc:sldMk cId="2722310442" sldId="2134805322"/>
            <ac:grpSpMk id="5" creationId="{6351B261-DE54-4A46-AEE7-050960FD222F}"/>
          </ac:grpSpMkLst>
        </pc:grpChg>
        <pc:grpChg chg="del">
          <ac:chgData name="Alex Powers" userId="ae4a1fc7-4395-46d3-b2f1-3b3c37036ad1" providerId="ADAL" clId="{CA276D41-AFC9-4BEF-B6EE-46680A52C501}" dt="2022-09-21T17:52:24.485" v="771" actId="478"/>
          <ac:grpSpMkLst>
            <pc:docMk/>
            <pc:sldMk cId="2722310442" sldId="2134805322"/>
            <ac:grpSpMk id="42" creationId="{CAB7A3C9-4208-4D23-9CA0-CF663A8DCC8E}"/>
          </ac:grpSpMkLst>
        </pc:grpChg>
        <pc:grpChg chg="del">
          <ac:chgData name="Alex Powers" userId="ae4a1fc7-4395-46d3-b2f1-3b3c37036ad1" providerId="ADAL" clId="{CA276D41-AFC9-4BEF-B6EE-46680A52C501}" dt="2022-09-21T17:52:08.380" v="766" actId="478"/>
          <ac:grpSpMkLst>
            <pc:docMk/>
            <pc:sldMk cId="2722310442" sldId="2134805322"/>
            <ac:grpSpMk id="51" creationId="{F7EDDFA3-7F6C-4A71-94F7-1EFBE437B135}"/>
          </ac:grpSpMkLst>
        </pc:grpChg>
      </pc:sldChg>
      <pc:sldChg chg="addSp delSp modSp mod">
        <pc:chgData name="Alex Powers" userId="ae4a1fc7-4395-46d3-b2f1-3b3c37036ad1" providerId="ADAL" clId="{CA276D41-AFC9-4BEF-B6EE-46680A52C501}" dt="2022-09-21T14:14:47.666" v="666" actId="1076"/>
        <pc:sldMkLst>
          <pc:docMk/>
          <pc:sldMk cId="1827504476" sldId="2134805339"/>
        </pc:sldMkLst>
        <pc:spChg chg="del mod">
          <ac:chgData name="Alex Powers" userId="ae4a1fc7-4395-46d3-b2f1-3b3c37036ad1" providerId="ADAL" clId="{CA276D41-AFC9-4BEF-B6EE-46680A52C501}" dt="2022-09-21T12:46:33.041" v="19" actId="478"/>
          <ac:spMkLst>
            <pc:docMk/>
            <pc:sldMk cId="1827504476" sldId="2134805339"/>
            <ac:spMk id="27" creationId="{C8E78701-D2C8-4E18-A35E-4BEB7BFC1EDD}"/>
          </ac:spMkLst>
        </pc:spChg>
        <pc:spChg chg="del">
          <ac:chgData name="Alex Powers" userId="ae4a1fc7-4395-46d3-b2f1-3b3c37036ad1" providerId="ADAL" clId="{CA276D41-AFC9-4BEF-B6EE-46680A52C501}" dt="2022-09-21T12:46:26.296" v="17" actId="478"/>
          <ac:spMkLst>
            <pc:docMk/>
            <pc:sldMk cId="1827504476" sldId="2134805339"/>
            <ac:spMk id="28" creationId="{9E374483-B2C0-4286-B823-20F29BF06326}"/>
          </ac:spMkLst>
        </pc:spChg>
        <pc:spChg chg="add mod">
          <ac:chgData name="Alex Powers" userId="ae4a1fc7-4395-46d3-b2f1-3b3c37036ad1" providerId="ADAL" clId="{CA276D41-AFC9-4BEF-B6EE-46680A52C501}" dt="2022-09-21T14:13:02.820" v="640" actId="1076"/>
          <ac:spMkLst>
            <pc:docMk/>
            <pc:sldMk cId="1827504476" sldId="2134805339"/>
            <ac:spMk id="36" creationId="{C8F5599B-785E-4D66-4E43-842D79084B77}"/>
          </ac:spMkLst>
        </pc:spChg>
        <pc:spChg chg="mod">
          <ac:chgData name="Alex Powers" userId="ae4a1fc7-4395-46d3-b2f1-3b3c37036ad1" providerId="ADAL" clId="{CA276D41-AFC9-4BEF-B6EE-46680A52C501}" dt="2022-09-21T14:12:14.124" v="605" actId="1076"/>
          <ac:spMkLst>
            <pc:docMk/>
            <pc:sldMk cId="1827504476" sldId="2134805339"/>
            <ac:spMk id="61" creationId="{FE7C3B3B-A85B-4DA2-8FED-DAD84A1EF3B6}"/>
          </ac:spMkLst>
        </pc:spChg>
        <pc:spChg chg="add del mod">
          <ac:chgData name="Alex Powers" userId="ae4a1fc7-4395-46d3-b2f1-3b3c37036ad1" providerId="ADAL" clId="{CA276D41-AFC9-4BEF-B6EE-46680A52C501}" dt="2022-09-21T14:14:47.666" v="666" actId="1076"/>
          <ac:spMkLst>
            <pc:docMk/>
            <pc:sldMk cId="1827504476" sldId="2134805339"/>
            <ac:spMk id="67" creationId="{B8D7F6F7-4B4A-A599-3291-941EC7E92545}"/>
          </ac:spMkLst>
        </pc:spChg>
        <pc:grpChg chg="mod">
          <ac:chgData name="Alex Powers" userId="ae4a1fc7-4395-46d3-b2f1-3b3c37036ad1" providerId="ADAL" clId="{CA276D41-AFC9-4BEF-B6EE-46680A52C501}" dt="2022-09-21T14:13:55.714" v="652" actId="1076"/>
          <ac:grpSpMkLst>
            <pc:docMk/>
            <pc:sldMk cId="1827504476" sldId="2134805339"/>
            <ac:grpSpMk id="90" creationId="{A02C1347-F432-4150-ADA2-3B80DD5777E4}"/>
          </ac:grpSpMkLst>
        </pc:grpChg>
        <pc:picChg chg="add">
          <ac:chgData name="Alex Powers" userId="ae4a1fc7-4395-46d3-b2f1-3b3c37036ad1" providerId="ADAL" clId="{CA276D41-AFC9-4BEF-B6EE-46680A52C501}" dt="2022-09-21T12:44:29.650" v="3" actId="22"/>
          <ac:picMkLst>
            <pc:docMk/>
            <pc:sldMk cId="1827504476" sldId="2134805339"/>
            <ac:picMk id="26" creationId="{57888D25-86BF-1FB9-65BC-A536E03AAF6B}"/>
          </ac:picMkLst>
        </pc:picChg>
        <pc:picChg chg="add mod">
          <ac:chgData name="Alex Powers" userId="ae4a1fc7-4395-46d3-b2f1-3b3c37036ad1" providerId="ADAL" clId="{CA276D41-AFC9-4BEF-B6EE-46680A52C501}" dt="2022-09-21T12:45:57.070" v="7" actId="1076"/>
          <ac:picMkLst>
            <pc:docMk/>
            <pc:sldMk cId="1827504476" sldId="2134805339"/>
            <ac:picMk id="31" creationId="{0719BB6D-48EC-1033-4908-7C7D8ECA38A9}"/>
          </ac:picMkLst>
        </pc:picChg>
        <pc:picChg chg="add mod">
          <ac:chgData name="Alex Powers" userId="ae4a1fc7-4395-46d3-b2f1-3b3c37036ad1" providerId="ADAL" clId="{CA276D41-AFC9-4BEF-B6EE-46680A52C501}" dt="2022-09-21T14:13:30.624" v="645" actId="1076"/>
          <ac:picMkLst>
            <pc:docMk/>
            <pc:sldMk cId="1827504476" sldId="2134805339"/>
            <ac:picMk id="48" creationId="{2AB9B250-4B78-DCF8-A4BC-2C6A24A73E8C}"/>
          </ac:picMkLst>
        </pc:picChg>
        <pc:picChg chg="add mod ord modCrop">
          <ac:chgData name="Alex Powers" userId="ae4a1fc7-4395-46d3-b2f1-3b3c37036ad1" providerId="ADAL" clId="{CA276D41-AFC9-4BEF-B6EE-46680A52C501}" dt="2022-09-21T14:13:28.656" v="644" actId="1076"/>
          <ac:picMkLst>
            <pc:docMk/>
            <pc:sldMk cId="1827504476" sldId="2134805339"/>
            <ac:picMk id="53" creationId="{8565F088-CC5F-DFB5-32AE-26EC3339D28C}"/>
          </ac:picMkLst>
        </pc:picChg>
        <pc:picChg chg="add mod ord modCrop">
          <ac:chgData name="Alex Powers" userId="ae4a1fc7-4395-46d3-b2f1-3b3c37036ad1" providerId="ADAL" clId="{CA276D41-AFC9-4BEF-B6EE-46680A52C501}" dt="2022-09-21T14:14:38.498" v="662" actId="1076"/>
          <ac:picMkLst>
            <pc:docMk/>
            <pc:sldMk cId="1827504476" sldId="2134805339"/>
            <ac:picMk id="64" creationId="{B153BEF5-B2C2-7032-9213-EF1F0E1452B0}"/>
          </ac:picMkLst>
        </pc:picChg>
      </pc:sldChg>
      <pc:sldChg chg="add del">
        <pc:chgData name="Alex Powers" userId="ae4a1fc7-4395-46d3-b2f1-3b3c37036ad1" providerId="ADAL" clId="{CA276D41-AFC9-4BEF-B6EE-46680A52C501}" dt="2022-09-21T17:56:51.800" v="796" actId="2696"/>
        <pc:sldMkLst>
          <pc:docMk/>
          <pc:sldMk cId="347856300" sldId="2134805340"/>
        </pc:sldMkLst>
      </pc:sldChg>
      <pc:sldChg chg="add">
        <pc:chgData name="Alex Powers" userId="ae4a1fc7-4395-46d3-b2f1-3b3c37036ad1" providerId="ADAL" clId="{CA276D41-AFC9-4BEF-B6EE-46680A52C501}" dt="2022-09-21T17:56:55.544" v="797"/>
        <pc:sldMkLst>
          <pc:docMk/>
          <pc:sldMk cId="1468355621" sldId="2134805340"/>
        </pc:sldMkLst>
      </pc:sldChg>
      <pc:sldChg chg="del mod modShow">
        <pc:chgData name="Alex Powers" userId="ae4a1fc7-4395-46d3-b2f1-3b3c37036ad1" providerId="ADAL" clId="{CA276D41-AFC9-4BEF-B6EE-46680A52C501}" dt="2022-09-21T17:56:01.790" v="786" actId="2696"/>
        <pc:sldMkLst>
          <pc:docMk/>
          <pc:sldMk cId="3770221328" sldId="2134805340"/>
        </pc:sldMkLst>
      </pc:sldChg>
      <pc:sldChg chg="add del">
        <pc:chgData name="Alex Powers" userId="ae4a1fc7-4395-46d3-b2f1-3b3c37036ad1" providerId="ADAL" clId="{CA276D41-AFC9-4BEF-B6EE-46680A52C501}" dt="2022-09-21T17:56:13.495" v="788"/>
        <pc:sldMkLst>
          <pc:docMk/>
          <pc:sldMk cId="4182010785" sldId="2134805340"/>
        </pc:sldMkLst>
      </pc:sldChg>
      <pc:sldChg chg="modTransition modAnim">
        <pc:chgData name="Alex Powers" userId="ae4a1fc7-4395-46d3-b2f1-3b3c37036ad1" providerId="ADAL" clId="{CA276D41-AFC9-4BEF-B6EE-46680A52C501}" dt="2022-09-21T14:31:30.053" v="690"/>
        <pc:sldMkLst>
          <pc:docMk/>
          <pc:sldMk cId="4223309298" sldId="2134805351"/>
        </pc:sldMkLst>
      </pc:sldChg>
      <pc:sldChg chg="modAnim">
        <pc:chgData name="Alex Powers" userId="ae4a1fc7-4395-46d3-b2f1-3b3c37036ad1" providerId="ADAL" clId="{CA276D41-AFC9-4BEF-B6EE-46680A52C501}" dt="2022-09-21T14:32:14.905" v="693"/>
        <pc:sldMkLst>
          <pc:docMk/>
          <pc:sldMk cId="2982386195" sldId="2134805356"/>
        </pc:sldMkLst>
      </pc:sldChg>
      <pc:sldChg chg="del mod modShow">
        <pc:chgData name="Alex Powers" userId="ae4a1fc7-4395-46d3-b2f1-3b3c37036ad1" providerId="ADAL" clId="{CA276D41-AFC9-4BEF-B6EE-46680A52C501}" dt="2022-09-21T17:59:18.922" v="834" actId="47"/>
        <pc:sldMkLst>
          <pc:docMk/>
          <pc:sldMk cId="2791368262" sldId="2134805372"/>
        </pc:sldMkLst>
      </pc:sldChg>
      <pc:sldChg chg="del mod modShow">
        <pc:chgData name="Alex Powers" userId="ae4a1fc7-4395-46d3-b2f1-3b3c37036ad1" providerId="ADAL" clId="{CA276D41-AFC9-4BEF-B6EE-46680A52C501}" dt="2022-09-21T17:59:18.922" v="834" actId="47"/>
        <pc:sldMkLst>
          <pc:docMk/>
          <pc:sldMk cId="1392026805" sldId="2134805373"/>
        </pc:sldMkLst>
      </pc:sldChg>
      <pc:sldChg chg="del mod modShow">
        <pc:chgData name="Alex Powers" userId="ae4a1fc7-4395-46d3-b2f1-3b3c37036ad1" providerId="ADAL" clId="{CA276D41-AFC9-4BEF-B6EE-46680A52C501}" dt="2022-09-21T17:59:18.922" v="834" actId="47"/>
        <pc:sldMkLst>
          <pc:docMk/>
          <pc:sldMk cId="1358884157" sldId="2134805374"/>
        </pc:sldMkLst>
      </pc:sldChg>
      <pc:sldChg chg="del mod modShow">
        <pc:chgData name="Alex Powers" userId="ae4a1fc7-4395-46d3-b2f1-3b3c37036ad1" providerId="ADAL" clId="{CA276D41-AFC9-4BEF-B6EE-46680A52C501}" dt="2022-09-21T17:59:18.922" v="834" actId="47"/>
        <pc:sldMkLst>
          <pc:docMk/>
          <pc:sldMk cId="1556597100" sldId="2134805375"/>
        </pc:sldMkLst>
      </pc:sldChg>
      <pc:sldChg chg="del mod modShow">
        <pc:chgData name="Alex Powers" userId="ae4a1fc7-4395-46d3-b2f1-3b3c37036ad1" providerId="ADAL" clId="{CA276D41-AFC9-4BEF-B6EE-46680A52C501}" dt="2022-09-21T17:59:18.922" v="834" actId="47"/>
        <pc:sldMkLst>
          <pc:docMk/>
          <pc:sldMk cId="2151115752" sldId="2134805376"/>
        </pc:sldMkLst>
      </pc:sldChg>
      <pc:sldChg chg="del mod modShow">
        <pc:chgData name="Alex Powers" userId="ae4a1fc7-4395-46d3-b2f1-3b3c37036ad1" providerId="ADAL" clId="{CA276D41-AFC9-4BEF-B6EE-46680A52C501}" dt="2022-09-21T17:59:18.922" v="834" actId="47"/>
        <pc:sldMkLst>
          <pc:docMk/>
          <pc:sldMk cId="1804451448" sldId="2134805377"/>
        </pc:sldMkLst>
      </pc:sldChg>
      <pc:sldChg chg="del mod modShow">
        <pc:chgData name="Alex Powers" userId="ae4a1fc7-4395-46d3-b2f1-3b3c37036ad1" providerId="ADAL" clId="{CA276D41-AFC9-4BEF-B6EE-46680A52C501}" dt="2022-09-21T17:59:18.922" v="834" actId="47"/>
        <pc:sldMkLst>
          <pc:docMk/>
          <pc:sldMk cId="527622054" sldId="2134805378"/>
        </pc:sldMkLst>
      </pc:sldChg>
      <pc:sldChg chg="add">
        <pc:chgData name="Alex Powers" userId="ae4a1fc7-4395-46d3-b2f1-3b3c37036ad1" providerId="ADAL" clId="{CA276D41-AFC9-4BEF-B6EE-46680A52C501}" dt="2022-09-21T17:58:57.874" v="833"/>
        <pc:sldMkLst>
          <pc:docMk/>
          <pc:sldMk cId="346123479" sldId="2134805380"/>
        </pc:sldMkLst>
      </pc:sldChg>
      <pc:sldChg chg="del">
        <pc:chgData name="Alex Powers" userId="ae4a1fc7-4395-46d3-b2f1-3b3c37036ad1" providerId="ADAL" clId="{CA276D41-AFC9-4BEF-B6EE-46680A52C501}" dt="2022-09-21T17:58:52.384" v="832" actId="2696"/>
        <pc:sldMkLst>
          <pc:docMk/>
          <pc:sldMk cId="3331753161" sldId="2134805380"/>
        </pc:sldMkLst>
      </pc:sldChg>
      <pc:sldChg chg="del">
        <pc:chgData name="Alex Powers" userId="ae4a1fc7-4395-46d3-b2f1-3b3c37036ad1" providerId="ADAL" clId="{CA276D41-AFC9-4BEF-B6EE-46680A52C501}" dt="2022-09-21T17:58:52.384" v="832" actId="2696"/>
        <pc:sldMkLst>
          <pc:docMk/>
          <pc:sldMk cId="213415237" sldId="2134805387"/>
        </pc:sldMkLst>
      </pc:sldChg>
      <pc:sldChg chg="add">
        <pc:chgData name="Alex Powers" userId="ae4a1fc7-4395-46d3-b2f1-3b3c37036ad1" providerId="ADAL" clId="{CA276D41-AFC9-4BEF-B6EE-46680A52C501}" dt="2022-09-21T17:58:57.874" v="833"/>
        <pc:sldMkLst>
          <pc:docMk/>
          <pc:sldMk cId="2487549369" sldId="2134805387"/>
        </pc:sldMkLst>
      </pc:sldChg>
      <pc:sldChg chg="modSp mod">
        <pc:chgData name="Alex Powers" userId="ae4a1fc7-4395-46d3-b2f1-3b3c37036ad1" providerId="ADAL" clId="{CA276D41-AFC9-4BEF-B6EE-46680A52C501}" dt="2022-09-21T13:10:01.299" v="463" actId="20577"/>
        <pc:sldMkLst>
          <pc:docMk/>
          <pc:sldMk cId="1661102681" sldId="2134805399"/>
        </pc:sldMkLst>
        <pc:spChg chg="mod">
          <ac:chgData name="Alex Powers" userId="ae4a1fc7-4395-46d3-b2f1-3b3c37036ad1" providerId="ADAL" clId="{CA276D41-AFC9-4BEF-B6EE-46680A52C501}" dt="2022-09-21T13:10:01.299" v="463" actId="20577"/>
          <ac:spMkLst>
            <pc:docMk/>
            <pc:sldMk cId="1661102681" sldId="2134805399"/>
            <ac:spMk id="7" creationId="{B8369A30-A814-46DD-ABF0-B1D8C1BF2832}"/>
          </ac:spMkLst>
        </pc:spChg>
      </pc:sldChg>
      <pc:sldChg chg="modSp mod">
        <pc:chgData name="Alex Powers" userId="ae4a1fc7-4395-46d3-b2f1-3b3c37036ad1" providerId="ADAL" clId="{CA276D41-AFC9-4BEF-B6EE-46680A52C501}" dt="2022-09-22T14:22:53.372" v="3102"/>
        <pc:sldMkLst>
          <pc:docMk/>
          <pc:sldMk cId="2631673961" sldId="2134805401"/>
        </pc:sldMkLst>
        <pc:spChg chg="mod">
          <ac:chgData name="Alex Powers" userId="ae4a1fc7-4395-46d3-b2f1-3b3c37036ad1" providerId="ADAL" clId="{CA276D41-AFC9-4BEF-B6EE-46680A52C501}" dt="2022-09-22T13:54:59.099" v="1123" actId="1035"/>
          <ac:spMkLst>
            <pc:docMk/>
            <pc:sldMk cId="2631673961" sldId="2134805401"/>
            <ac:spMk id="17" creationId="{64D19349-A129-4AC6-B403-E180872E6D32}"/>
          </ac:spMkLst>
        </pc:spChg>
        <pc:spChg chg="mod">
          <ac:chgData name="Alex Powers" userId="ae4a1fc7-4395-46d3-b2f1-3b3c37036ad1" providerId="ADAL" clId="{CA276D41-AFC9-4BEF-B6EE-46680A52C501}" dt="2022-09-22T13:52:10.220" v="1070" actId="20577"/>
          <ac:spMkLst>
            <pc:docMk/>
            <pc:sldMk cId="2631673961" sldId="2134805401"/>
            <ac:spMk id="21" creationId="{E53D5C8B-6F2E-4178-B677-619905D1D7EB}"/>
          </ac:spMkLst>
        </pc:spChg>
        <pc:spChg chg="mod">
          <ac:chgData name="Alex Powers" userId="ae4a1fc7-4395-46d3-b2f1-3b3c37036ad1" providerId="ADAL" clId="{CA276D41-AFC9-4BEF-B6EE-46680A52C501}" dt="2022-09-22T14:22:53.372" v="3102"/>
          <ac:spMkLst>
            <pc:docMk/>
            <pc:sldMk cId="2631673961" sldId="2134805401"/>
            <ac:spMk id="23" creationId="{60DEC337-7937-44F1-A919-721245D56CD1}"/>
          </ac:spMkLst>
        </pc:spChg>
        <pc:grpChg chg="mod">
          <ac:chgData name="Alex Powers" userId="ae4a1fc7-4395-46d3-b2f1-3b3c37036ad1" providerId="ADAL" clId="{CA276D41-AFC9-4BEF-B6EE-46680A52C501}" dt="2022-09-22T13:54:51.249" v="1109" actId="1076"/>
          <ac:grpSpMkLst>
            <pc:docMk/>
            <pc:sldMk cId="2631673961" sldId="2134805401"/>
            <ac:grpSpMk id="139" creationId="{78E1AD21-B1E1-4AFC-A797-6C906276B8B9}"/>
          </ac:grpSpMkLst>
        </pc:grpChg>
      </pc:sldChg>
      <pc:sldChg chg="modSp">
        <pc:chgData name="Alex Powers" userId="ae4a1fc7-4395-46d3-b2f1-3b3c37036ad1" providerId="ADAL" clId="{CA276D41-AFC9-4BEF-B6EE-46680A52C501}" dt="2022-09-21T12:44:48.882" v="5" actId="20577"/>
        <pc:sldMkLst>
          <pc:docMk/>
          <pc:sldMk cId="4206370663" sldId="2147469889"/>
        </pc:sldMkLst>
        <pc:spChg chg="mod">
          <ac:chgData name="Alex Powers" userId="ae4a1fc7-4395-46d3-b2f1-3b3c37036ad1" providerId="ADAL" clId="{CA276D41-AFC9-4BEF-B6EE-46680A52C501}" dt="2022-09-21T12:44:48.882" v="5" actId="20577"/>
          <ac:spMkLst>
            <pc:docMk/>
            <pc:sldMk cId="4206370663" sldId="2147469889"/>
            <ac:spMk id="4" creationId="{2BA66311-60F0-7F41-AFFC-679A90C63D53}"/>
          </ac:spMkLst>
        </pc:spChg>
      </pc:sldChg>
      <pc:sldChg chg="modSp del mod">
        <pc:chgData name="Alex Powers" userId="ae4a1fc7-4395-46d3-b2f1-3b3c37036ad1" providerId="ADAL" clId="{CA276D41-AFC9-4BEF-B6EE-46680A52C501}" dt="2022-09-22T15:20:13.164" v="5359" actId="47"/>
        <pc:sldMkLst>
          <pc:docMk/>
          <pc:sldMk cId="961617863" sldId="2147469894"/>
        </pc:sldMkLst>
        <pc:spChg chg="mod">
          <ac:chgData name="Alex Powers" userId="ae4a1fc7-4395-46d3-b2f1-3b3c37036ad1" providerId="ADAL" clId="{CA276D41-AFC9-4BEF-B6EE-46680A52C501}" dt="2022-09-21T20:22:28.340" v="1053" actId="20577"/>
          <ac:spMkLst>
            <pc:docMk/>
            <pc:sldMk cId="961617863" sldId="2147469894"/>
            <ac:spMk id="7" creationId="{B8369A30-A814-46DD-ABF0-B1D8C1BF2832}"/>
          </ac:spMkLst>
        </pc:spChg>
      </pc:sldChg>
      <pc:sldChg chg="modSp add del mod">
        <pc:chgData name="Alex Powers" userId="ae4a1fc7-4395-46d3-b2f1-3b3c37036ad1" providerId="ADAL" clId="{CA276D41-AFC9-4BEF-B6EE-46680A52C501}" dt="2022-09-22T15:18:26.014" v="5345" actId="47"/>
        <pc:sldMkLst>
          <pc:docMk/>
          <pc:sldMk cId="735807938" sldId="2147469896"/>
        </pc:sldMkLst>
        <pc:spChg chg="mod">
          <ac:chgData name="Alex Powers" userId="ae4a1fc7-4395-46d3-b2f1-3b3c37036ad1" providerId="ADAL" clId="{CA276D41-AFC9-4BEF-B6EE-46680A52C501}" dt="2022-09-22T15:13:25.855" v="5245" actId="21"/>
          <ac:spMkLst>
            <pc:docMk/>
            <pc:sldMk cId="735807938" sldId="2147469896"/>
            <ac:spMk id="2" creationId="{4BEDC80E-304E-4653-AE93-151A1465E98B}"/>
          </ac:spMkLst>
        </pc:spChg>
      </pc:sldChg>
      <pc:sldChg chg="add del">
        <pc:chgData name="Alex Powers" userId="ae4a1fc7-4395-46d3-b2f1-3b3c37036ad1" providerId="ADAL" clId="{CA276D41-AFC9-4BEF-B6EE-46680A52C501}" dt="2022-09-21T17:56:13.495" v="788"/>
        <pc:sldMkLst>
          <pc:docMk/>
          <pc:sldMk cId="1342595399" sldId="2147469896"/>
        </pc:sldMkLst>
      </pc:sldChg>
      <pc:sldChg chg="add del">
        <pc:chgData name="Alex Powers" userId="ae4a1fc7-4395-46d3-b2f1-3b3c37036ad1" providerId="ADAL" clId="{CA276D41-AFC9-4BEF-B6EE-46680A52C501}" dt="2022-09-21T20:21:20.476" v="1021" actId="2696"/>
        <pc:sldMkLst>
          <pc:docMk/>
          <pc:sldMk cId="2763859989" sldId="2147469896"/>
        </pc:sldMkLst>
      </pc:sldChg>
      <pc:sldChg chg="del">
        <pc:chgData name="Alex Powers" userId="ae4a1fc7-4395-46d3-b2f1-3b3c37036ad1" providerId="ADAL" clId="{CA276D41-AFC9-4BEF-B6EE-46680A52C501}" dt="2022-09-21T17:56:01.790" v="786" actId="2696"/>
        <pc:sldMkLst>
          <pc:docMk/>
          <pc:sldMk cId="3840406333" sldId="2147469896"/>
        </pc:sldMkLst>
      </pc:sldChg>
      <pc:sldChg chg="add">
        <pc:chgData name="Alex Powers" userId="ae4a1fc7-4395-46d3-b2f1-3b3c37036ad1" providerId="ADAL" clId="{CA276D41-AFC9-4BEF-B6EE-46680A52C501}" dt="2022-09-21T17:58:57.874" v="833"/>
        <pc:sldMkLst>
          <pc:docMk/>
          <pc:sldMk cId="2170934217" sldId="2147469898"/>
        </pc:sldMkLst>
      </pc:sldChg>
      <pc:sldChg chg="del">
        <pc:chgData name="Alex Powers" userId="ae4a1fc7-4395-46d3-b2f1-3b3c37036ad1" providerId="ADAL" clId="{CA276D41-AFC9-4BEF-B6EE-46680A52C501}" dt="2022-09-21T17:58:52.384" v="832" actId="2696"/>
        <pc:sldMkLst>
          <pc:docMk/>
          <pc:sldMk cId="2399305992" sldId="2147469898"/>
        </pc:sldMkLst>
      </pc:sldChg>
      <pc:sldChg chg="ord">
        <pc:chgData name="Alex Powers" userId="ae4a1fc7-4395-46d3-b2f1-3b3c37036ad1" providerId="ADAL" clId="{CA276D41-AFC9-4BEF-B6EE-46680A52C501}" dt="2022-09-21T17:40:00.043" v="761"/>
        <pc:sldMkLst>
          <pc:docMk/>
          <pc:sldMk cId="712941580" sldId="2147469902"/>
        </pc:sldMkLst>
      </pc:sldChg>
      <pc:sldChg chg="modSp mod">
        <pc:chgData name="Alex Powers" userId="ae4a1fc7-4395-46d3-b2f1-3b3c37036ad1" providerId="ADAL" clId="{CA276D41-AFC9-4BEF-B6EE-46680A52C501}" dt="2022-09-21T17:25:03.462" v="747" actId="5793"/>
        <pc:sldMkLst>
          <pc:docMk/>
          <pc:sldMk cId="1496469467" sldId="2147469903"/>
        </pc:sldMkLst>
        <pc:spChg chg="mod">
          <ac:chgData name="Alex Powers" userId="ae4a1fc7-4395-46d3-b2f1-3b3c37036ad1" providerId="ADAL" clId="{CA276D41-AFC9-4BEF-B6EE-46680A52C501}" dt="2022-09-21T17:25:03.462" v="747" actId="5793"/>
          <ac:spMkLst>
            <pc:docMk/>
            <pc:sldMk cId="1496469467" sldId="2147469903"/>
            <ac:spMk id="15" creationId="{86A6193E-2B4C-463B-85D2-5F86D7866537}"/>
          </ac:spMkLst>
        </pc:spChg>
      </pc:sldChg>
      <pc:sldChg chg="addSp delSp modSp mod modNotesTx">
        <pc:chgData name="Alex Powers" userId="ae4a1fc7-4395-46d3-b2f1-3b3c37036ad1" providerId="ADAL" clId="{CA276D41-AFC9-4BEF-B6EE-46680A52C501}" dt="2022-09-22T14:16:37.250" v="2671" actId="478"/>
        <pc:sldMkLst>
          <pc:docMk/>
          <pc:sldMk cId="2306054761" sldId="2147469912"/>
        </pc:sldMkLst>
        <pc:spChg chg="add del mod">
          <ac:chgData name="Alex Powers" userId="ae4a1fc7-4395-46d3-b2f1-3b3c37036ad1" providerId="ADAL" clId="{CA276D41-AFC9-4BEF-B6EE-46680A52C501}" dt="2022-09-22T14:16:37.250" v="2671" actId="478"/>
          <ac:spMkLst>
            <pc:docMk/>
            <pc:sldMk cId="2306054761" sldId="2147469912"/>
            <ac:spMk id="8" creationId="{EBC11F44-05F1-C9E2-53FE-8F9F4F9EA53B}"/>
          </ac:spMkLst>
        </pc:spChg>
        <pc:spChg chg="mod">
          <ac:chgData name="Alex Powers" userId="ae4a1fc7-4395-46d3-b2f1-3b3c37036ad1" providerId="ADAL" clId="{CA276D41-AFC9-4BEF-B6EE-46680A52C501}" dt="2022-09-21T20:15:42.099" v="957" actId="1076"/>
          <ac:spMkLst>
            <pc:docMk/>
            <pc:sldMk cId="2306054761" sldId="2147469912"/>
            <ac:spMk id="9" creationId="{9EDAAD71-59F0-47EB-A15F-ED5FDCDB2D68}"/>
          </ac:spMkLst>
        </pc:spChg>
        <pc:grpChg chg="mod">
          <ac:chgData name="Alex Powers" userId="ae4a1fc7-4395-46d3-b2f1-3b3c37036ad1" providerId="ADAL" clId="{CA276D41-AFC9-4BEF-B6EE-46680A52C501}" dt="2022-09-21T20:15:42.099" v="957" actId="1076"/>
          <ac:grpSpMkLst>
            <pc:docMk/>
            <pc:sldMk cId="2306054761" sldId="2147469912"/>
            <ac:grpSpMk id="10" creationId="{DB109C48-152A-4DD3-8A78-FA711538DE1B}"/>
          </ac:grpSpMkLst>
        </pc:grpChg>
        <pc:picChg chg="mod">
          <ac:chgData name="Alex Powers" userId="ae4a1fc7-4395-46d3-b2f1-3b3c37036ad1" providerId="ADAL" clId="{CA276D41-AFC9-4BEF-B6EE-46680A52C501}" dt="2022-09-21T20:15:42.099" v="957" actId="1076"/>
          <ac:picMkLst>
            <pc:docMk/>
            <pc:sldMk cId="2306054761" sldId="2147469912"/>
            <ac:picMk id="6" creationId="{34434C73-DDEB-4036-B9A7-7A9B00F88D75}"/>
          </ac:picMkLst>
        </pc:picChg>
        <pc:picChg chg="add del mod">
          <ac:chgData name="Alex Powers" userId="ae4a1fc7-4395-46d3-b2f1-3b3c37036ad1" providerId="ADAL" clId="{CA276D41-AFC9-4BEF-B6EE-46680A52C501}" dt="2022-09-22T14:16:33.945" v="2670" actId="478"/>
          <ac:picMkLst>
            <pc:docMk/>
            <pc:sldMk cId="2306054761" sldId="2147469912"/>
            <ac:picMk id="7" creationId="{1B2AAE96-4716-0EDC-6EEF-A389B69A55FB}"/>
          </ac:picMkLst>
        </pc:picChg>
      </pc:sldChg>
      <pc:sldChg chg="delSp modSp mod">
        <pc:chgData name="Alex Powers" userId="ae4a1fc7-4395-46d3-b2f1-3b3c37036ad1" providerId="ADAL" clId="{CA276D41-AFC9-4BEF-B6EE-46680A52C501}" dt="2022-09-21T14:30:41.208" v="674" actId="478"/>
        <pc:sldMkLst>
          <pc:docMk/>
          <pc:sldMk cId="749599461" sldId="2147469916"/>
        </pc:sldMkLst>
        <pc:spChg chg="mod">
          <ac:chgData name="Alex Powers" userId="ae4a1fc7-4395-46d3-b2f1-3b3c37036ad1" providerId="ADAL" clId="{CA276D41-AFC9-4BEF-B6EE-46680A52C501}" dt="2022-09-21T14:30:29.098" v="673" actId="20577"/>
          <ac:spMkLst>
            <pc:docMk/>
            <pc:sldMk cId="749599461" sldId="2147469916"/>
            <ac:spMk id="6" creationId="{ACA0514C-E1EC-4C45-A770-147BC7DAEBF7}"/>
          </ac:spMkLst>
        </pc:spChg>
        <pc:spChg chg="del">
          <ac:chgData name="Alex Powers" userId="ae4a1fc7-4395-46d3-b2f1-3b3c37036ad1" providerId="ADAL" clId="{CA276D41-AFC9-4BEF-B6EE-46680A52C501}" dt="2022-09-21T14:30:41.208" v="674" actId="478"/>
          <ac:spMkLst>
            <pc:docMk/>
            <pc:sldMk cId="749599461" sldId="2147469916"/>
            <ac:spMk id="8" creationId="{1CA714EF-26F6-4959-AFF5-A6EE5BA38B90}"/>
          </ac:spMkLst>
        </pc:spChg>
      </pc:sldChg>
      <pc:sldChg chg="addSp delSp modSp mod delAnim modAnim">
        <pc:chgData name="Alex Powers" userId="ae4a1fc7-4395-46d3-b2f1-3b3c37036ad1" providerId="ADAL" clId="{CA276D41-AFC9-4BEF-B6EE-46680A52C501}" dt="2022-09-21T13:06:26.713" v="231" actId="255"/>
        <pc:sldMkLst>
          <pc:docMk/>
          <pc:sldMk cId="1624631161" sldId="2147469920"/>
        </pc:sldMkLst>
        <pc:spChg chg="add mod">
          <ac:chgData name="Alex Powers" userId="ae4a1fc7-4395-46d3-b2f1-3b3c37036ad1" providerId="ADAL" clId="{CA276D41-AFC9-4BEF-B6EE-46680A52C501}" dt="2022-09-21T12:55:17.562" v="49"/>
          <ac:spMkLst>
            <pc:docMk/>
            <pc:sldMk cId="1624631161" sldId="2147469920"/>
            <ac:spMk id="5" creationId="{05E330C4-F1DE-71DE-4952-E0D1B5DFF0D5}"/>
          </ac:spMkLst>
        </pc:spChg>
        <pc:spChg chg="add mod">
          <ac:chgData name="Alex Powers" userId="ae4a1fc7-4395-46d3-b2f1-3b3c37036ad1" providerId="ADAL" clId="{CA276D41-AFC9-4BEF-B6EE-46680A52C501}" dt="2022-09-21T12:55:17.562" v="49"/>
          <ac:spMkLst>
            <pc:docMk/>
            <pc:sldMk cId="1624631161" sldId="2147469920"/>
            <ac:spMk id="6" creationId="{23073343-2BB2-0B4E-2A8D-E64838C10AE5}"/>
          </ac:spMkLst>
        </pc:spChg>
        <pc:spChg chg="del mod topLvl">
          <ac:chgData name="Alex Powers" userId="ae4a1fc7-4395-46d3-b2f1-3b3c37036ad1" providerId="ADAL" clId="{CA276D41-AFC9-4BEF-B6EE-46680A52C501}" dt="2022-09-21T12:55:56.312" v="54" actId="478"/>
          <ac:spMkLst>
            <pc:docMk/>
            <pc:sldMk cId="1624631161" sldId="2147469920"/>
            <ac:spMk id="9" creationId="{D41CD8EE-42FC-4CD0-F82C-3CE408FBED00}"/>
          </ac:spMkLst>
        </pc:spChg>
        <pc:spChg chg="del mod topLvl">
          <ac:chgData name="Alex Powers" userId="ae4a1fc7-4395-46d3-b2f1-3b3c37036ad1" providerId="ADAL" clId="{CA276D41-AFC9-4BEF-B6EE-46680A52C501}" dt="2022-09-21T12:55:54.397" v="53" actId="478"/>
          <ac:spMkLst>
            <pc:docMk/>
            <pc:sldMk cId="1624631161" sldId="2147469920"/>
            <ac:spMk id="13" creationId="{63644999-0D69-2249-6AF9-02A6D58C5FBC}"/>
          </ac:spMkLst>
        </pc:spChg>
        <pc:spChg chg="mod">
          <ac:chgData name="Alex Powers" userId="ae4a1fc7-4395-46d3-b2f1-3b3c37036ad1" providerId="ADAL" clId="{CA276D41-AFC9-4BEF-B6EE-46680A52C501}" dt="2022-09-21T13:04:12.328" v="145"/>
          <ac:spMkLst>
            <pc:docMk/>
            <pc:sldMk cId="1624631161" sldId="2147469920"/>
            <ac:spMk id="17" creationId="{8136AF6F-9DC5-ED2A-6A9F-0A8937966801}"/>
          </ac:spMkLst>
        </pc:spChg>
        <pc:spChg chg="del mod">
          <ac:chgData name="Alex Powers" userId="ae4a1fc7-4395-46d3-b2f1-3b3c37036ad1" providerId="ADAL" clId="{CA276D41-AFC9-4BEF-B6EE-46680A52C501}" dt="2022-09-21T13:04:19.802" v="146" actId="478"/>
          <ac:spMkLst>
            <pc:docMk/>
            <pc:sldMk cId="1624631161" sldId="2147469920"/>
            <ac:spMk id="18" creationId="{96E57295-BC3E-D194-427C-2BDBAC78AA3F}"/>
          </ac:spMkLst>
        </pc:spChg>
        <pc:grpChg chg="add mod">
          <ac:chgData name="Alex Powers" userId="ae4a1fc7-4395-46d3-b2f1-3b3c37036ad1" providerId="ADAL" clId="{CA276D41-AFC9-4BEF-B6EE-46680A52C501}" dt="2022-09-21T12:55:17.562" v="49"/>
          <ac:grpSpMkLst>
            <pc:docMk/>
            <pc:sldMk cId="1624631161" sldId="2147469920"/>
            <ac:grpSpMk id="4" creationId="{68E0C597-E853-1FE7-63FB-93F9D70E1D27}"/>
          </ac:grpSpMkLst>
        </pc:grpChg>
        <pc:grpChg chg="add del mod">
          <ac:chgData name="Alex Powers" userId="ae4a1fc7-4395-46d3-b2f1-3b3c37036ad1" providerId="ADAL" clId="{CA276D41-AFC9-4BEF-B6EE-46680A52C501}" dt="2022-09-21T12:55:54.397" v="53" actId="478"/>
          <ac:grpSpMkLst>
            <pc:docMk/>
            <pc:sldMk cId="1624631161" sldId="2147469920"/>
            <ac:grpSpMk id="8" creationId="{95221E7C-8D94-397E-7B27-08B0D379F86B}"/>
          </ac:grpSpMkLst>
        </pc:grpChg>
        <pc:grpChg chg="add mod">
          <ac:chgData name="Alex Powers" userId="ae4a1fc7-4395-46d3-b2f1-3b3c37036ad1" providerId="ADAL" clId="{CA276D41-AFC9-4BEF-B6EE-46680A52C501}" dt="2022-09-21T13:04:28.270" v="149" actId="1076"/>
          <ac:grpSpMkLst>
            <pc:docMk/>
            <pc:sldMk cId="1624631161" sldId="2147469920"/>
            <ac:grpSpMk id="14" creationId="{11952C96-310E-CEFD-9CFE-6C2F1F9B0E2B}"/>
          </ac:grpSpMkLst>
        </pc:grpChg>
        <pc:grpChg chg="del mod">
          <ac:chgData name="Alex Powers" userId="ae4a1fc7-4395-46d3-b2f1-3b3c37036ad1" providerId="ADAL" clId="{CA276D41-AFC9-4BEF-B6EE-46680A52C501}" dt="2022-09-21T13:04:19.802" v="146" actId="478"/>
          <ac:grpSpMkLst>
            <pc:docMk/>
            <pc:sldMk cId="1624631161" sldId="2147469920"/>
            <ac:grpSpMk id="16" creationId="{52ACBED0-2CB5-2B0F-7E22-498B41236602}"/>
          </ac:grpSpMkLst>
        </pc:grpChg>
        <pc:graphicFrameChg chg="add del mod">
          <ac:chgData name="Alex Powers" userId="ae4a1fc7-4395-46d3-b2f1-3b3c37036ad1" providerId="ADAL" clId="{CA276D41-AFC9-4BEF-B6EE-46680A52C501}" dt="2022-09-21T13:04:24.611" v="147" actId="478"/>
          <ac:graphicFrameMkLst>
            <pc:docMk/>
            <pc:sldMk cId="1624631161" sldId="2147469920"/>
            <ac:graphicFrameMk id="7" creationId="{DD514C14-4D57-8C9E-BAC2-3DE490264AD4}"/>
          </ac:graphicFrameMkLst>
        </pc:graphicFrameChg>
        <pc:graphicFrameChg chg="add del mod">
          <ac:chgData name="Alex Powers" userId="ae4a1fc7-4395-46d3-b2f1-3b3c37036ad1" providerId="ADAL" clId="{CA276D41-AFC9-4BEF-B6EE-46680A52C501}" dt="2022-09-21T12:55:34.817" v="52" actId="478"/>
          <ac:graphicFrameMkLst>
            <pc:docMk/>
            <pc:sldMk cId="1624631161" sldId="2147469920"/>
            <ac:graphicFrameMk id="10" creationId="{3BAA95FF-C8EC-437C-9FC4-0AA3DA18D6B2}"/>
          </ac:graphicFrameMkLst>
        </pc:graphicFrameChg>
        <pc:graphicFrameChg chg="mod modGraphic">
          <ac:chgData name="Alex Powers" userId="ae4a1fc7-4395-46d3-b2f1-3b3c37036ad1" providerId="ADAL" clId="{CA276D41-AFC9-4BEF-B6EE-46680A52C501}" dt="2022-09-21T13:06:26.713" v="231" actId="255"/>
          <ac:graphicFrameMkLst>
            <pc:docMk/>
            <pc:sldMk cId="1624631161" sldId="2147469920"/>
            <ac:graphicFrameMk id="15" creationId="{2C5690BC-FACB-3733-E199-C3FC0F11D9E6}"/>
          </ac:graphicFrameMkLst>
        </pc:graphicFrameChg>
      </pc:sldChg>
      <pc:sldChg chg="addSp delSp modSp del mod">
        <pc:chgData name="Alex Powers" userId="ae4a1fc7-4395-46d3-b2f1-3b3c37036ad1" providerId="ADAL" clId="{CA276D41-AFC9-4BEF-B6EE-46680A52C501}" dt="2022-09-21T13:04:04.317" v="144" actId="47"/>
        <pc:sldMkLst>
          <pc:docMk/>
          <pc:sldMk cId="2012810716" sldId="2147469921"/>
        </pc:sldMkLst>
        <pc:spChg chg="mod">
          <ac:chgData name="Alex Powers" userId="ae4a1fc7-4395-46d3-b2f1-3b3c37036ad1" providerId="ADAL" clId="{CA276D41-AFC9-4BEF-B6EE-46680A52C501}" dt="2022-09-21T13:03:02.149" v="131" actId="14100"/>
          <ac:spMkLst>
            <pc:docMk/>
            <pc:sldMk cId="2012810716" sldId="2147469921"/>
            <ac:spMk id="3" creationId="{FCE6285D-7541-4859-AA62-FA584FAB1695}"/>
          </ac:spMkLst>
        </pc:spChg>
        <pc:spChg chg="add mod">
          <ac:chgData name="Alex Powers" userId="ae4a1fc7-4395-46d3-b2f1-3b3c37036ad1" providerId="ADAL" clId="{CA276D41-AFC9-4BEF-B6EE-46680A52C501}" dt="2022-09-21T13:02:15.315" v="98"/>
          <ac:spMkLst>
            <pc:docMk/>
            <pc:sldMk cId="2012810716" sldId="2147469921"/>
            <ac:spMk id="16" creationId="{92830961-0868-E843-A9DB-A7DE246B25D9}"/>
          </ac:spMkLst>
        </pc:spChg>
        <pc:spChg chg="add mod">
          <ac:chgData name="Alex Powers" userId="ae4a1fc7-4395-46d3-b2f1-3b3c37036ad1" providerId="ADAL" clId="{CA276D41-AFC9-4BEF-B6EE-46680A52C501}" dt="2022-09-21T13:02:15.315" v="98"/>
          <ac:spMkLst>
            <pc:docMk/>
            <pc:sldMk cId="2012810716" sldId="2147469921"/>
            <ac:spMk id="17" creationId="{FC3B5CB0-8FDE-C874-BA5E-1A42584EACC0}"/>
          </ac:spMkLst>
        </pc:spChg>
        <pc:spChg chg="add del">
          <ac:chgData name="Alex Powers" userId="ae4a1fc7-4395-46d3-b2f1-3b3c37036ad1" providerId="ADAL" clId="{CA276D41-AFC9-4BEF-B6EE-46680A52C501}" dt="2022-09-21T13:03:56.056" v="143" actId="22"/>
          <ac:spMkLst>
            <pc:docMk/>
            <pc:sldMk cId="2012810716" sldId="2147469921"/>
            <ac:spMk id="22" creationId="{496F64E3-C6EE-B42F-A63C-3D3873E53A1B}"/>
          </ac:spMkLst>
        </pc:spChg>
        <pc:spChg chg="mod">
          <ac:chgData name="Alex Powers" userId="ae4a1fc7-4395-46d3-b2f1-3b3c37036ad1" providerId="ADAL" clId="{CA276D41-AFC9-4BEF-B6EE-46680A52C501}" dt="2022-09-21T13:03:34.758" v="135"/>
          <ac:spMkLst>
            <pc:docMk/>
            <pc:sldMk cId="2012810716" sldId="2147469921"/>
            <ac:spMk id="26" creationId="{AA0BBA0E-FCEA-B1FC-18D3-C3C6B597D602}"/>
          </ac:spMkLst>
        </pc:spChg>
        <pc:spChg chg="mod">
          <ac:chgData name="Alex Powers" userId="ae4a1fc7-4395-46d3-b2f1-3b3c37036ad1" providerId="ADAL" clId="{CA276D41-AFC9-4BEF-B6EE-46680A52C501}" dt="2022-09-21T13:03:34.758" v="135"/>
          <ac:spMkLst>
            <pc:docMk/>
            <pc:sldMk cId="2012810716" sldId="2147469921"/>
            <ac:spMk id="27" creationId="{2452B247-7E39-7E15-13C4-6074EA10166E}"/>
          </ac:spMkLst>
        </pc:spChg>
        <pc:grpChg chg="add del mod">
          <ac:chgData name="Alex Powers" userId="ae4a1fc7-4395-46d3-b2f1-3b3c37036ad1" providerId="ADAL" clId="{CA276D41-AFC9-4BEF-B6EE-46680A52C501}" dt="2022-09-21T13:02:07.756" v="96" actId="478"/>
          <ac:grpSpMkLst>
            <pc:docMk/>
            <pc:sldMk cId="2012810716" sldId="2147469921"/>
            <ac:grpSpMk id="7" creationId="{3978680E-9725-4756-9EAA-DE22E173E35E}"/>
          </ac:grpSpMkLst>
        </pc:grpChg>
        <pc:grpChg chg="add mod">
          <ac:chgData name="Alex Powers" userId="ae4a1fc7-4395-46d3-b2f1-3b3c37036ad1" providerId="ADAL" clId="{CA276D41-AFC9-4BEF-B6EE-46680A52C501}" dt="2022-09-21T13:02:15.315" v="98"/>
          <ac:grpSpMkLst>
            <pc:docMk/>
            <pc:sldMk cId="2012810716" sldId="2147469921"/>
            <ac:grpSpMk id="14" creationId="{B67C8B6B-B81F-A859-DF50-E74BCBD7CB5D}"/>
          </ac:grpSpMkLst>
        </pc:grpChg>
        <pc:grpChg chg="add del mod ord">
          <ac:chgData name="Alex Powers" userId="ae4a1fc7-4395-46d3-b2f1-3b3c37036ad1" providerId="ADAL" clId="{CA276D41-AFC9-4BEF-B6EE-46680A52C501}" dt="2022-09-21T13:03:54.896" v="142"/>
          <ac:grpSpMkLst>
            <pc:docMk/>
            <pc:sldMk cId="2012810716" sldId="2147469921"/>
            <ac:grpSpMk id="23" creationId="{21497957-DA0D-6B32-0328-7BF951AC1F3B}"/>
          </ac:grpSpMkLst>
        </pc:grpChg>
        <pc:grpChg chg="mod topLvl">
          <ac:chgData name="Alex Powers" userId="ae4a1fc7-4395-46d3-b2f1-3b3c37036ad1" providerId="ADAL" clId="{CA276D41-AFC9-4BEF-B6EE-46680A52C501}" dt="2022-09-21T13:03:50.897" v="140" actId="478"/>
          <ac:grpSpMkLst>
            <pc:docMk/>
            <pc:sldMk cId="2012810716" sldId="2147469921"/>
            <ac:grpSpMk id="25" creationId="{54E27AA0-F91E-49CD-6A26-7343AF371357}"/>
          </ac:grpSpMkLst>
        </pc:grpChg>
        <pc:graphicFrameChg chg="add del mod ord">
          <ac:chgData name="Alex Powers" userId="ae4a1fc7-4395-46d3-b2f1-3b3c37036ad1" providerId="ADAL" clId="{CA276D41-AFC9-4BEF-B6EE-46680A52C501}" dt="2022-09-21T13:01:56.702" v="93" actId="22"/>
          <ac:graphicFrameMkLst>
            <pc:docMk/>
            <pc:sldMk cId="2012810716" sldId="2147469921"/>
            <ac:graphicFrameMk id="10" creationId="{037E0C53-B19A-0FB9-4A8A-5F52B57DE8BA}"/>
          </ac:graphicFrameMkLst>
        </pc:graphicFrameChg>
        <pc:graphicFrameChg chg="add mod ord">
          <ac:chgData name="Alex Powers" userId="ae4a1fc7-4395-46d3-b2f1-3b3c37036ad1" providerId="ADAL" clId="{CA276D41-AFC9-4BEF-B6EE-46680A52C501}" dt="2022-09-21T13:03:16.459" v="134" actId="20577"/>
          <ac:graphicFrameMkLst>
            <pc:docMk/>
            <pc:sldMk cId="2012810716" sldId="2147469921"/>
            <ac:graphicFrameMk id="19" creationId="{D3B473F6-E66F-FD0F-C021-A8DE90D76088}"/>
          </ac:graphicFrameMkLst>
        </pc:graphicFrameChg>
        <pc:graphicFrameChg chg="add del mod topLvl">
          <ac:chgData name="Alex Powers" userId="ae4a1fc7-4395-46d3-b2f1-3b3c37036ad1" providerId="ADAL" clId="{CA276D41-AFC9-4BEF-B6EE-46680A52C501}" dt="2022-09-21T13:03:50.897" v="140" actId="478"/>
          <ac:graphicFrameMkLst>
            <pc:docMk/>
            <pc:sldMk cId="2012810716" sldId="2147469921"/>
            <ac:graphicFrameMk id="24" creationId="{FC4D5457-4376-8B35-69DA-1AF785102F69}"/>
          </ac:graphicFrameMkLst>
        </pc:graphicFrameChg>
      </pc:sldChg>
      <pc:sldChg chg="modSp mod">
        <pc:chgData name="Alex Powers" userId="ae4a1fc7-4395-46d3-b2f1-3b3c37036ad1" providerId="ADAL" clId="{CA276D41-AFC9-4BEF-B6EE-46680A52C501}" dt="2022-09-22T15:14:57.214" v="5303" actId="20577"/>
        <pc:sldMkLst>
          <pc:docMk/>
          <pc:sldMk cId="3668029706" sldId="2147469924"/>
        </pc:sldMkLst>
        <pc:spChg chg="mod">
          <ac:chgData name="Alex Powers" userId="ae4a1fc7-4395-46d3-b2f1-3b3c37036ad1" providerId="ADAL" clId="{CA276D41-AFC9-4BEF-B6EE-46680A52C501}" dt="2022-09-22T15:14:57.214" v="5303" actId="20577"/>
          <ac:spMkLst>
            <pc:docMk/>
            <pc:sldMk cId="3668029706" sldId="2147469924"/>
            <ac:spMk id="2" creationId="{4BEDC80E-304E-4653-AE93-151A1465E98B}"/>
          </ac:spMkLst>
        </pc:spChg>
      </pc:sldChg>
      <pc:sldChg chg="mod modShow">
        <pc:chgData name="Alex Powers" userId="ae4a1fc7-4395-46d3-b2f1-3b3c37036ad1" providerId="ADAL" clId="{CA276D41-AFC9-4BEF-B6EE-46680A52C501}" dt="2022-09-21T17:25:16.234" v="748" actId="729"/>
        <pc:sldMkLst>
          <pc:docMk/>
          <pc:sldMk cId="2112540459" sldId="2147469925"/>
        </pc:sldMkLst>
      </pc:sldChg>
      <pc:sldChg chg="mod modTransition modShow">
        <pc:chgData name="Alex Powers" userId="ae4a1fc7-4395-46d3-b2f1-3b3c37036ad1" providerId="ADAL" clId="{CA276D41-AFC9-4BEF-B6EE-46680A52C501}" dt="2022-09-21T17:27:26.892" v="750" actId="729"/>
        <pc:sldMkLst>
          <pc:docMk/>
          <pc:sldMk cId="227054782" sldId="2147469926"/>
        </pc:sldMkLst>
      </pc:sldChg>
      <pc:sldChg chg="del">
        <pc:chgData name="Alex Powers" userId="ae4a1fc7-4395-46d3-b2f1-3b3c37036ad1" providerId="ADAL" clId="{CA276D41-AFC9-4BEF-B6EE-46680A52C501}" dt="2022-09-22T15:20:06.435" v="5357" actId="47"/>
        <pc:sldMkLst>
          <pc:docMk/>
          <pc:sldMk cId="2159753941" sldId="2147469944"/>
        </pc:sldMkLst>
      </pc:sldChg>
      <pc:sldChg chg="del">
        <pc:chgData name="Alex Powers" userId="ae4a1fc7-4395-46d3-b2f1-3b3c37036ad1" providerId="ADAL" clId="{CA276D41-AFC9-4BEF-B6EE-46680A52C501}" dt="2022-09-22T15:20:09.399" v="5358" actId="47"/>
        <pc:sldMkLst>
          <pc:docMk/>
          <pc:sldMk cId="2747736574" sldId="2147469955"/>
        </pc:sldMkLst>
      </pc:sldChg>
      <pc:sldChg chg="add del">
        <pc:chgData name="Alex Powers" userId="ae4a1fc7-4395-46d3-b2f1-3b3c37036ad1" providerId="ADAL" clId="{CA276D41-AFC9-4BEF-B6EE-46680A52C501}" dt="2022-09-21T17:56:13.495" v="788"/>
        <pc:sldMkLst>
          <pc:docMk/>
          <pc:sldMk cId="304540777" sldId="2147469961"/>
        </pc:sldMkLst>
      </pc:sldChg>
      <pc:sldChg chg="add del">
        <pc:chgData name="Alex Powers" userId="ae4a1fc7-4395-46d3-b2f1-3b3c37036ad1" providerId="ADAL" clId="{CA276D41-AFC9-4BEF-B6EE-46680A52C501}" dt="2022-09-22T15:16:20.165" v="5308" actId="2696"/>
        <pc:sldMkLst>
          <pc:docMk/>
          <pc:sldMk cId="855569285" sldId="2147469961"/>
        </pc:sldMkLst>
      </pc:sldChg>
      <pc:sldChg chg="add del">
        <pc:chgData name="Alex Powers" userId="ae4a1fc7-4395-46d3-b2f1-3b3c37036ad1" providerId="ADAL" clId="{CA276D41-AFC9-4BEF-B6EE-46680A52C501}" dt="2022-09-22T15:15:28.830" v="5306" actId="2696"/>
        <pc:sldMkLst>
          <pc:docMk/>
          <pc:sldMk cId="1376247916" sldId="2147469961"/>
        </pc:sldMkLst>
      </pc:sldChg>
      <pc:sldChg chg="add">
        <pc:chgData name="Alex Powers" userId="ae4a1fc7-4395-46d3-b2f1-3b3c37036ad1" providerId="ADAL" clId="{CA276D41-AFC9-4BEF-B6EE-46680A52C501}" dt="2022-09-22T15:16:27.867" v="5309"/>
        <pc:sldMkLst>
          <pc:docMk/>
          <pc:sldMk cId="1605086997" sldId="2147469961"/>
        </pc:sldMkLst>
      </pc:sldChg>
      <pc:sldChg chg="add del">
        <pc:chgData name="Alex Powers" userId="ae4a1fc7-4395-46d3-b2f1-3b3c37036ad1" providerId="ADAL" clId="{CA276D41-AFC9-4BEF-B6EE-46680A52C501}" dt="2022-09-21T20:21:20.476" v="1021" actId="2696"/>
        <pc:sldMkLst>
          <pc:docMk/>
          <pc:sldMk cId="2492008851" sldId="2147469961"/>
        </pc:sldMkLst>
      </pc:sldChg>
      <pc:sldChg chg="del">
        <pc:chgData name="Alex Powers" userId="ae4a1fc7-4395-46d3-b2f1-3b3c37036ad1" providerId="ADAL" clId="{CA276D41-AFC9-4BEF-B6EE-46680A52C501}" dt="2022-09-21T17:56:01.790" v="786" actId="2696"/>
        <pc:sldMkLst>
          <pc:docMk/>
          <pc:sldMk cId="3390366517" sldId="2147469961"/>
        </pc:sldMkLst>
      </pc:sldChg>
      <pc:sldChg chg="add del">
        <pc:chgData name="Alex Powers" userId="ae4a1fc7-4395-46d3-b2f1-3b3c37036ad1" providerId="ADAL" clId="{CA276D41-AFC9-4BEF-B6EE-46680A52C501}" dt="2022-09-21T17:56:13.495" v="788"/>
        <pc:sldMkLst>
          <pc:docMk/>
          <pc:sldMk cId="37219416" sldId="2147469962"/>
        </pc:sldMkLst>
      </pc:sldChg>
      <pc:sldChg chg="add del">
        <pc:chgData name="Alex Powers" userId="ae4a1fc7-4395-46d3-b2f1-3b3c37036ad1" providerId="ADAL" clId="{CA276D41-AFC9-4BEF-B6EE-46680A52C501}" dt="2022-09-22T15:15:28.830" v="5306" actId="2696"/>
        <pc:sldMkLst>
          <pc:docMk/>
          <pc:sldMk cId="162652409" sldId="2147469962"/>
        </pc:sldMkLst>
      </pc:sldChg>
      <pc:sldChg chg="add del">
        <pc:chgData name="Alex Powers" userId="ae4a1fc7-4395-46d3-b2f1-3b3c37036ad1" providerId="ADAL" clId="{CA276D41-AFC9-4BEF-B6EE-46680A52C501}" dt="2022-09-21T20:21:20.476" v="1021" actId="2696"/>
        <pc:sldMkLst>
          <pc:docMk/>
          <pc:sldMk cId="283564868" sldId="2147469962"/>
        </pc:sldMkLst>
      </pc:sldChg>
      <pc:sldChg chg="add del">
        <pc:chgData name="Alex Powers" userId="ae4a1fc7-4395-46d3-b2f1-3b3c37036ad1" providerId="ADAL" clId="{CA276D41-AFC9-4BEF-B6EE-46680A52C501}" dt="2022-09-22T15:16:20.165" v="5308" actId="2696"/>
        <pc:sldMkLst>
          <pc:docMk/>
          <pc:sldMk cId="430296161" sldId="2147469962"/>
        </pc:sldMkLst>
      </pc:sldChg>
      <pc:sldChg chg="del">
        <pc:chgData name="Alex Powers" userId="ae4a1fc7-4395-46d3-b2f1-3b3c37036ad1" providerId="ADAL" clId="{CA276D41-AFC9-4BEF-B6EE-46680A52C501}" dt="2022-09-21T17:56:01.790" v="786" actId="2696"/>
        <pc:sldMkLst>
          <pc:docMk/>
          <pc:sldMk cId="2411012035" sldId="2147469962"/>
        </pc:sldMkLst>
      </pc:sldChg>
      <pc:sldChg chg="addSp modSp add mod">
        <pc:chgData name="Alex Powers" userId="ae4a1fc7-4395-46d3-b2f1-3b3c37036ad1" providerId="ADAL" clId="{CA276D41-AFC9-4BEF-B6EE-46680A52C501}" dt="2022-09-22T15:18:12.673" v="5344" actId="14100"/>
        <pc:sldMkLst>
          <pc:docMk/>
          <pc:sldMk cId="3615317182" sldId="2147469962"/>
        </pc:sldMkLst>
        <pc:spChg chg="mod">
          <ac:chgData name="Alex Powers" userId="ae4a1fc7-4395-46d3-b2f1-3b3c37036ad1" providerId="ADAL" clId="{CA276D41-AFC9-4BEF-B6EE-46680A52C501}" dt="2022-09-22T15:17:48.084" v="5339" actId="14100"/>
          <ac:spMkLst>
            <pc:docMk/>
            <pc:sldMk cId="3615317182" sldId="2147469962"/>
            <ac:spMk id="2" creationId="{8EE97EF5-38AA-4A3B-8CE7-97EAA8F80FCF}"/>
          </ac:spMkLst>
        </pc:spChg>
        <pc:spChg chg="add mod">
          <ac:chgData name="Alex Powers" userId="ae4a1fc7-4395-46d3-b2f1-3b3c37036ad1" providerId="ADAL" clId="{CA276D41-AFC9-4BEF-B6EE-46680A52C501}" dt="2022-09-22T15:17:29.254" v="5323" actId="14100"/>
          <ac:spMkLst>
            <pc:docMk/>
            <pc:sldMk cId="3615317182" sldId="2147469962"/>
            <ac:spMk id="4" creationId="{015045CC-9A8C-C42B-629A-8665AE652264}"/>
          </ac:spMkLst>
        </pc:spChg>
        <pc:spChg chg="mod">
          <ac:chgData name="Alex Powers" userId="ae4a1fc7-4395-46d3-b2f1-3b3c37036ad1" providerId="ADAL" clId="{CA276D41-AFC9-4BEF-B6EE-46680A52C501}" dt="2022-09-22T15:18:12.673" v="5344" actId="14100"/>
          <ac:spMkLst>
            <pc:docMk/>
            <pc:sldMk cId="3615317182" sldId="2147469962"/>
            <ac:spMk id="6" creationId="{DF69F015-8CE5-4366-86AB-8CE8086EFF1A}"/>
          </ac:spMkLst>
        </pc:spChg>
        <pc:picChg chg="mod">
          <ac:chgData name="Alex Powers" userId="ae4a1fc7-4395-46d3-b2f1-3b3c37036ad1" providerId="ADAL" clId="{CA276D41-AFC9-4BEF-B6EE-46680A52C501}" dt="2022-09-22T15:17:10.849" v="5315" actId="1076"/>
          <ac:picMkLst>
            <pc:docMk/>
            <pc:sldMk cId="3615317182" sldId="2147469962"/>
            <ac:picMk id="5" creationId="{6B0E153C-D396-411A-8867-D58EA0933F1E}"/>
          </ac:picMkLst>
        </pc:picChg>
      </pc:sldChg>
      <pc:sldChg chg="del">
        <pc:chgData name="Alex Powers" userId="ae4a1fc7-4395-46d3-b2f1-3b3c37036ad1" providerId="ADAL" clId="{CA276D41-AFC9-4BEF-B6EE-46680A52C501}" dt="2022-09-21T17:56:01.790" v="786" actId="2696"/>
        <pc:sldMkLst>
          <pc:docMk/>
          <pc:sldMk cId="974734985" sldId="2147469963"/>
        </pc:sldMkLst>
      </pc:sldChg>
      <pc:sldChg chg="add del">
        <pc:chgData name="Alex Powers" userId="ae4a1fc7-4395-46d3-b2f1-3b3c37036ad1" providerId="ADAL" clId="{CA276D41-AFC9-4BEF-B6EE-46680A52C501}" dt="2022-09-21T17:56:13.495" v="788"/>
        <pc:sldMkLst>
          <pc:docMk/>
          <pc:sldMk cId="1515670225" sldId="2147469963"/>
        </pc:sldMkLst>
      </pc:sldChg>
      <pc:sldChg chg="add ord">
        <pc:chgData name="Alex Powers" userId="ae4a1fc7-4395-46d3-b2f1-3b3c37036ad1" providerId="ADAL" clId="{CA276D41-AFC9-4BEF-B6EE-46680A52C501}" dt="2022-09-21T20:20:05.948" v="1020"/>
        <pc:sldMkLst>
          <pc:docMk/>
          <pc:sldMk cId="2791043869" sldId="2147469963"/>
        </pc:sldMkLst>
      </pc:sldChg>
      <pc:sldChg chg="add">
        <pc:chgData name="Alex Powers" userId="ae4a1fc7-4395-46d3-b2f1-3b3c37036ad1" providerId="ADAL" clId="{CA276D41-AFC9-4BEF-B6EE-46680A52C501}" dt="2022-09-21T17:58:57.874" v="833"/>
        <pc:sldMkLst>
          <pc:docMk/>
          <pc:sldMk cId="88289558" sldId="2147469968"/>
        </pc:sldMkLst>
      </pc:sldChg>
      <pc:sldChg chg="del">
        <pc:chgData name="Alex Powers" userId="ae4a1fc7-4395-46d3-b2f1-3b3c37036ad1" providerId="ADAL" clId="{CA276D41-AFC9-4BEF-B6EE-46680A52C501}" dt="2022-09-21T17:58:52.384" v="832" actId="2696"/>
        <pc:sldMkLst>
          <pc:docMk/>
          <pc:sldMk cId="1681216240" sldId="2147469968"/>
        </pc:sldMkLst>
      </pc:sldChg>
      <pc:sldChg chg="del">
        <pc:chgData name="Alex Powers" userId="ae4a1fc7-4395-46d3-b2f1-3b3c37036ad1" providerId="ADAL" clId="{CA276D41-AFC9-4BEF-B6EE-46680A52C501}" dt="2022-09-21T17:58:52.384" v="832" actId="2696"/>
        <pc:sldMkLst>
          <pc:docMk/>
          <pc:sldMk cId="250733258" sldId="2147469969"/>
        </pc:sldMkLst>
      </pc:sldChg>
      <pc:sldChg chg="add">
        <pc:chgData name="Alex Powers" userId="ae4a1fc7-4395-46d3-b2f1-3b3c37036ad1" providerId="ADAL" clId="{CA276D41-AFC9-4BEF-B6EE-46680A52C501}" dt="2022-09-21T17:58:57.874" v="833"/>
        <pc:sldMkLst>
          <pc:docMk/>
          <pc:sldMk cId="2408342593" sldId="2147469969"/>
        </pc:sldMkLst>
      </pc:sldChg>
      <pc:sldChg chg="del mod modShow">
        <pc:chgData name="Alex Powers" userId="ae4a1fc7-4395-46d3-b2f1-3b3c37036ad1" providerId="ADAL" clId="{CA276D41-AFC9-4BEF-B6EE-46680A52C501}" dt="2022-09-21T17:56:01.790" v="786" actId="2696"/>
        <pc:sldMkLst>
          <pc:docMk/>
          <pc:sldMk cId="495822368" sldId="2147469972"/>
        </pc:sldMkLst>
      </pc:sldChg>
      <pc:sldChg chg="add del">
        <pc:chgData name="Alex Powers" userId="ae4a1fc7-4395-46d3-b2f1-3b3c37036ad1" providerId="ADAL" clId="{CA276D41-AFC9-4BEF-B6EE-46680A52C501}" dt="2022-09-21T17:56:51.800" v="796" actId="2696"/>
        <pc:sldMkLst>
          <pc:docMk/>
          <pc:sldMk cId="848442376" sldId="2147469972"/>
        </pc:sldMkLst>
      </pc:sldChg>
      <pc:sldChg chg="add del">
        <pc:chgData name="Alex Powers" userId="ae4a1fc7-4395-46d3-b2f1-3b3c37036ad1" providerId="ADAL" clId="{CA276D41-AFC9-4BEF-B6EE-46680A52C501}" dt="2022-09-21T17:56:13.495" v="788"/>
        <pc:sldMkLst>
          <pc:docMk/>
          <pc:sldMk cId="1498769623" sldId="2147469972"/>
        </pc:sldMkLst>
      </pc:sldChg>
      <pc:sldChg chg="add">
        <pc:chgData name="Alex Powers" userId="ae4a1fc7-4395-46d3-b2f1-3b3c37036ad1" providerId="ADAL" clId="{CA276D41-AFC9-4BEF-B6EE-46680A52C501}" dt="2022-09-21T17:56:55.544" v="797"/>
        <pc:sldMkLst>
          <pc:docMk/>
          <pc:sldMk cId="2513623041" sldId="2147469972"/>
        </pc:sldMkLst>
      </pc:sldChg>
      <pc:sldChg chg="del">
        <pc:chgData name="Alex Powers" userId="ae4a1fc7-4395-46d3-b2f1-3b3c37036ad1" providerId="ADAL" clId="{CA276D41-AFC9-4BEF-B6EE-46680A52C501}" dt="2022-09-21T17:49:48.811" v="763" actId="2696"/>
        <pc:sldMkLst>
          <pc:docMk/>
          <pc:sldMk cId="2431235446" sldId="2147469974"/>
        </pc:sldMkLst>
      </pc:sldChg>
      <pc:sldChg chg="add del">
        <pc:chgData name="Alex Powers" userId="ae4a1fc7-4395-46d3-b2f1-3b3c37036ad1" providerId="ADAL" clId="{CA276D41-AFC9-4BEF-B6EE-46680A52C501}" dt="2022-09-22T15:19:30.505" v="5353" actId="47"/>
        <pc:sldMkLst>
          <pc:docMk/>
          <pc:sldMk cId="4195060578" sldId="2147469974"/>
        </pc:sldMkLst>
      </pc:sldChg>
      <pc:sldChg chg="add">
        <pc:chgData name="Alex Powers" userId="ae4a1fc7-4395-46d3-b2f1-3b3c37036ad1" providerId="ADAL" clId="{CA276D41-AFC9-4BEF-B6EE-46680A52C501}" dt="2022-09-21T17:58:57.874" v="833"/>
        <pc:sldMkLst>
          <pc:docMk/>
          <pc:sldMk cId="409485467" sldId="2147469975"/>
        </pc:sldMkLst>
      </pc:sldChg>
      <pc:sldChg chg="del">
        <pc:chgData name="Alex Powers" userId="ae4a1fc7-4395-46d3-b2f1-3b3c37036ad1" providerId="ADAL" clId="{CA276D41-AFC9-4BEF-B6EE-46680A52C501}" dt="2022-09-21T17:58:52.384" v="832" actId="2696"/>
        <pc:sldMkLst>
          <pc:docMk/>
          <pc:sldMk cId="2829312780" sldId="2147469975"/>
        </pc:sldMkLst>
      </pc:sldChg>
      <pc:sldChg chg="mod modShow">
        <pc:chgData name="Alex Powers" userId="ae4a1fc7-4395-46d3-b2f1-3b3c37036ad1" providerId="ADAL" clId="{CA276D41-AFC9-4BEF-B6EE-46680A52C501}" dt="2022-09-21T18:00:06.597" v="837" actId="729"/>
        <pc:sldMkLst>
          <pc:docMk/>
          <pc:sldMk cId="1860000104" sldId="2147469978"/>
        </pc:sldMkLst>
      </pc:sldChg>
      <pc:sldChg chg="del">
        <pc:chgData name="Alex Powers" userId="ae4a1fc7-4395-46d3-b2f1-3b3c37036ad1" providerId="ADAL" clId="{CA276D41-AFC9-4BEF-B6EE-46680A52C501}" dt="2022-09-21T18:00:21.119" v="838" actId="2696"/>
        <pc:sldMkLst>
          <pc:docMk/>
          <pc:sldMk cId="309675713" sldId="2147469979"/>
        </pc:sldMkLst>
      </pc:sldChg>
      <pc:sldChg chg="add">
        <pc:chgData name="Alex Powers" userId="ae4a1fc7-4395-46d3-b2f1-3b3c37036ad1" providerId="ADAL" clId="{CA276D41-AFC9-4BEF-B6EE-46680A52C501}" dt="2022-09-21T18:00:27.263" v="839"/>
        <pc:sldMkLst>
          <pc:docMk/>
          <pc:sldMk cId="1646384809" sldId="2147469979"/>
        </pc:sldMkLst>
      </pc:sldChg>
      <pc:sldChg chg="add">
        <pc:chgData name="Alex Powers" userId="ae4a1fc7-4395-46d3-b2f1-3b3c37036ad1" providerId="ADAL" clId="{CA276D41-AFC9-4BEF-B6EE-46680A52C501}" dt="2022-09-22T15:16:27.867" v="5309"/>
        <pc:sldMkLst>
          <pc:docMk/>
          <pc:sldMk cId="590942111" sldId="2147469980"/>
        </pc:sldMkLst>
      </pc:sldChg>
      <pc:sldChg chg="add del">
        <pc:chgData name="Alex Powers" userId="ae4a1fc7-4395-46d3-b2f1-3b3c37036ad1" providerId="ADAL" clId="{CA276D41-AFC9-4BEF-B6EE-46680A52C501}" dt="2022-09-21T17:56:13.495" v="788"/>
        <pc:sldMkLst>
          <pc:docMk/>
          <pc:sldMk cId="609091890" sldId="2147469980"/>
        </pc:sldMkLst>
      </pc:sldChg>
      <pc:sldChg chg="add del">
        <pc:chgData name="Alex Powers" userId="ae4a1fc7-4395-46d3-b2f1-3b3c37036ad1" providerId="ADAL" clId="{CA276D41-AFC9-4BEF-B6EE-46680A52C501}" dt="2022-09-21T20:21:20.476" v="1021" actId="2696"/>
        <pc:sldMkLst>
          <pc:docMk/>
          <pc:sldMk cId="640485020" sldId="2147469980"/>
        </pc:sldMkLst>
      </pc:sldChg>
      <pc:sldChg chg="del">
        <pc:chgData name="Alex Powers" userId="ae4a1fc7-4395-46d3-b2f1-3b3c37036ad1" providerId="ADAL" clId="{CA276D41-AFC9-4BEF-B6EE-46680A52C501}" dt="2022-09-21T17:56:01.790" v="786" actId="2696"/>
        <pc:sldMkLst>
          <pc:docMk/>
          <pc:sldMk cId="1500576756" sldId="2147469980"/>
        </pc:sldMkLst>
      </pc:sldChg>
      <pc:sldChg chg="add del">
        <pc:chgData name="Alex Powers" userId="ae4a1fc7-4395-46d3-b2f1-3b3c37036ad1" providerId="ADAL" clId="{CA276D41-AFC9-4BEF-B6EE-46680A52C501}" dt="2022-09-22T15:15:28.830" v="5306" actId="2696"/>
        <pc:sldMkLst>
          <pc:docMk/>
          <pc:sldMk cId="2219463510" sldId="2147469980"/>
        </pc:sldMkLst>
      </pc:sldChg>
      <pc:sldChg chg="add del">
        <pc:chgData name="Alex Powers" userId="ae4a1fc7-4395-46d3-b2f1-3b3c37036ad1" providerId="ADAL" clId="{CA276D41-AFC9-4BEF-B6EE-46680A52C501}" dt="2022-09-22T15:16:20.165" v="5308" actId="2696"/>
        <pc:sldMkLst>
          <pc:docMk/>
          <pc:sldMk cId="4269760304" sldId="2147469980"/>
        </pc:sldMkLst>
      </pc:sldChg>
      <pc:sldChg chg="add">
        <pc:chgData name="Alex Powers" userId="ae4a1fc7-4395-46d3-b2f1-3b3c37036ad1" providerId="ADAL" clId="{CA276D41-AFC9-4BEF-B6EE-46680A52C501}" dt="2022-09-21T18:02:53.568" v="843"/>
        <pc:sldMkLst>
          <pc:docMk/>
          <pc:sldMk cId="126455273" sldId="2147469982"/>
        </pc:sldMkLst>
      </pc:sldChg>
      <pc:sldChg chg="modSp del mod">
        <pc:chgData name="Alex Powers" userId="ae4a1fc7-4395-46d3-b2f1-3b3c37036ad1" providerId="ADAL" clId="{CA276D41-AFC9-4BEF-B6EE-46680A52C501}" dt="2022-09-21T18:02:34.603" v="840" actId="2696"/>
        <pc:sldMkLst>
          <pc:docMk/>
          <pc:sldMk cId="570758012" sldId="2147469982"/>
        </pc:sldMkLst>
        <pc:spChg chg="mod">
          <ac:chgData name="Alex Powers" userId="ae4a1fc7-4395-46d3-b2f1-3b3c37036ad1" providerId="ADAL" clId="{CA276D41-AFC9-4BEF-B6EE-46680A52C501}" dt="2022-09-21T17:29:16.020" v="757" actId="14100"/>
          <ac:spMkLst>
            <pc:docMk/>
            <pc:sldMk cId="570758012" sldId="2147469982"/>
            <ac:spMk id="4" creationId="{9668475D-3E5E-42CC-B3E4-E83D54889211}"/>
          </ac:spMkLst>
        </pc:spChg>
      </pc:sldChg>
      <pc:sldChg chg="add del">
        <pc:chgData name="Alex Powers" userId="ae4a1fc7-4395-46d3-b2f1-3b3c37036ad1" providerId="ADAL" clId="{CA276D41-AFC9-4BEF-B6EE-46680A52C501}" dt="2022-09-21T18:02:51.147" v="842" actId="2696"/>
        <pc:sldMkLst>
          <pc:docMk/>
          <pc:sldMk cId="1983110775" sldId="2147469982"/>
        </pc:sldMkLst>
      </pc:sldChg>
      <pc:sldChg chg="del">
        <pc:chgData name="Alex Powers" userId="ae4a1fc7-4395-46d3-b2f1-3b3c37036ad1" providerId="ADAL" clId="{CA276D41-AFC9-4BEF-B6EE-46680A52C501}" dt="2022-09-21T18:00:21.119" v="838" actId="2696"/>
        <pc:sldMkLst>
          <pc:docMk/>
          <pc:sldMk cId="888786860" sldId="2147469983"/>
        </pc:sldMkLst>
      </pc:sldChg>
      <pc:sldChg chg="add">
        <pc:chgData name="Alex Powers" userId="ae4a1fc7-4395-46d3-b2f1-3b3c37036ad1" providerId="ADAL" clId="{CA276D41-AFC9-4BEF-B6EE-46680A52C501}" dt="2022-09-21T18:00:27.263" v="839"/>
        <pc:sldMkLst>
          <pc:docMk/>
          <pc:sldMk cId="3567913994" sldId="2147469983"/>
        </pc:sldMkLst>
      </pc:sldChg>
      <pc:sldChg chg="del">
        <pc:chgData name="Alex Powers" userId="ae4a1fc7-4395-46d3-b2f1-3b3c37036ad1" providerId="ADAL" clId="{CA276D41-AFC9-4BEF-B6EE-46680A52C501}" dt="2022-09-21T18:00:21.119" v="838" actId="2696"/>
        <pc:sldMkLst>
          <pc:docMk/>
          <pc:sldMk cId="1046244589" sldId="2147469984"/>
        </pc:sldMkLst>
      </pc:sldChg>
      <pc:sldChg chg="add">
        <pc:chgData name="Alex Powers" userId="ae4a1fc7-4395-46d3-b2f1-3b3c37036ad1" providerId="ADAL" clId="{CA276D41-AFC9-4BEF-B6EE-46680A52C501}" dt="2022-09-21T18:00:27.263" v="839"/>
        <pc:sldMkLst>
          <pc:docMk/>
          <pc:sldMk cId="1334380734" sldId="2147469984"/>
        </pc:sldMkLst>
      </pc:sldChg>
      <pc:sldChg chg="del">
        <pc:chgData name="Alex Powers" userId="ae4a1fc7-4395-46d3-b2f1-3b3c37036ad1" providerId="ADAL" clId="{CA276D41-AFC9-4BEF-B6EE-46680A52C501}" dt="2022-09-21T18:00:21.119" v="838" actId="2696"/>
        <pc:sldMkLst>
          <pc:docMk/>
          <pc:sldMk cId="3280957216" sldId="2147469985"/>
        </pc:sldMkLst>
      </pc:sldChg>
      <pc:sldChg chg="add">
        <pc:chgData name="Alex Powers" userId="ae4a1fc7-4395-46d3-b2f1-3b3c37036ad1" providerId="ADAL" clId="{CA276D41-AFC9-4BEF-B6EE-46680A52C501}" dt="2022-09-21T18:00:27.263" v="839"/>
        <pc:sldMkLst>
          <pc:docMk/>
          <pc:sldMk cId="3437924214" sldId="2147469985"/>
        </pc:sldMkLst>
      </pc:sldChg>
      <pc:sldChg chg="add">
        <pc:chgData name="Alex Powers" userId="ae4a1fc7-4395-46d3-b2f1-3b3c37036ad1" providerId="ADAL" clId="{CA276D41-AFC9-4BEF-B6EE-46680A52C501}" dt="2022-09-21T18:00:27.263" v="839"/>
        <pc:sldMkLst>
          <pc:docMk/>
          <pc:sldMk cId="170189365" sldId="2147469986"/>
        </pc:sldMkLst>
      </pc:sldChg>
      <pc:sldChg chg="del">
        <pc:chgData name="Alex Powers" userId="ae4a1fc7-4395-46d3-b2f1-3b3c37036ad1" providerId="ADAL" clId="{CA276D41-AFC9-4BEF-B6EE-46680A52C501}" dt="2022-09-21T18:00:21.119" v="838" actId="2696"/>
        <pc:sldMkLst>
          <pc:docMk/>
          <pc:sldMk cId="1294955514" sldId="2147469986"/>
        </pc:sldMkLst>
      </pc:sldChg>
      <pc:sldChg chg="del">
        <pc:chgData name="Alex Powers" userId="ae4a1fc7-4395-46d3-b2f1-3b3c37036ad1" providerId="ADAL" clId="{CA276D41-AFC9-4BEF-B6EE-46680A52C501}" dt="2022-09-21T18:00:21.119" v="838" actId="2696"/>
        <pc:sldMkLst>
          <pc:docMk/>
          <pc:sldMk cId="29555374" sldId="2147469987"/>
        </pc:sldMkLst>
      </pc:sldChg>
      <pc:sldChg chg="add">
        <pc:chgData name="Alex Powers" userId="ae4a1fc7-4395-46d3-b2f1-3b3c37036ad1" providerId="ADAL" clId="{CA276D41-AFC9-4BEF-B6EE-46680A52C501}" dt="2022-09-21T18:00:27.263" v="839"/>
        <pc:sldMkLst>
          <pc:docMk/>
          <pc:sldMk cId="3973779779" sldId="2147469987"/>
        </pc:sldMkLst>
      </pc:sldChg>
      <pc:sldChg chg="del">
        <pc:chgData name="Alex Powers" userId="ae4a1fc7-4395-46d3-b2f1-3b3c37036ad1" providerId="ADAL" clId="{CA276D41-AFC9-4BEF-B6EE-46680A52C501}" dt="2022-09-21T18:00:21.119" v="838" actId="2696"/>
        <pc:sldMkLst>
          <pc:docMk/>
          <pc:sldMk cId="2619014782" sldId="2147469988"/>
        </pc:sldMkLst>
      </pc:sldChg>
      <pc:sldChg chg="add">
        <pc:chgData name="Alex Powers" userId="ae4a1fc7-4395-46d3-b2f1-3b3c37036ad1" providerId="ADAL" clId="{CA276D41-AFC9-4BEF-B6EE-46680A52C501}" dt="2022-09-21T18:00:27.263" v="839"/>
        <pc:sldMkLst>
          <pc:docMk/>
          <pc:sldMk cId="3896218398" sldId="2147469988"/>
        </pc:sldMkLst>
      </pc:sldChg>
      <pc:sldChg chg="add">
        <pc:chgData name="Alex Powers" userId="ae4a1fc7-4395-46d3-b2f1-3b3c37036ad1" providerId="ADAL" clId="{CA276D41-AFC9-4BEF-B6EE-46680A52C501}" dt="2022-09-21T18:00:27.263" v="839"/>
        <pc:sldMkLst>
          <pc:docMk/>
          <pc:sldMk cId="1562393145" sldId="2147469990"/>
        </pc:sldMkLst>
      </pc:sldChg>
      <pc:sldChg chg="del mod modShow">
        <pc:chgData name="Alex Powers" userId="ae4a1fc7-4395-46d3-b2f1-3b3c37036ad1" providerId="ADAL" clId="{CA276D41-AFC9-4BEF-B6EE-46680A52C501}" dt="2022-09-21T18:00:21.119" v="838" actId="2696"/>
        <pc:sldMkLst>
          <pc:docMk/>
          <pc:sldMk cId="3096642978" sldId="2147469990"/>
        </pc:sldMkLst>
      </pc:sldChg>
      <pc:sldChg chg="add">
        <pc:chgData name="Alex Powers" userId="ae4a1fc7-4395-46d3-b2f1-3b3c37036ad1" providerId="ADAL" clId="{CA276D41-AFC9-4BEF-B6EE-46680A52C501}" dt="2022-09-21T18:00:27.263" v="839"/>
        <pc:sldMkLst>
          <pc:docMk/>
          <pc:sldMk cId="392625646" sldId="2147469991"/>
        </pc:sldMkLst>
      </pc:sldChg>
      <pc:sldChg chg="del mod modShow">
        <pc:chgData name="Alex Powers" userId="ae4a1fc7-4395-46d3-b2f1-3b3c37036ad1" providerId="ADAL" clId="{CA276D41-AFC9-4BEF-B6EE-46680A52C501}" dt="2022-09-21T18:00:21.119" v="838" actId="2696"/>
        <pc:sldMkLst>
          <pc:docMk/>
          <pc:sldMk cId="4140600895" sldId="2147469991"/>
        </pc:sldMkLst>
      </pc:sldChg>
      <pc:sldChg chg="add del">
        <pc:chgData name="Alex Powers" userId="ae4a1fc7-4395-46d3-b2f1-3b3c37036ad1" providerId="ADAL" clId="{CA276D41-AFC9-4BEF-B6EE-46680A52C501}" dt="2022-09-21T12:44:15.121" v="2"/>
        <pc:sldMkLst>
          <pc:docMk/>
          <pc:sldMk cId="1470683276" sldId="2147470018"/>
        </pc:sldMkLst>
      </pc:sldChg>
      <pc:sldChg chg="modSp add mod modAnim">
        <pc:chgData name="Alex Powers" userId="ae4a1fc7-4395-46d3-b2f1-3b3c37036ad1" providerId="ADAL" clId="{CA276D41-AFC9-4BEF-B6EE-46680A52C501}" dt="2022-09-21T14:33:58.314" v="723" actId="20577"/>
        <pc:sldMkLst>
          <pc:docMk/>
          <pc:sldMk cId="2660385707" sldId="2147470018"/>
        </pc:sldMkLst>
        <pc:spChg chg="mod">
          <ac:chgData name="Alex Powers" userId="ae4a1fc7-4395-46d3-b2f1-3b3c37036ad1" providerId="ADAL" clId="{CA276D41-AFC9-4BEF-B6EE-46680A52C501}" dt="2022-09-21T13:09:12.929" v="453" actId="207"/>
          <ac:spMkLst>
            <pc:docMk/>
            <pc:sldMk cId="2660385707" sldId="2147470018"/>
            <ac:spMk id="3" creationId="{FCE6285D-7541-4859-AA62-FA584FAB1695}"/>
          </ac:spMkLst>
        </pc:spChg>
        <pc:spChg chg="mod">
          <ac:chgData name="Alex Powers" userId="ae4a1fc7-4395-46d3-b2f1-3b3c37036ad1" providerId="ADAL" clId="{CA276D41-AFC9-4BEF-B6EE-46680A52C501}" dt="2022-09-21T14:33:58.314" v="723" actId="20577"/>
          <ac:spMkLst>
            <pc:docMk/>
            <pc:sldMk cId="2660385707" sldId="2147470018"/>
            <ac:spMk id="5" creationId="{B2062909-0AFD-477D-A2E8-CBD8284CCA40}"/>
          </ac:spMkLst>
        </pc:spChg>
        <pc:spChg chg="mod">
          <ac:chgData name="Alex Powers" userId="ae4a1fc7-4395-46d3-b2f1-3b3c37036ad1" providerId="ADAL" clId="{CA276D41-AFC9-4BEF-B6EE-46680A52C501}" dt="2022-09-21T13:09:27.364" v="459" actId="20577"/>
          <ac:spMkLst>
            <pc:docMk/>
            <pc:sldMk cId="2660385707" sldId="2147470018"/>
            <ac:spMk id="6" creationId="{B22D67FE-8787-4AA2-B41A-F489775A3742}"/>
          </ac:spMkLst>
        </pc:spChg>
      </pc:sldChg>
      <pc:sldChg chg="addSp delSp modSp add mod">
        <pc:chgData name="Alex Powers" userId="ae4a1fc7-4395-46d3-b2f1-3b3c37036ad1" providerId="ADAL" clId="{CA276D41-AFC9-4BEF-B6EE-46680A52C501}" dt="2022-09-21T20:14:55.235" v="949" actId="1076"/>
        <pc:sldMkLst>
          <pc:docMk/>
          <pc:sldMk cId="2167896620" sldId="2147470019"/>
        </pc:sldMkLst>
        <pc:spChg chg="mod">
          <ac:chgData name="Alex Powers" userId="ae4a1fc7-4395-46d3-b2f1-3b3c37036ad1" providerId="ADAL" clId="{CA276D41-AFC9-4BEF-B6EE-46680A52C501}" dt="2022-09-21T20:13:19.768" v="930" actId="14100"/>
          <ac:spMkLst>
            <pc:docMk/>
            <pc:sldMk cId="2167896620" sldId="2147470019"/>
            <ac:spMk id="2" creationId="{00000000-0000-0000-0000-000000000000}"/>
          </ac:spMkLst>
        </pc:spChg>
        <pc:spChg chg="add del mod">
          <ac:chgData name="Alex Powers" userId="ae4a1fc7-4395-46d3-b2f1-3b3c37036ad1" providerId="ADAL" clId="{CA276D41-AFC9-4BEF-B6EE-46680A52C501}" dt="2022-09-21T14:09:52.968" v="526" actId="478"/>
          <ac:spMkLst>
            <pc:docMk/>
            <pc:sldMk cId="2167896620" sldId="2147470019"/>
            <ac:spMk id="3" creationId="{62C7C930-33E5-21BC-D01E-CFAEC14B34FA}"/>
          </ac:spMkLst>
        </pc:spChg>
        <pc:spChg chg="add mod">
          <ac:chgData name="Alex Powers" userId="ae4a1fc7-4395-46d3-b2f1-3b3c37036ad1" providerId="ADAL" clId="{CA276D41-AFC9-4BEF-B6EE-46680A52C501}" dt="2022-09-21T20:14:55.235" v="949" actId="1076"/>
          <ac:spMkLst>
            <pc:docMk/>
            <pc:sldMk cId="2167896620" sldId="2147470019"/>
            <ac:spMk id="4" creationId="{0A6BBA13-66A2-9689-F50A-598B57A8481C}"/>
          </ac:spMkLst>
        </pc:spChg>
        <pc:spChg chg="add del mod">
          <ac:chgData name="Alex Powers" userId="ae4a1fc7-4395-46d3-b2f1-3b3c37036ad1" providerId="ADAL" clId="{CA276D41-AFC9-4BEF-B6EE-46680A52C501}" dt="2022-09-21T20:13:38.253" v="935" actId="478"/>
          <ac:spMkLst>
            <pc:docMk/>
            <pc:sldMk cId="2167896620" sldId="2147470019"/>
            <ac:spMk id="6" creationId="{D40AAD97-32E2-0CDB-F5BA-926CDC420AD3}"/>
          </ac:spMkLst>
        </pc:spChg>
        <pc:spChg chg="add mod">
          <ac:chgData name="Alex Powers" userId="ae4a1fc7-4395-46d3-b2f1-3b3c37036ad1" providerId="ADAL" clId="{CA276D41-AFC9-4BEF-B6EE-46680A52C501}" dt="2022-09-21T20:14:51.356" v="948" actId="1076"/>
          <ac:spMkLst>
            <pc:docMk/>
            <pc:sldMk cId="2167896620" sldId="2147470019"/>
            <ac:spMk id="8" creationId="{797C0335-7D4C-6A0B-5C4C-E117F9DCF97F}"/>
          </ac:spMkLst>
        </pc:spChg>
        <pc:graphicFrameChg chg="del">
          <ac:chgData name="Alex Powers" userId="ae4a1fc7-4395-46d3-b2f1-3b3c37036ad1" providerId="ADAL" clId="{CA276D41-AFC9-4BEF-B6EE-46680A52C501}" dt="2022-09-21T14:09:11.011" v="466" actId="478"/>
          <ac:graphicFrameMkLst>
            <pc:docMk/>
            <pc:sldMk cId="2167896620" sldId="2147470019"/>
            <ac:graphicFrameMk id="7" creationId="{3E5C1877-83B6-43B2-8D9F-D6B32A5B8BB7}"/>
          </ac:graphicFrameMkLst>
        </pc:graphicFrameChg>
      </pc:sldChg>
      <pc:sldChg chg="add">
        <pc:chgData name="Alex Powers" userId="ae4a1fc7-4395-46d3-b2f1-3b3c37036ad1" providerId="ADAL" clId="{CA276D41-AFC9-4BEF-B6EE-46680A52C501}" dt="2022-09-21T17:48:24.037" v="762"/>
        <pc:sldMkLst>
          <pc:docMk/>
          <pc:sldMk cId="251696956" sldId="2147470020"/>
        </pc:sldMkLst>
      </pc:sldChg>
      <pc:sldChg chg="add modAnim">
        <pc:chgData name="Alex Powers" userId="ae4a1fc7-4395-46d3-b2f1-3b3c37036ad1" providerId="ADAL" clId="{CA276D41-AFC9-4BEF-B6EE-46680A52C501}" dt="2022-09-21T17:54:02.995" v="784"/>
        <pc:sldMkLst>
          <pc:docMk/>
          <pc:sldMk cId="3403083790" sldId="2147470021"/>
        </pc:sldMkLst>
      </pc:sldChg>
      <pc:sldChg chg="add">
        <pc:chgData name="Alex Powers" userId="ae4a1fc7-4395-46d3-b2f1-3b3c37036ad1" providerId="ADAL" clId="{CA276D41-AFC9-4BEF-B6EE-46680A52C501}" dt="2022-09-21T17:54:55.516" v="785"/>
        <pc:sldMkLst>
          <pc:docMk/>
          <pc:sldMk cId="1775685642" sldId="2147470022"/>
        </pc:sldMkLst>
      </pc:sldChg>
      <pc:sldChg chg="add">
        <pc:chgData name="Alex Powers" userId="ae4a1fc7-4395-46d3-b2f1-3b3c37036ad1" providerId="ADAL" clId="{CA276D41-AFC9-4BEF-B6EE-46680A52C501}" dt="2022-09-21T17:57:01.649" v="798"/>
        <pc:sldMkLst>
          <pc:docMk/>
          <pc:sldMk cId="828768306" sldId="2147470023"/>
        </pc:sldMkLst>
      </pc:sldChg>
      <pc:sldChg chg="new del">
        <pc:chgData name="Alex Powers" userId="ae4a1fc7-4395-46d3-b2f1-3b3c37036ad1" providerId="ADAL" clId="{CA276D41-AFC9-4BEF-B6EE-46680A52C501}" dt="2022-09-21T17:58:21.640" v="831" actId="47"/>
        <pc:sldMkLst>
          <pc:docMk/>
          <pc:sldMk cId="2362403173" sldId="2147470024"/>
        </pc:sldMkLst>
      </pc:sldChg>
      <pc:sldChg chg="addSp delSp modSp add mod modShow">
        <pc:chgData name="Alex Powers" userId="ae4a1fc7-4395-46d3-b2f1-3b3c37036ad1" providerId="ADAL" clId="{CA276D41-AFC9-4BEF-B6EE-46680A52C501}" dt="2022-09-22T14:56:07.179" v="5241" actId="20577"/>
        <pc:sldMkLst>
          <pc:docMk/>
          <pc:sldMk cId="1862046003" sldId="2147470025"/>
        </pc:sldMkLst>
        <pc:spChg chg="del">
          <ac:chgData name="Alex Powers" userId="ae4a1fc7-4395-46d3-b2f1-3b3c37036ad1" providerId="ADAL" clId="{CA276D41-AFC9-4BEF-B6EE-46680A52C501}" dt="2022-09-21T17:58:00.301" v="801" actId="478"/>
          <ac:spMkLst>
            <pc:docMk/>
            <pc:sldMk cId="1862046003" sldId="2147470025"/>
            <ac:spMk id="3" creationId="{00000000-0000-0000-0000-000000000000}"/>
          </ac:spMkLst>
        </pc:spChg>
        <pc:spChg chg="del">
          <ac:chgData name="Alex Powers" userId="ae4a1fc7-4395-46d3-b2f1-3b3c37036ad1" providerId="ADAL" clId="{CA276D41-AFC9-4BEF-B6EE-46680A52C501}" dt="2022-09-21T17:58:05.718" v="803" actId="478"/>
          <ac:spMkLst>
            <pc:docMk/>
            <pc:sldMk cId="1862046003" sldId="2147470025"/>
            <ac:spMk id="4" creationId="{A0B0CD16-BC87-4AC0-AEF5-B6E30105BEBE}"/>
          </ac:spMkLst>
        </pc:spChg>
        <pc:spChg chg="add del mod">
          <ac:chgData name="Alex Powers" userId="ae4a1fc7-4395-46d3-b2f1-3b3c37036ad1" providerId="ADAL" clId="{CA276D41-AFC9-4BEF-B6EE-46680A52C501}" dt="2022-09-21T17:58:02.754" v="802" actId="478"/>
          <ac:spMkLst>
            <pc:docMk/>
            <pc:sldMk cId="1862046003" sldId="2147470025"/>
            <ac:spMk id="5" creationId="{BC43E114-4A92-4818-070F-40A7233A7555}"/>
          </ac:spMkLst>
        </pc:spChg>
        <pc:spChg chg="del">
          <ac:chgData name="Alex Powers" userId="ae4a1fc7-4395-46d3-b2f1-3b3c37036ad1" providerId="ADAL" clId="{CA276D41-AFC9-4BEF-B6EE-46680A52C501}" dt="2022-09-21T17:58:05.718" v="803" actId="478"/>
          <ac:spMkLst>
            <pc:docMk/>
            <pc:sldMk cId="1862046003" sldId="2147470025"/>
            <ac:spMk id="7" creationId="{1E85CD01-95CA-47C9-985B-25C543E04654}"/>
          </ac:spMkLst>
        </pc:spChg>
        <pc:spChg chg="del">
          <ac:chgData name="Alex Powers" userId="ae4a1fc7-4395-46d3-b2f1-3b3c37036ad1" providerId="ADAL" clId="{CA276D41-AFC9-4BEF-B6EE-46680A52C501}" dt="2022-09-21T17:58:05.718" v="803" actId="478"/>
          <ac:spMkLst>
            <pc:docMk/>
            <pc:sldMk cId="1862046003" sldId="2147470025"/>
            <ac:spMk id="10" creationId="{77C1B2CA-F04E-4767-91C7-569AEB5C309B}"/>
          </ac:spMkLst>
        </pc:spChg>
        <pc:spChg chg="mod">
          <ac:chgData name="Alex Powers" userId="ae4a1fc7-4395-46d3-b2f1-3b3c37036ad1" providerId="ADAL" clId="{CA276D41-AFC9-4BEF-B6EE-46680A52C501}" dt="2022-09-22T14:44:16.702" v="4534" actId="20577"/>
          <ac:spMkLst>
            <pc:docMk/>
            <pc:sldMk cId="1862046003" sldId="2147470025"/>
            <ac:spMk id="12" creationId="{B89B5BCA-B02C-496F-B3B4-7EC34B922586}"/>
          </ac:spMkLst>
        </pc:spChg>
        <pc:spChg chg="del">
          <ac:chgData name="Alex Powers" userId="ae4a1fc7-4395-46d3-b2f1-3b3c37036ad1" providerId="ADAL" clId="{CA276D41-AFC9-4BEF-B6EE-46680A52C501}" dt="2022-09-21T17:58:05.718" v="803" actId="478"/>
          <ac:spMkLst>
            <pc:docMk/>
            <pc:sldMk cId="1862046003" sldId="2147470025"/>
            <ac:spMk id="13" creationId="{4ACD3412-788F-49DC-98FD-19C625333BC6}"/>
          </ac:spMkLst>
        </pc:spChg>
        <pc:spChg chg="del">
          <ac:chgData name="Alex Powers" userId="ae4a1fc7-4395-46d3-b2f1-3b3c37036ad1" providerId="ADAL" clId="{CA276D41-AFC9-4BEF-B6EE-46680A52C501}" dt="2022-09-21T17:58:05.718" v="803" actId="478"/>
          <ac:spMkLst>
            <pc:docMk/>
            <pc:sldMk cId="1862046003" sldId="2147470025"/>
            <ac:spMk id="15" creationId="{A88C60D1-2857-4CE6-98CC-DB7E014575E0}"/>
          </ac:spMkLst>
        </pc:spChg>
        <pc:spChg chg="add del mod">
          <ac:chgData name="Alex Powers" userId="ae4a1fc7-4395-46d3-b2f1-3b3c37036ad1" providerId="ADAL" clId="{CA276D41-AFC9-4BEF-B6EE-46680A52C501}" dt="2022-09-22T14:45:04.904" v="4642" actId="478"/>
          <ac:spMkLst>
            <pc:docMk/>
            <pc:sldMk cId="1862046003" sldId="2147470025"/>
            <ac:spMk id="20" creationId="{AD907DA6-FB01-6577-04C9-6C9317B326DF}"/>
          </ac:spMkLst>
        </pc:spChg>
        <pc:spChg chg="add mod">
          <ac:chgData name="Alex Powers" userId="ae4a1fc7-4395-46d3-b2f1-3b3c37036ad1" providerId="ADAL" clId="{CA276D41-AFC9-4BEF-B6EE-46680A52C501}" dt="2022-09-22T14:56:07.179" v="5241" actId="20577"/>
          <ac:spMkLst>
            <pc:docMk/>
            <pc:sldMk cId="1862046003" sldId="2147470025"/>
            <ac:spMk id="21" creationId="{32545513-21A5-AE1F-B69A-59692DB715A5}"/>
          </ac:spMkLst>
        </pc:spChg>
        <pc:spChg chg="del">
          <ac:chgData name="Alex Powers" userId="ae4a1fc7-4395-46d3-b2f1-3b3c37036ad1" providerId="ADAL" clId="{CA276D41-AFC9-4BEF-B6EE-46680A52C501}" dt="2022-09-21T17:58:05.718" v="803" actId="478"/>
          <ac:spMkLst>
            <pc:docMk/>
            <pc:sldMk cId="1862046003" sldId="2147470025"/>
            <ac:spMk id="43" creationId="{86430280-6C99-4817-9C30-84EDAA337868}"/>
          </ac:spMkLst>
        </pc:spChg>
        <pc:spChg chg="del">
          <ac:chgData name="Alex Powers" userId="ae4a1fc7-4395-46d3-b2f1-3b3c37036ad1" providerId="ADAL" clId="{CA276D41-AFC9-4BEF-B6EE-46680A52C501}" dt="2022-09-21T17:58:05.718" v="803" actId="478"/>
          <ac:spMkLst>
            <pc:docMk/>
            <pc:sldMk cId="1862046003" sldId="2147470025"/>
            <ac:spMk id="45" creationId="{72A87A1C-E46C-421B-A290-7E3583A3EDE8}"/>
          </ac:spMkLst>
        </pc:spChg>
        <pc:spChg chg="del">
          <ac:chgData name="Alex Powers" userId="ae4a1fc7-4395-46d3-b2f1-3b3c37036ad1" providerId="ADAL" clId="{CA276D41-AFC9-4BEF-B6EE-46680A52C501}" dt="2022-09-21T17:58:05.718" v="803" actId="478"/>
          <ac:spMkLst>
            <pc:docMk/>
            <pc:sldMk cId="1862046003" sldId="2147470025"/>
            <ac:spMk id="47" creationId="{A8F045CA-A84F-41AF-B4C2-725B88D3F123}"/>
          </ac:spMkLst>
        </pc:spChg>
        <pc:spChg chg="del">
          <ac:chgData name="Alex Powers" userId="ae4a1fc7-4395-46d3-b2f1-3b3c37036ad1" providerId="ADAL" clId="{CA276D41-AFC9-4BEF-B6EE-46680A52C501}" dt="2022-09-21T17:58:05.718" v="803" actId="478"/>
          <ac:spMkLst>
            <pc:docMk/>
            <pc:sldMk cId="1862046003" sldId="2147470025"/>
            <ac:spMk id="49" creationId="{B54E62FD-79E6-436A-9AF9-E1A6BBB40300}"/>
          </ac:spMkLst>
        </pc:spChg>
        <pc:spChg chg="del">
          <ac:chgData name="Alex Powers" userId="ae4a1fc7-4395-46d3-b2f1-3b3c37036ad1" providerId="ADAL" clId="{CA276D41-AFC9-4BEF-B6EE-46680A52C501}" dt="2022-09-21T17:58:05.718" v="803" actId="478"/>
          <ac:spMkLst>
            <pc:docMk/>
            <pc:sldMk cId="1862046003" sldId="2147470025"/>
            <ac:spMk id="51" creationId="{A174F806-BB61-4D02-BE1C-A3960C7060A4}"/>
          </ac:spMkLst>
        </pc:spChg>
        <pc:spChg chg="del">
          <ac:chgData name="Alex Powers" userId="ae4a1fc7-4395-46d3-b2f1-3b3c37036ad1" providerId="ADAL" clId="{CA276D41-AFC9-4BEF-B6EE-46680A52C501}" dt="2022-09-21T17:58:05.718" v="803" actId="478"/>
          <ac:spMkLst>
            <pc:docMk/>
            <pc:sldMk cId="1862046003" sldId="2147470025"/>
            <ac:spMk id="53" creationId="{72FA6718-7BA0-42F8-A131-6583FD77A828}"/>
          </ac:spMkLst>
        </pc:spChg>
        <pc:spChg chg="del">
          <ac:chgData name="Alex Powers" userId="ae4a1fc7-4395-46d3-b2f1-3b3c37036ad1" providerId="ADAL" clId="{CA276D41-AFC9-4BEF-B6EE-46680A52C501}" dt="2022-09-21T17:58:05.718" v="803" actId="478"/>
          <ac:spMkLst>
            <pc:docMk/>
            <pc:sldMk cId="1862046003" sldId="2147470025"/>
            <ac:spMk id="55" creationId="{7101FA97-BDA5-4733-AD32-5A5F6BA65A5E}"/>
          </ac:spMkLst>
        </pc:spChg>
        <pc:spChg chg="del">
          <ac:chgData name="Alex Powers" userId="ae4a1fc7-4395-46d3-b2f1-3b3c37036ad1" providerId="ADAL" clId="{CA276D41-AFC9-4BEF-B6EE-46680A52C501}" dt="2022-09-21T17:58:05.718" v="803" actId="478"/>
          <ac:spMkLst>
            <pc:docMk/>
            <pc:sldMk cId="1862046003" sldId="2147470025"/>
            <ac:spMk id="57" creationId="{FAD1CF8A-7198-4FD3-BF11-2063BCEC5BA8}"/>
          </ac:spMkLst>
        </pc:spChg>
        <pc:spChg chg="del">
          <ac:chgData name="Alex Powers" userId="ae4a1fc7-4395-46d3-b2f1-3b3c37036ad1" providerId="ADAL" clId="{CA276D41-AFC9-4BEF-B6EE-46680A52C501}" dt="2022-09-21T17:58:05.718" v="803" actId="478"/>
          <ac:spMkLst>
            <pc:docMk/>
            <pc:sldMk cId="1862046003" sldId="2147470025"/>
            <ac:spMk id="60" creationId="{7B6B0CBE-D9EF-4606-B4A1-19A59350F356}"/>
          </ac:spMkLst>
        </pc:spChg>
        <pc:grpChg chg="del">
          <ac:chgData name="Alex Powers" userId="ae4a1fc7-4395-46d3-b2f1-3b3c37036ad1" providerId="ADAL" clId="{CA276D41-AFC9-4BEF-B6EE-46680A52C501}" dt="2022-09-21T17:58:10.567" v="804" actId="478"/>
          <ac:grpSpMkLst>
            <pc:docMk/>
            <pc:sldMk cId="1862046003" sldId="2147470025"/>
            <ac:grpSpMk id="26" creationId="{24554D04-33E8-4A56-A5E4-31B271AB09A5}"/>
          </ac:grpSpMkLst>
        </pc:grpChg>
        <pc:picChg chg="add del mod">
          <ac:chgData name="Alex Powers" userId="ae4a1fc7-4395-46d3-b2f1-3b3c37036ad1" providerId="ADAL" clId="{CA276D41-AFC9-4BEF-B6EE-46680A52C501}" dt="2022-09-22T14:41:47.107" v="4529" actId="478"/>
          <ac:picMkLst>
            <pc:docMk/>
            <pc:sldMk cId="1862046003" sldId="2147470025"/>
            <ac:picMk id="8" creationId="{D5C888F5-8D89-6408-0FB3-0146C4F4B6EC}"/>
          </ac:picMkLst>
        </pc:picChg>
        <pc:picChg chg="add del mod">
          <ac:chgData name="Alex Powers" userId="ae4a1fc7-4395-46d3-b2f1-3b3c37036ad1" providerId="ADAL" clId="{CA276D41-AFC9-4BEF-B6EE-46680A52C501}" dt="2022-09-22T14:41:44.176" v="4527" actId="478"/>
          <ac:picMkLst>
            <pc:docMk/>
            <pc:sldMk cId="1862046003" sldId="2147470025"/>
            <ac:picMk id="14" creationId="{C4B76E5E-1B8F-5628-1C4B-FA259A9E3564}"/>
          </ac:picMkLst>
        </pc:picChg>
        <pc:picChg chg="add del mod">
          <ac:chgData name="Alex Powers" userId="ae4a1fc7-4395-46d3-b2f1-3b3c37036ad1" providerId="ADAL" clId="{CA276D41-AFC9-4BEF-B6EE-46680A52C501}" dt="2022-09-22T14:41:45.693" v="4528" actId="478"/>
          <ac:picMkLst>
            <pc:docMk/>
            <pc:sldMk cId="1862046003" sldId="2147470025"/>
            <ac:picMk id="17" creationId="{1136933B-773A-4071-6F64-933C0F8B5265}"/>
          </ac:picMkLst>
        </pc:picChg>
        <pc:picChg chg="add mod">
          <ac:chgData name="Alex Powers" userId="ae4a1fc7-4395-46d3-b2f1-3b3c37036ad1" providerId="ADAL" clId="{CA276D41-AFC9-4BEF-B6EE-46680A52C501}" dt="2022-09-22T14:55:37.232" v="5196" actId="1076"/>
          <ac:picMkLst>
            <pc:docMk/>
            <pc:sldMk cId="1862046003" sldId="2147470025"/>
            <ac:picMk id="19" creationId="{28C14FF6-8875-5CE0-8E10-4BE25BBB5944}"/>
          </ac:picMkLst>
        </pc:picChg>
        <pc:picChg chg="add mod">
          <ac:chgData name="Alex Powers" userId="ae4a1fc7-4395-46d3-b2f1-3b3c37036ad1" providerId="ADAL" clId="{CA276D41-AFC9-4BEF-B6EE-46680A52C501}" dt="2022-09-22T14:55:32.231" v="5195" actId="1076"/>
          <ac:picMkLst>
            <pc:docMk/>
            <pc:sldMk cId="1862046003" sldId="2147470025"/>
            <ac:picMk id="23" creationId="{856C1599-E2AE-70AC-499C-1DF8AE072873}"/>
          </ac:picMkLst>
        </pc:picChg>
      </pc:sldChg>
      <pc:sldChg chg="add">
        <pc:chgData name="Alex Powers" userId="ae4a1fc7-4395-46d3-b2f1-3b3c37036ad1" providerId="ADAL" clId="{CA276D41-AFC9-4BEF-B6EE-46680A52C501}" dt="2022-09-21T17:58:20.285" v="830"/>
        <pc:sldMkLst>
          <pc:docMk/>
          <pc:sldMk cId="2985688466" sldId="2147470026"/>
        </pc:sldMkLst>
      </pc:sldChg>
      <pc:sldChg chg="add">
        <pc:chgData name="Alex Powers" userId="ae4a1fc7-4395-46d3-b2f1-3b3c37036ad1" providerId="ADAL" clId="{CA276D41-AFC9-4BEF-B6EE-46680A52C501}" dt="2022-09-21T17:59:34.916" v="835"/>
        <pc:sldMkLst>
          <pc:docMk/>
          <pc:sldMk cId="4217775724" sldId="2147470027"/>
        </pc:sldMkLst>
      </pc:sldChg>
      <pc:sldChg chg="modSp add del mod">
        <pc:chgData name="Alex Powers" userId="ae4a1fc7-4395-46d3-b2f1-3b3c37036ad1" providerId="ADAL" clId="{CA276D41-AFC9-4BEF-B6EE-46680A52C501}" dt="2022-09-22T13:55:12.978" v="1124" actId="47"/>
        <pc:sldMkLst>
          <pc:docMk/>
          <pc:sldMk cId="2500469967" sldId="2147470028"/>
        </pc:sldMkLst>
        <pc:spChg chg="mod">
          <ac:chgData name="Alex Powers" userId="ae4a1fc7-4395-46d3-b2f1-3b3c37036ad1" providerId="ADAL" clId="{CA276D41-AFC9-4BEF-B6EE-46680A52C501}" dt="2022-09-22T13:53:01.376" v="1096" actId="20577"/>
          <ac:spMkLst>
            <pc:docMk/>
            <pc:sldMk cId="2500469967" sldId="2147470028"/>
            <ac:spMk id="34" creationId="{C86876B5-5E1B-4EAA-994C-00C61C1F64C5}"/>
          </ac:spMkLst>
        </pc:spChg>
        <pc:spChg chg="mod">
          <ac:chgData name="Alex Powers" userId="ae4a1fc7-4395-46d3-b2f1-3b3c37036ad1" providerId="ADAL" clId="{CA276D41-AFC9-4BEF-B6EE-46680A52C501}" dt="2022-09-22T13:53:34.718" v="1098" actId="207"/>
          <ac:spMkLst>
            <pc:docMk/>
            <pc:sldMk cId="2500469967" sldId="2147470028"/>
            <ac:spMk id="86" creationId="{8EE24D38-2494-49D9-A944-C2333D182120}"/>
          </ac:spMkLst>
        </pc:spChg>
      </pc:sldChg>
      <pc:sldChg chg="modSp add del mod">
        <pc:chgData name="Alex Powers" userId="ae4a1fc7-4395-46d3-b2f1-3b3c37036ad1" providerId="ADAL" clId="{CA276D41-AFC9-4BEF-B6EE-46680A52C501}" dt="2022-09-22T13:52:51.137" v="1087" actId="47"/>
        <pc:sldMkLst>
          <pc:docMk/>
          <pc:sldMk cId="3997207895" sldId="2147470028"/>
        </pc:sldMkLst>
        <pc:spChg chg="mod">
          <ac:chgData name="Alex Powers" userId="ae4a1fc7-4395-46d3-b2f1-3b3c37036ad1" providerId="ADAL" clId="{CA276D41-AFC9-4BEF-B6EE-46680A52C501}" dt="2022-09-22T13:51:54.394" v="1055" actId="207"/>
          <ac:spMkLst>
            <pc:docMk/>
            <pc:sldMk cId="3997207895" sldId="2147470028"/>
            <ac:spMk id="86" creationId="{8EE24D38-2494-49D9-A944-C2333D182120}"/>
          </ac:spMkLst>
        </pc:spChg>
      </pc:sldChg>
      <pc:sldChg chg="addSp delSp modSp add mod ord">
        <pc:chgData name="Alex Powers" userId="ae4a1fc7-4395-46d3-b2f1-3b3c37036ad1" providerId="ADAL" clId="{CA276D41-AFC9-4BEF-B6EE-46680A52C501}" dt="2022-09-22T14:16:08.514" v="2669"/>
        <pc:sldMkLst>
          <pc:docMk/>
          <pc:sldMk cId="3255266748" sldId="2147470029"/>
        </pc:sldMkLst>
        <pc:spChg chg="add del mod">
          <ac:chgData name="Alex Powers" userId="ae4a1fc7-4395-46d3-b2f1-3b3c37036ad1" providerId="ADAL" clId="{CA276D41-AFC9-4BEF-B6EE-46680A52C501}" dt="2022-09-22T14:11:57.421" v="2250" actId="478"/>
          <ac:spMkLst>
            <pc:docMk/>
            <pc:sldMk cId="3255266748" sldId="2147470029"/>
            <ac:spMk id="4" creationId="{0A1024CC-66AA-A599-D47F-404C5722D55F}"/>
          </ac:spMkLst>
        </pc:spChg>
        <pc:spChg chg="del">
          <ac:chgData name="Alex Powers" userId="ae4a1fc7-4395-46d3-b2f1-3b3c37036ad1" providerId="ADAL" clId="{CA276D41-AFC9-4BEF-B6EE-46680A52C501}" dt="2022-09-22T13:53:49.544" v="1102" actId="478"/>
          <ac:spMkLst>
            <pc:docMk/>
            <pc:sldMk cId="3255266748" sldId="2147470029"/>
            <ac:spMk id="11" creationId="{91D7D164-6DA3-4E6B-BEBF-F227DA26BF50}"/>
          </ac:spMkLst>
        </pc:spChg>
        <pc:spChg chg="del">
          <ac:chgData name="Alex Powers" userId="ae4a1fc7-4395-46d3-b2f1-3b3c37036ad1" providerId="ADAL" clId="{CA276D41-AFC9-4BEF-B6EE-46680A52C501}" dt="2022-09-22T14:14:33.660" v="2624" actId="478"/>
          <ac:spMkLst>
            <pc:docMk/>
            <pc:sldMk cId="3255266748" sldId="2147470029"/>
            <ac:spMk id="15" creationId="{94CB0C34-6558-47BD-A22D-4225A004FCC4}"/>
          </ac:spMkLst>
        </pc:spChg>
        <pc:spChg chg="del">
          <ac:chgData name="Alex Powers" userId="ae4a1fc7-4395-46d3-b2f1-3b3c37036ad1" providerId="ADAL" clId="{CA276D41-AFC9-4BEF-B6EE-46680A52C501}" dt="2022-09-22T14:14:36.463" v="2625" actId="478"/>
          <ac:spMkLst>
            <pc:docMk/>
            <pc:sldMk cId="3255266748" sldId="2147470029"/>
            <ac:spMk id="17" creationId="{64D19349-A129-4AC6-B403-E180872E6D32}"/>
          </ac:spMkLst>
        </pc:spChg>
        <pc:spChg chg="del">
          <ac:chgData name="Alex Powers" userId="ae4a1fc7-4395-46d3-b2f1-3b3c37036ad1" providerId="ADAL" clId="{CA276D41-AFC9-4BEF-B6EE-46680A52C501}" dt="2022-09-22T14:14:39.285" v="2626" actId="478"/>
          <ac:spMkLst>
            <pc:docMk/>
            <pc:sldMk cId="3255266748" sldId="2147470029"/>
            <ac:spMk id="21" creationId="{E53D5C8B-6F2E-4178-B677-619905D1D7EB}"/>
          </ac:spMkLst>
        </pc:spChg>
        <pc:spChg chg="del topLvl">
          <ac:chgData name="Alex Powers" userId="ae4a1fc7-4395-46d3-b2f1-3b3c37036ad1" providerId="ADAL" clId="{CA276D41-AFC9-4BEF-B6EE-46680A52C501}" dt="2022-09-22T13:53:53.057" v="1103" actId="478"/>
          <ac:spMkLst>
            <pc:docMk/>
            <pc:sldMk cId="3255266748" sldId="2147470029"/>
            <ac:spMk id="30" creationId="{839F9D70-B90A-48B9-BF7E-5AD2F1CC8279}"/>
          </ac:spMkLst>
        </pc:spChg>
        <pc:spChg chg="mod">
          <ac:chgData name="Alex Powers" userId="ae4a1fc7-4395-46d3-b2f1-3b3c37036ad1" providerId="ADAL" clId="{CA276D41-AFC9-4BEF-B6EE-46680A52C501}" dt="2022-09-22T13:56:35.416" v="1199" actId="20577"/>
          <ac:spMkLst>
            <pc:docMk/>
            <pc:sldMk cId="3255266748" sldId="2147470029"/>
            <ac:spMk id="34" creationId="{C86876B5-5E1B-4EAA-994C-00C61C1F64C5}"/>
          </ac:spMkLst>
        </pc:spChg>
        <pc:spChg chg="mod topLvl">
          <ac:chgData name="Alex Powers" userId="ae4a1fc7-4395-46d3-b2f1-3b3c37036ad1" providerId="ADAL" clId="{CA276D41-AFC9-4BEF-B6EE-46680A52C501}" dt="2022-09-22T13:54:21.055" v="1107" actId="207"/>
          <ac:spMkLst>
            <pc:docMk/>
            <pc:sldMk cId="3255266748" sldId="2147470029"/>
            <ac:spMk id="86" creationId="{8EE24D38-2494-49D9-A944-C2333D182120}"/>
          </ac:spMkLst>
        </pc:spChg>
        <pc:spChg chg="del">
          <ac:chgData name="Alex Powers" userId="ae4a1fc7-4395-46d3-b2f1-3b3c37036ad1" providerId="ADAL" clId="{CA276D41-AFC9-4BEF-B6EE-46680A52C501}" dt="2022-09-22T13:53:44.621" v="1100" actId="478"/>
          <ac:spMkLst>
            <pc:docMk/>
            <pc:sldMk cId="3255266748" sldId="2147470029"/>
            <ac:spMk id="93" creationId="{0BBEAFF1-D87C-4A04-BFE7-918D36A07B14}"/>
          </ac:spMkLst>
        </pc:spChg>
        <pc:spChg chg="del">
          <ac:chgData name="Alex Powers" userId="ae4a1fc7-4395-46d3-b2f1-3b3c37036ad1" providerId="ADAL" clId="{CA276D41-AFC9-4BEF-B6EE-46680A52C501}" dt="2022-09-22T13:53:47.120" v="1101" actId="478"/>
          <ac:spMkLst>
            <pc:docMk/>
            <pc:sldMk cId="3255266748" sldId="2147470029"/>
            <ac:spMk id="94" creationId="{857A01D0-8818-4FD5-B4A3-2B04F570FCC9}"/>
          </ac:spMkLst>
        </pc:spChg>
        <pc:spChg chg="mod">
          <ac:chgData name="Alex Powers" userId="ae4a1fc7-4395-46d3-b2f1-3b3c37036ad1" providerId="ADAL" clId="{CA276D41-AFC9-4BEF-B6EE-46680A52C501}" dt="2022-09-22T14:15:32.641" v="2667" actId="20577"/>
          <ac:spMkLst>
            <pc:docMk/>
            <pc:sldMk cId="3255266748" sldId="2147470029"/>
            <ac:spMk id="142" creationId="{CE8813FB-2DD8-4D1F-8F33-704BF1DB97F9}"/>
          </ac:spMkLst>
        </pc:spChg>
        <pc:spChg chg="del">
          <ac:chgData name="Alex Powers" userId="ae4a1fc7-4395-46d3-b2f1-3b3c37036ad1" providerId="ADAL" clId="{CA276D41-AFC9-4BEF-B6EE-46680A52C501}" dt="2022-09-22T13:57:09.527" v="1269" actId="478"/>
          <ac:spMkLst>
            <pc:docMk/>
            <pc:sldMk cId="3255266748" sldId="2147470029"/>
            <ac:spMk id="156" creationId="{8A78C84C-3B7A-40AD-89B6-D81EF198D335}"/>
          </ac:spMkLst>
        </pc:spChg>
        <pc:grpChg chg="del">
          <ac:chgData name="Alex Powers" userId="ae4a1fc7-4395-46d3-b2f1-3b3c37036ad1" providerId="ADAL" clId="{CA276D41-AFC9-4BEF-B6EE-46680A52C501}" dt="2022-09-22T13:53:53.057" v="1103" actId="478"/>
          <ac:grpSpMkLst>
            <pc:docMk/>
            <pc:sldMk cId="3255266748" sldId="2147470029"/>
            <ac:grpSpMk id="139" creationId="{78E1AD21-B1E1-4AFC-A797-6C906276B8B9}"/>
          </ac:grpSpMkLst>
        </pc:grpChg>
      </pc:sldChg>
      <pc:sldChg chg="add del">
        <pc:chgData name="Alex Powers" userId="ae4a1fc7-4395-46d3-b2f1-3b3c37036ad1" providerId="ADAL" clId="{CA276D41-AFC9-4BEF-B6EE-46680A52C501}" dt="2022-09-22T13:55:22.219" v="1126" actId="47"/>
        <pc:sldMkLst>
          <pc:docMk/>
          <pc:sldMk cId="2595359839" sldId="2147470030"/>
        </pc:sldMkLst>
      </pc:sldChg>
      <pc:sldChg chg="addSp delSp modSp add mod">
        <pc:chgData name="Alex Powers" userId="ae4a1fc7-4395-46d3-b2f1-3b3c37036ad1" providerId="ADAL" clId="{CA276D41-AFC9-4BEF-B6EE-46680A52C501}" dt="2022-09-22T14:33:55.221" v="3862" actId="1076"/>
        <pc:sldMkLst>
          <pc:docMk/>
          <pc:sldMk cId="2692276594" sldId="2147470031"/>
        </pc:sldMkLst>
        <pc:spChg chg="mod">
          <ac:chgData name="Alex Powers" userId="ae4a1fc7-4395-46d3-b2f1-3b3c37036ad1" providerId="ADAL" clId="{CA276D41-AFC9-4BEF-B6EE-46680A52C501}" dt="2022-09-22T14:23:22.831" v="3110" actId="207"/>
          <ac:spMkLst>
            <pc:docMk/>
            <pc:sldMk cId="2692276594" sldId="2147470031"/>
            <ac:spMk id="11" creationId="{91D7D164-6DA3-4E6B-BEBF-F227DA26BF50}"/>
          </ac:spMkLst>
        </pc:spChg>
        <pc:spChg chg="del">
          <ac:chgData name="Alex Powers" userId="ae4a1fc7-4395-46d3-b2f1-3b3c37036ad1" providerId="ADAL" clId="{CA276D41-AFC9-4BEF-B6EE-46680A52C501}" dt="2022-09-22T14:23:05.534" v="3107" actId="478"/>
          <ac:spMkLst>
            <pc:docMk/>
            <pc:sldMk cId="2692276594" sldId="2147470031"/>
            <ac:spMk id="30" creationId="{839F9D70-B90A-48B9-BF7E-5AD2F1CC8279}"/>
          </ac:spMkLst>
        </pc:spChg>
        <pc:spChg chg="mod">
          <ac:chgData name="Alex Powers" userId="ae4a1fc7-4395-46d3-b2f1-3b3c37036ad1" providerId="ADAL" clId="{CA276D41-AFC9-4BEF-B6EE-46680A52C501}" dt="2022-09-22T14:16:59.656" v="2679" actId="20577"/>
          <ac:spMkLst>
            <pc:docMk/>
            <pc:sldMk cId="2692276594" sldId="2147470031"/>
            <ac:spMk id="34" creationId="{C86876B5-5E1B-4EAA-994C-00C61C1F64C5}"/>
          </ac:spMkLst>
        </pc:spChg>
        <pc:spChg chg="mod">
          <ac:chgData name="Alex Powers" userId="ae4a1fc7-4395-46d3-b2f1-3b3c37036ad1" providerId="ADAL" clId="{CA276D41-AFC9-4BEF-B6EE-46680A52C501}" dt="2022-09-22T14:23:16.571" v="3108" actId="207"/>
          <ac:spMkLst>
            <pc:docMk/>
            <pc:sldMk cId="2692276594" sldId="2147470031"/>
            <ac:spMk id="93" creationId="{0BBEAFF1-D87C-4A04-BFE7-918D36A07B14}"/>
          </ac:spMkLst>
        </pc:spChg>
        <pc:spChg chg="mod">
          <ac:chgData name="Alex Powers" userId="ae4a1fc7-4395-46d3-b2f1-3b3c37036ad1" providerId="ADAL" clId="{CA276D41-AFC9-4BEF-B6EE-46680A52C501}" dt="2022-09-22T14:23:20.146" v="3109" actId="207"/>
          <ac:spMkLst>
            <pc:docMk/>
            <pc:sldMk cId="2692276594" sldId="2147470031"/>
            <ac:spMk id="94" creationId="{857A01D0-8818-4FD5-B4A3-2B04F570FCC9}"/>
          </ac:spMkLst>
        </pc:spChg>
        <pc:spChg chg="mod">
          <ac:chgData name="Alex Powers" userId="ae4a1fc7-4395-46d3-b2f1-3b3c37036ad1" providerId="ADAL" clId="{CA276D41-AFC9-4BEF-B6EE-46680A52C501}" dt="2022-09-22T14:33:55.221" v="3862" actId="1076"/>
          <ac:spMkLst>
            <pc:docMk/>
            <pc:sldMk cId="2692276594" sldId="2147470031"/>
            <ac:spMk id="142" creationId="{CE8813FB-2DD8-4D1F-8F33-704BF1DB97F9}"/>
          </ac:spMkLst>
        </pc:spChg>
        <pc:spChg chg="add del">
          <ac:chgData name="Alex Powers" userId="ae4a1fc7-4395-46d3-b2f1-3b3c37036ad1" providerId="ADAL" clId="{CA276D41-AFC9-4BEF-B6EE-46680A52C501}" dt="2022-09-22T14:23:27.926" v="3111" actId="478"/>
          <ac:spMkLst>
            <pc:docMk/>
            <pc:sldMk cId="2692276594" sldId="2147470031"/>
            <ac:spMk id="156" creationId="{8A78C84C-3B7A-40AD-89B6-D81EF198D335}"/>
          </ac:spMkLst>
        </pc:spChg>
      </pc:sldChg>
      <pc:sldChg chg="add del">
        <pc:chgData name="Alex Powers" userId="ae4a1fc7-4395-46d3-b2f1-3b3c37036ad1" providerId="ADAL" clId="{CA276D41-AFC9-4BEF-B6EE-46680A52C501}" dt="2022-09-22T14:28:29.458" v="3381" actId="47"/>
        <pc:sldMkLst>
          <pc:docMk/>
          <pc:sldMk cId="400810320" sldId="2147470032"/>
        </pc:sldMkLst>
      </pc:sldChg>
      <pc:sldChg chg="delSp modSp add mod">
        <pc:chgData name="Alex Powers" userId="ae4a1fc7-4395-46d3-b2f1-3b3c37036ad1" providerId="ADAL" clId="{CA276D41-AFC9-4BEF-B6EE-46680A52C501}" dt="2022-09-22T14:39:14.886" v="4514" actId="313"/>
        <pc:sldMkLst>
          <pc:docMk/>
          <pc:sldMk cId="1737087969" sldId="2147470033"/>
        </pc:sldMkLst>
        <pc:spChg chg="mod">
          <ac:chgData name="Alex Powers" userId="ae4a1fc7-4395-46d3-b2f1-3b3c37036ad1" providerId="ADAL" clId="{CA276D41-AFC9-4BEF-B6EE-46680A52C501}" dt="2022-09-22T14:28:37.189" v="3382" actId="207"/>
          <ac:spMkLst>
            <pc:docMk/>
            <pc:sldMk cId="1737087969" sldId="2147470033"/>
            <ac:spMk id="30" creationId="{839F9D70-B90A-48B9-BF7E-5AD2F1CC8279}"/>
          </ac:spMkLst>
        </pc:spChg>
        <pc:spChg chg="mod">
          <ac:chgData name="Alex Powers" userId="ae4a1fc7-4395-46d3-b2f1-3b3c37036ad1" providerId="ADAL" clId="{CA276D41-AFC9-4BEF-B6EE-46680A52C501}" dt="2022-09-22T14:28:40.543" v="3390" actId="20577"/>
          <ac:spMkLst>
            <pc:docMk/>
            <pc:sldMk cId="1737087969" sldId="2147470033"/>
            <ac:spMk id="34" creationId="{C86876B5-5E1B-4EAA-994C-00C61C1F64C5}"/>
          </ac:spMkLst>
        </pc:spChg>
        <pc:spChg chg="mod">
          <ac:chgData name="Alex Powers" userId="ae4a1fc7-4395-46d3-b2f1-3b3c37036ad1" providerId="ADAL" clId="{CA276D41-AFC9-4BEF-B6EE-46680A52C501}" dt="2022-09-22T14:39:14.886" v="4514" actId="313"/>
          <ac:spMkLst>
            <pc:docMk/>
            <pc:sldMk cId="1737087969" sldId="2147470033"/>
            <ac:spMk id="142" creationId="{CE8813FB-2DD8-4D1F-8F33-704BF1DB97F9}"/>
          </ac:spMkLst>
        </pc:spChg>
        <pc:spChg chg="del">
          <ac:chgData name="Alex Powers" userId="ae4a1fc7-4395-46d3-b2f1-3b3c37036ad1" providerId="ADAL" clId="{CA276D41-AFC9-4BEF-B6EE-46680A52C501}" dt="2022-09-22T14:34:13.109" v="3866" actId="478"/>
          <ac:spMkLst>
            <pc:docMk/>
            <pc:sldMk cId="1737087969" sldId="2147470033"/>
            <ac:spMk id="156" creationId="{8A78C84C-3B7A-40AD-89B6-D81EF198D335}"/>
          </ac:spMkLst>
        </pc:spChg>
      </pc:sldChg>
      <pc:sldChg chg="add del">
        <pc:chgData name="Alex Powers" userId="ae4a1fc7-4395-46d3-b2f1-3b3c37036ad1" providerId="ADAL" clId="{CA276D41-AFC9-4BEF-B6EE-46680A52C501}" dt="2022-09-22T15:19:41.639" v="5355" actId="2696"/>
        <pc:sldMkLst>
          <pc:docMk/>
          <pc:sldMk cId="2211797624" sldId="2147470034"/>
        </pc:sldMkLst>
      </pc:sldChg>
      <pc:sldChg chg="add">
        <pc:chgData name="Alex Powers" userId="ae4a1fc7-4395-46d3-b2f1-3b3c37036ad1" providerId="ADAL" clId="{CA276D41-AFC9-4BEF-B6EE-46680A52C501}" dt="2022-09-22T15:19:46.452" v="5356"/>
        <pc:sldMkLst>
          <pc:docMk/>
          <pc:sldMk cId="3440000179" sldId="2147470034"/>
        </pc:sldMkLst>
      </pc:sldChg>
      <pc:sldChg chg="modSp add mod">
        <pc:chgData name="Alex Powers" userId="ae4a1fc7-4395-46d3-b2f1-3b3c37036ad1" providerId="ADAL" clId="{CA276D41-AFC9-4BEF-B6EE-46680A52C501}" dt="2022-09-22T15:20:49.453" v="5404" actId="12789"/>
        <pc:sldMkLst>
          <pc:docMk/>
          <pc:sldMk cId="3435564117" sldId="2147470035"/>
        </pc:sldMkLst>
        <pc:spChg chg="mod">
          <ac:chgData name="Alex Powers" userId="ae4a1fc7-4395-46d3-b2f1-3b3c37036ad1" providerId="ADAL" clId="{CA276D41-AFC9-4BEF-B6EE-46680A52C501}" dt="2022-09-22T15:20:49.453" v="5404" actId="12789"/>
          <ac:spMkLst>
            <pc:docMk/>
            <pc:sldMk cId="3435564117" sldId="2147470035"/>
            <ac:spMk id="3" creationId="{7D784AF8-0564-4CE2-A3F3-ED6D0598904B}"/>
          </ac:spMkLst>
        </pc:spChg>
      </pc:sldChg>
      <pc:sldChg chg="add del">
        <pc:chgData name="Alex Powers" userId="ae4a1fc7-4395-46d3-b2f1-3b3c37036ad1" providerId="ADAL" clId="{CA276D41-AFC9-4BEF-B6EE-46680A52C501}" dt="2022-09-22T15:19:41.639" v="5355" actId="2696"/>
        <pc:sldMkLst>
          <pc:docMk/>
          <pc:sldMk cId="2941731858" sldId="2147470036"/>
        </pc:sldMkLst>
      </pc:sldChg>
      <pc:sldChg chg="add">
        <pc:chgData name="Alex Powers" userId="ae4a1fc7-4395-46d3-b2f1-3b3c37036ad1" providerId="ADAL" clId="{CA276D41-AFC9-4BEF-B6EE-46680A52C501}" dt="2022-09-22T15:19:46.452" v="5356"/>
        <pc:sldMkLst>
          <pc:docMk/>
          <pc:sldMk cId="3394150191" sldId="214747003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993813148033205E-2"/>
          <c:w val="0.96909862890373111"/>
          <c:h val="0.98006192933159919"/>
        </c:manualLayout>
      </c:layout>
      <c:lineChart>
        <c:grouping val="standard"/>
        <c:varyColors val="0"/>
        <c:ser>
          <c:idx val="0"/>
          <c:order val="0"/>
          <c:tx>
            <c:strRef>
              <c:f>Sheet1!$B$1</c:f>
              <c:strCache>
                <c:ptCount val="1"/>
                <c:pt idx="0">
                  <c:v>Series 1</c:v>
                </c:pt>
              </c:strCache>
            </c:strRef>
          </c:tx>
          <c:spPr>
            <a:ln w="28575" cap="rnd">
              <a:solidFill>
                <a:srgbClr val="F2C811"/>
              </a:solidFill>
              <a:round/>
            </a:ln>
            <a:effectLst/>
          </c:spPr>
          <c:marker>
            <c:symbol val="none"/>
          </c:marker>
          <c:cat>
            <c:numRef>
              <c:f>Sheet1!$A$2:$A$2244</c:f>
              <c:numCache>
                <c:formatCode>m/d/yyyy</c:formatCode>
                <c:ptCount val="2243"/>
                <c:pt idx="0">
                  <c:v>42217</c:v>
                </c:pt>
                <c:pt idx="1">
                  <c:v>42218</c:v>
                </c:pt>
                <c:pt idx="2">
                  <c:v>42219</c:v>
                </c:pt>
                <c:pt idx="3">
                  <c:v>42220</c:v>
                </c:pt>
                <c:pt idx="4">
                  <c:v>42221</c:v>
                </c:pt>
                <c:pt idx="5">
                  <c:v>42222</c:v>
                </c:pt>
                <c:pt idx="6">
                  <c:v>42223</c:v>
                </c:pt>
                <c:pt idx="7">
                  <c:v>42224</c:v>
                </c:pt>
                <c:pt idx="8">
                  <c:v>42225</c:v>
                </c:pt>
                <c:pt idx="9">
                  <c:v>42226</c:v>
                </c:pt>
                <c:pt idx="10">
                  <c:v>42227</c:v>
                </c:pt>
                <c:pt idx="11">
                  <c:v>42228</c:v>
                </c:pt>
                <c:pt idx="12">
                  <c:v>42229</c:v>
                </c:pt>
                <c:pt idx="13">
                  <c:v>42230</c:v>
                </c:pt>
                <c:pt idx="14">
                  <c:v>42231</c:v>
                </c:pt>
                <c:pt idx="15">
                  <c:v>42232</c:v>
                </c:pt>
                <c:pt idx="16">
                  <c:v>42233</c:v>
                </c:pt>
                <c:pt idx="17">
                  <c:v>42234</c:v>
                </c:pt>
                <c:pt idx="18">
                  <c:v>42235</c:v>
                </c:pt>
                <c:pt idx="19">
                  <c:v>42236</c:v>
                </c:pt>
                <c:pt idx="20">
                  <c:v>42237</c:v>
                </c:pt>
                <c:pt idx="21">
                  <c:v>42238</c:v>
                </c:pt>
                <c:pt idx="22">
                  <c:v>42239</c:v>
                </c:pt>
                <c:pt idx="23">
                  <c:v>42240</c:v>
                </c:pt>
                <c:pt idx="24">
                  <c:v>42241</c:v>
                </c:pt>
                <c:pt idx="25">
                  <c:v>42242</c:v>
                </c:pt>
                <c:pt idx="26">
                  <c:v>42243</c:v>
                </c:pt>
                <c:pt idx="27">
                  <c:v>42244</c:v>
                </c:pt>
                <c:pt idx="28">
                  <c:v>42245</c:v>
                </c:pt>
                <c:pt idx="29">
                  <c:v>42246</c:v>
                </c:pt>
                <c:pt idx="30">
                  <c:v>42247</c:v>
                </c:pt>
                <c:pt idx="31">
                  <c:v>42248</c:v>
                </c:pt>
                <c:pt idx="32">
                  <c:v>42249</c:v>
                </c:pt>
                <c:pt idx="33">
                  <c:v>42250</c:v>
                </c:pt>
                <c:pt idx="34">
                  <c:v>42251</c:v>
                </c:pt>
                <c:pt idx="35">
                  <c:v>42252</c:v>
                </c:pt>
                <c:pt idx="36">
                  <c:v>42253</c:v>
                </c:pt>
                <c:pt idx="37">
                  <c:v>42254</c:v>
                </c:pt>
                <c:pt idx="38">
                  <c:v>42255</c:v>
                </c:pt>
                <c:pt idx="39">
                  <c:v>42256</c:v>
                </c:pt>
                <c:pt idx="40">
                  <c:v>42257</c:v>
                </c:pt>
                <c:pt idx="41">
                  <c:v>42258</c:v>
                </c:pt>
                <c:pt idx="42">
                  <c:v>42259</c:v>
                </c:pt>
                <c:pt idx="43">
                  <c:v>42260</c:v>
                </c:pt>
                <c:pt idx="44">
                  <c:v>42261</c:v>
                </c:pt>
                <c:pt idx="45">
                  <c:v>42262</c:v>
                </c:pt>
                <c:pt idx="46">
                  <c:v>42263</c:v>
                </c:pt>
                <c:pt idx="47">
                  <c:v>42264</c:v>
                </c:pt>
                <c:pt idx="48">
                  <c:v>42265</c:v>
                </c:pt>
                <c:pt idx="49">
                  <c:v>42266</c:v>
                </c:pt>
                <c:pt idx="50">
                  <c:v>42267</c:v>
                </c:pt>
                <c:pt idx="51">
                  <c:v>42268</c:v>
                </c:pt>
                <c:pt idx="52">
                  <c:v>42269</c:v>
                </c:pt>
                <c:pt idx="53">
                  <c:v>42270</c:v>
                </c:pt>
                <c:pt idx="54">
                  <c:v>42271</c:v>
                </c:pt>
                <c:pt idx="55">
                  <c:v>42272</c:v>
                </c:pt>
                <c:pt idx="56">
                  <c:v>42273</c:v>
                </c:pt>
                <c:pt idx="57">
                  <c:v>42274</c:v>
                </c:pt>
                <c:pt idx="58">
                  <c:v>42275</c:v>
                </c:pt>
                <c:pt idx="59">
                  <c:v>42276</c:v>
                </c:pt>
                <c:pt idx="60">
                  <c:v>42277</c:v>
                </c:pt>
                <c:pt idx="61">
                  <c:v>42278</c:v>
                </c:pt>
                <c:pt idx="62">
                  <c:v>42279</c:v>
                </c:pt>
                <c:pt idx="63">
                  <c:v>42280</c:v>
                </c:pt>
                <c:pt idx="64">
                  <c:v>42281</c:v>
                </c:pt>
                <c:pt idx="65">
                  <c:v>42282</c:v>
                </c:pt>
                <c:pt idx="66">
                  <c:v>42283</c:v>
                </c:pt>
                <c:pt idx="67">
                  <c:v>42284</c:v>
                </c:pt>
                <c:pt idx="68">
                  <c:v>42285</c:v>
                </c:pt>
                <c:pt idx="69">
                  <c:v>42286</c:v>
                </c:pt>
                <c:pt idx="70">
                  <c:v>42287</c:v>
                </c:pt>
                <c:pt idx="71">
                  <c:v>42288</c:v>
                </c:pt>
                <c:pt idx="72">
                  <c:v>42289</c:v>
                </c:pt>
                <c:pt idx="73">
                  <c:v>42290</c:v>
                </c:pt>
                <c:pt idx="74">
                  <c:v>42291</c:v>
                </c:pt>
                <c:pt idx="75">
                  <c:v>42292</c:v>
                </c:pt>
                <c:pt idx="76">
                  <c:v>42293</c:v>
                </c:pt>
                <c:pt idx="77">
                  <c:v>42294</c:v>
                </c:pt>
                <c:pt idx="78">
                  <c:v>42295</c:v>
                </c:pt>
                <c:pt idx="79">
                  <c:v>42296</c:v>
                </c:pt>
                <c:pt idx="80">
                  <c:v>42297</c:v>
                </c:pt>
                <c:pt idx="81">
                  <c:v>42298</c:v>
                </c:pt>
                <c:pt idx="82">
                  <c:v>42299</c:v>
                </c:pt>
                <c:pt idx="83">
                  <c:v>42300</c:v>
                </c:pt>
                <c:pt idx="84">
                  <c:v>42301</c:v>
                </c:pt>
                <c:pt idx="85">
                  <c:v>42302</c:v>
                </c:pt>
                <c:pt idx="86">
                  <c:v>42303</c:v>
                </c:pt>
                <c:pt idx="87">
                  <c:v>42304</c:v>
                </c:pt>
                <c:pt idx="88">
                  <c:v>42305</c:v>
                </c:pt>
                <c:pt idx="89">
                  <c:v>42306</c:v>
                </c:pt>
                <c:pt idx="90">
                  <c:v>42307</c:v>
                </c:pt>
                <c:pt idx="91">
                  <c:v>42308</c:v>
                </c:pt>
                <c:pt idx="92">
                  <c:v>42309</c:v>
                </c:pt>
                <c:pt idx="93">
                  <c:v>42310</c:v>
                </c:pt>
                <c:pt idx="94">
                  <c:v>42311</c:v>
                </c:pt>
                <c:pt idx="95">
                  <c:v>42312</c:v>
                </c:pt>
                <c:pt idx="96">
                  <c:v>42313</c:v>
                </c:pt>
                <c:pt idx="97">
                  <c:v>42314</c:v>
                </c:pt>
                <c:pt idx="98">
                  <c:v>42315</c:v>
                </c:pt>
                <c:pt idx="99">
                  <c:v>42316</c:v>
                </c:pt>
                <c:pt idx="100">
                  <c:v>42317</c:v>
                </c:pt>
                <c:pt idx="101">
                  <c:v>42318</c:v>
                </c:pt>
                <c:pt idx="102">
                  <c:v>42319</c:v>
                </c:pt>
                <c:pt idx="103">
                  <c:v>42320</c:v>
                </c:pt>
                <c:pt idx="104">
                  <c:v>42321</c:v>
                </c:pt>
                <c:pt idx="105">
                  <c:v>42322</c:v>
                </c:pt>
                <c:pt idx="106">
                  <c:v>42323</c:v>
                </c:pt>
                <c:pt idx="107">
                  <c:v>42324</c:v>
                </c:pt>
                <c:pt idx="108">
                  <c:v>42325</c:v>
                </c:pt>
                <c:pt idx="109">
                  <c:v>42326</c:v>
                </c:pt>
                <c:pt idx="110">
                  <c:v>42327</c:v>
                </c:pt>
                <c:pt idx="111">
                  <c:v>42328</c:v>
                </c:pt>
                <c:pt idx="112">
                  <c:v>42329</c:v>
                </c:pt>
                <c:pt idx="113">
                  <c:v>42330</c:v>
                </c:pt>
                <c:pt idx="114">
                  <c:v>42331</c:v>
                </c:pt>
                <c:pt idx="115">
                  <c:v>42332</c:v>
                </c:pt>
                <c:pt idx="116">
                  <c:v>42333</c:v>
                </c:pt>
                <c:pt idx="117">
                  <c:v>42334</c:v>
                </c:pt>
                <c:pt idx="118">
                  <c:v>42335</c:v>
                </c:pt>
                <c:pt idx="119">
                  <c:v>42336</c:v>
                </c:pt>
                <c:pt idx="120">
                  <c:v>42337</c:v>
                </c:pt>
                <c:pt idx="121">
                  <c:v>42338</c:v>
                </c:pt>
                <c:pt idx="122">
                  <c:v>42339</c:v>
                </c:pt>
                <c:pt idx="123">
                  <c:v>42340</c:v>
                </c:pt>
                <c:pt idx="124">
                  <c:v>42341</c:v>
                </c:pt>
                <c:pt idx="125">
                  <c:v>42342</c:v>
                </c:pt>
                <c:pt idx="126">
                  <c:v>42343</c:v>
                </c:pt>
                <c:pt idx="127">
                  <c:v>42344</c:v>
                </c:pt>
                <c:pt idx="128">
                  <c:v>42345</c:v>
                </c:pt>
                <c:pt idx="129">
                  <c:v>42346</c:v>
                </c:pt>
                <c:pt idx="130">
                  <c:v>42347</c:v>
                </c:pt>
                <c:pt idx="131">
                  <c:v>42348</c:v>
                </c:pt>
                <c:pt idx="132">
                  <c:v>42349</c:v>
                </c:pt>
                <c:pt idx="133">
                  <c:v>42350</c:v>
                </c:pt>
                <c:pt idx="134">
                  <c:v>42351</c:v>
                </c:pt>
                <c:pt idx="135">
                  <c:v>42352</c:v>
                </c:pt>
                <c:pt idx="136">
                  <c:v>42353</c:v>
                </c:pt>
                <c:pt idx="137">
                  <c:v>42354</c:v>
                </c:pt>
                <c:pt idx="138">
                  <c:v>42355</c:v>
                </c:pt>
                <c:pt idx="139">
                  <c:v>42356</c:v>
                </c:pt>
                <c:pt idx="140">
                  <c:v>42357</c:v>
                </c:pt>
                <c:pt idx="141">
                  <c:v>42358</c:v>
                </c:pt>
                <c:pt idx="142">
                  <c:v>42359</c:v>
                </c:pt>
                <c:pt idx="143">
                  <c:v>42360</c:v>
                </c:pt>
                <c:pt idx="144">
                  <c:v>42361</c:v>
                </c:pt>
                <c:pt idx="145">
                  <c:v>42362</c:v>
                </c:pt>
                <c:pt idx="146">
                  <c:v>42363</c:v>
                </c:pt>
                <c:pt idx="147">
                  <c:v>42364</c:v>
                </c:pt>
                <c:pt idx="148">
                  <c:v>42365</c:v>
                </c:pt>
                <c:pt idx="149">
                  <c:v>42366</c:v>
                </c:pt>
                <c:pt idx="150">
                  <c:v>42367</c:v>
                </c:pt>
                <c:pt idx="151">
                  <c:v>42368</c:v>
                </c:pt>
                <c:pt idx="152">
                  <c:v>42369</c:v>
                </c:pt>
                <c:pt idx="153">
                  <c:v>42370</c:v>
                </c:pt>
                <c:pt idx="154">
                  <c:v>42371</c:v>
                </c:pt>
                <c:pt idx="155">
                  <c:v>42372</c:v>
                </c:pt>
                <c:pt idx="156">
                  <c:v>42373</c:v>
                </c:pt>
                <c:pt idx="157">
                  <c:v>42374</c:v>
                </c:pt>
                <c:pt idx="158">
                  <c:v>42375</c:v>
                </c:pt>
                <c:pt idx="159">
                  <c:v>42376</c:v>
                </c:pt>
                <c:pt idx="160">
                  <c:v>42377</c:v>
                </c:pt>
                <c:pt idx="161">
                  <c:v>42378</c:v>
                </c:pt>
                <c:pt idx="162">
                  <c:v>42379</c:v>
                </c:pt>
                <c:pt idx="163">
                  <c:v>42380</c:v>
                </c:pt>
                <c:pt idx="164">
                  <c:v>42381</c:v>
                </c:pt>
                <c:pt idx="165">
                  <c:v>42382</c:v>
                </c:pt>
                <c:pt idx="166">
                  <c:v>42383</c:v>
                </c:pt>
                <c:pt idx="167">
                  <c:v>42384</c:v>
                </c:pt>
                <c:pt idx="168">
                  <c:v>42385</c:v>
                </c:pt>
                <c:pt idx="169">
                  <c:v>42386</c:v>
                </c:pt>
                <c:pt idx="170">
                  <c:v>42387</c:v>
                </c:pt>
                <c:pt idx="171">
                  <c:v>42388</c:v>
                </c:pt>
                <c:pt idx="172">
                  <c:v>42389</c:v>
                </c:pt>
                <c:pt idx="173">
                  <c:v>42390</c:v>
                </c:pt>
                <c:pt idx="174">
                  <c:v>42391</c:v>
                </c:pt>
                <c:pt idx="175">
                  <c:v>42392</c:v>
                </c:pt>
                <c:pt idx="176">
                  <c:v>42393</c:v>
                </c:pt>
                <c:pt idx="177">
                  <c:v>42394</c:v>
                </c:pt>
                <c:pt idx="178">
                  <c:v>42395</c:v>
                </c:pt>
                <c:pt idx="179">
                  <c:v>42396</c:v>
                </c:pt>
                <c:pt idx="180">
                  <c:v>42397</c:v>
                </c:pt>
                <c:pt idx="181">
                  <c:v>42398</c:v>
                </c:pt>
                <c:pt idx="182">
                  <c:v>42399</c:v>
                </c:pt>
                <c:pt idx="183">
                  <c:v>42400</c:v>
                </c:pt>
                <c:pt idx="184">
                  <c:v>42401</c:v>
                </c:pt>
                <c:pt idx="185">
                  <c:v>42402</c:v>
                </c:pt>
                <c:pt idx="186">
                  <c:v>42403</c:v>
                </c:pt>
                <c:pt idx="187">
                  <c:v>42404</c:v>
                </c:pt>
                <c:pt idx="188">
                  <c:v>42405</c:v>
                </c:pt>
                <c:pt idx="189">
                  <c:v>42406</c:v>
                </c:pt>
                <c:pt idx="190">
                  <c:v>42407</c:v>
                </c:pt>
                <c:pt idx="191">
                  <c:v>42408</c:v>
                </c:pt>
                <c:pt idx="192">
                  <c:v>42409</c:v>
                </c:pt>
                <c:pt idx="193">
                  <c:v>42410</c:v>
                </c:pt>
                <c:pt idx="194">
                  <c:v>42411</c:v>
                </c:pt>
                <c:pt idx="195">
                  <c:v>42412</c:v>
                </c:pt>
                <c:pt idx="196">
                  <c:v>42413</c:v>
                </c:pt>
                <c:pt idx="197">
                  <c:v>42414</c:v>
                </c:pt>
                <c:pt idx="198">
                  <c:v>42415</c:v>
                </c:pt>
                <c:pt idx="199">
                  <c:v>42416</c:v>
                </c:pt>
                <c:pt idx="200">
                  <c:v>42417</c:v>
                </c:pt>
                <c:pt idx="201">
                  <c:v>42418</c:v>
                </c:pt>
                <c:pt idx="202">
                  <c:v>42419</c:v>
                </c:pt>
                <c:pt idx="203">
                  <c:v>42420</c:v>
                </c:pt>
                <c:pt idx="204">
                  <c:v>42421</c:v>
                </c:pt>
                <c:pt idx="205">
                  <c:v>42422</c:v>
                </c:pt>
                <c:pt idx="206">
                  <c:v>42423</c:v>
                </c:pt>
                <c:pt idx="207">
                  <c:v>42424</c:v>
                </c:pt>
                <c:pt idx="208">
                  <c:v>42425</c:v>
                </c:pt>
                <c:pt idx="209">
                  <c:v>42426</c:v>
                </c:pt>
                <c:pt idx="210">
                  <c:v>42427</c:v>
                </c:pt>
                <c:pt idx="211">
                  <c:v>42428</c:v>
                </c:pt>
                <c:pt idx="212">
                  <c:v>42429</c:v>
                </c:pt>
                <c:pt idx="213">
                  <c:v>42430</c:v>
                </c:pt>
                <c:pt idx="214">
                  <c:v>42431</c:v>
                </c:pt>
                <c:pt idx="215">
                  <c:v>42432</c:v>
                </c:pt>
                <c:pt idx="216">
                  <c:v>42433</c:v>
                </c:pt>
                <c:pt idx="217">
                  <c:v>42434</c:v>
                </c:pt>
                <c:pt idx="218">
                  <c:v>42435</c:v>
                </c:pt>
                <c:pt idx="219">
                  <c:v>42436</c:v>
                </c:pt>
                <c:pt idx="220">
                  <c:v>42437</c:v>
                </c:pt>
                <c:pt idx="221">
                  <c:v>42438</c:v>
                </c:pt>
                <c:pt idx="222">
                  <c:v>42439</c:v>
                </c:pt>
                <c:pt idx="223">
                  <c:v>42440</c:v>
                </c:pt>
                <c:pt idx="224">
                  <c:v>42441</c:v>
                </c:pt>
                <c:pt idx="225">
                  <c:v>42442</c:v>
                </c:pt>
                <c:pt idx="226">
                  <c:v>42443</c:v>
                </c:pt>
                <c:pt idx="227">
                  <c:v>42444</c:v>
                </c:pt>
                <c:pt idx="228">
                  <c:v>42445</c:v>
                </c:pt>
                <c:pt idx="229">
                  <c:v>42446</c:v>
                </c:pt>
                <c:pt idx="230">
                  <c:v>42447</c:v>
                </c:pt>
                <c:pt idx="231">
                  <c:v>42448</c:v>
                </c:pt>
                <c:pt idx="232">
                  <c:v>42449</c:v>
                </c:pt>
                <c:pt idx="233">
                  <c:v>42450</c:v>
                </c:pt>
                <c:pt idx="234">
                  <c:v>42451</c:v>
                </c:pt>
                <c:pt idx="235">
                  <c:v>42452</c:v>
                </c:pt>
                <c:pt idx="236">
                  <c:v>42453</c:v>
                </c:pt>
                <c:pt idx="237">
                  <c:v>42454</c:v>
                </c:pt>
                <c:pt idx="238">
                  <c:v>42455</c:v>
                </c:pt>
                <c:pt idx="239">
                  <c:v>42456</c:v>
                </c:pt>
                <c:pt idx="240">
                  <c:v>42457</c:v>
                </c:pt>
                <c:pt idx="241">
                  <c:v>42458</c:v>
                </c:pt>
                <c:pt idx="242">
                  <c:v>42459</c:v>
                </c:pt>
                <c:pt idx="243">
                  <c:v>42460</c:v>
                </c:pt>
                <c:pt idx="244">
                  <c:v>42461</c:v>
                </c:pt>
                <c:pt idx="245">
                  <c:v>42462</c:v>
                </c:pt>
                <c:pt idx="246">
                  <c:v>42463</c:v>
                </c:pt>
                <c:pt idx="247">
                  <c:v>42464</c:v>
                </c:pt>
                <c:pt idx="248">
                  <c:v>42465</c:v>
                </c:pt>
                <c:pt idx="249">
                  <c:v>42466</c:v>
                </c:pt>
                <c:pt idx="250">
                  <c:v>42467</c:v>
                </c:pt>
                <c:pt idx="251">
                  <c:v>42468</c:v>
                </c:pt>
                <c:pt idx="252">
                  <c:v>42469</c:v>
                </c:pt>
                <c:pt idx="253">
                  <c:v>42470</c:v>
                </c:pt>
                <c:pt idx="254">
                  <c:v>42471</c:v>
                </c:pt>
                <c:pt idx="255">
                  <c:v>42472</c:v>
                </c:pt>
                <c:pt idx="256">
                  <c:v>42473</c:v>
                </c:pt>
                <c:pt idx="257">
                  <c:v>42474</c:v>
                </c:pt>
                <c:pt idx="258">
                  <c:v>42475</c:v>
                </c:pt>
                <c:pt idx="259">
                  <c:v>42476</c:v>
                </c:pt>
                <c:pt idx="260">
                  <c:v>42477</c:v>
                </c:pt>
                <c:pt idx="261">
                  <c:v>42478</c:v>
                </c:pt>
                <c:pt idx="262">
                  <c:v>42479</c:v>
                </c:pt>
                <c:pt idx="263">
                  <c:v>42480</c:v>
                </c:pt>
                <c:pt idx="264">
                  <c:v>42481</c:v>
                </c:pt>
                <c:pt idx="265">
                  <c:v>42482</c:v>
                </c:pt>
                <c:pt idx="266">
                  <c:v>42483</c:v>
                </c:pt>
                <c:pt idx="267">
                  <c:v>42484</c:v>
                </c:pt>
                <c:pt idx="268">
                  <c:v>42485</c:v>
                </c:pt>
                <c:pt idx="269">
                  <c:v>42486</c:v>
                </c:pt>
                <c:pt idx="270">
                  <c:v>42487</c:v>
                </c:pt>
                <c:pt idx="271">
                  <c:v>42488</c:v>
                </c:pt>
                <c:pt idx="272">
                  <c:v>42489</c:v>
                </c:pt>
                <c:pt idx="273">
                  <c:v>42490</c:v>
                </c:pt>
                <c:pt idx="274">
                  <c:v>42491</c:v>
                </c:pt>
                <c:pt idx="275">
                  <c:v>42492</c:v>
                </c:pt>
                <c:pt idx="276">
                  <c:v>42493</c:v>
                </c:pt>
                <c:pt idx="277">
                  <c:v>42494</c:v>
                </c:pt>
                <c:pt idx="278">
                  <c:v>42495</c:v>
                </c:pt>
                <c:pt idx="279">
                  <c:v>42496</c:v>
                </c:pt>
                <c:pt idx="280">
                  <c:v>42497</c:v>
                </c:pt>
                <c:pt idx="281">
                  <c:v>42498</c:v>
                </c:pt>
                <c:pt idx="282">
                  <c:v>42499</c:v>
                </c:pt>
                <c:pt idx="283">
                  <c:v>42500</c:v>
                </c:pt>
                <c:pt idx="284">
                  <c:v>42501</c:v>
                </c:pt>
                <c:pt idx="285">
                  <c:v>42502</c:v>
                </c:pt>
                <c:pt idx="286">
                  <c:v>42503</c:v>
                </c:pt>
                <c:pt idx="287">
                  <c:v>42504</c:v>
                </c:pt>
                <c:pt idx="288">
                  <c:v>42505</c:v>
                </c:pt>
                <c:pt idx="289">
                  <c:v>42506</c:v>
                </c:pt>
                <c:pt idx="290">
                  <c:v>42507</c:v>
                </c:pt>
                <c:pt idx="291">
                  <c:v>42508</c:v>
                </c:pt>
                <c:pt idx="292">
                  <c:v>42509</c:v>
                </c:pt>
                <c:pt idx="293">
                  <c:v>42510</c:v>
                </c:pt>
                <c:pt idx="294">
                  <c:v>42511</c:v>
                </c:pt>
                <c:pt idx="295">
                  <c:v>42512</c:v>
                </c:pt>
                <c:pt idx="296">
                  <c:v>42513</c:v>
                </c:pt>
                <c:pt idx="297">
                  <c:v>42514</c:v>
                </c:pt>
                <c:pt idx="298">
                  <c:v>42515</c:v>
                </c:pt>
                <c:pt idx="299">
                  <c:v>42516</c:v>
                </c:pt>
                <c:pt idx="300">
                  <c:v>42517</c:v>
                </c:pt>
                <c:pt idx="301">
                  <c:v>42518</c:v>
                </c:pt>
                <c:pt idx="302">
                  <c:v>42519</c:v>
                </c:pt>
                <c:pt idx="303">
                  <c:v>42520</c:v>
                </c:pt>
                <c:pt idx="304">
                  <c:v>42521</c:v>
                </c:pt>
                <c:pt idx="305">
                  <c:v>42522</c:v>
                </c:pt>
                <c:pt idx="306">
                  <c:v>42523</c:v>
                </c:pt>
                <c:pt idx="307">
                  <c:v>42524</c:v>
                </c:pt>
                <c:pt idx="308">
                  <c:v>42525</c:v>
                </c:pt>
                <c:pt idx="309">
                  <c:v>42526</c:v>
                </c:pt>
                <c:pt idx="310">
                  <c:v>42527</c:v>
                </c:pt>
                <c:pt idx="311">
                  <c:v>42528</c:v>
                </c:pt>
                <c:pt idx="312">
                  <c:v>42529</c:v>
                </c:pt>
                <c:pt idx="313">
                  <c:v>42530</c:v>
                </c:pt>
                <c:pt idx="314">
                  <c:v>42531</c:v>
                </c:pt>
                <c:pt idx="315">
                  <c:v>42532</c:v>
                </c:pt>
                <c:pt idx="316">
                  <c:v>42533</c:v>
                </c:pt>
                <c:pt idx="317">
                  <c:v>42534</c:v>
                </c:pt>
                <c:pt idx="318">
                  <c:v>42535</c:v>
                </c:pt>
                <c:pt idx="319">
                  <c:v>42536</c:v>
                </c:pt>
                <c:pt idx="320">
                  <c:v>42537</c:v>
                </c:pt>
                <c:pt idx="321">
                  <c:v>42538</c:v>
                </c:pt>
                <c:pt idx="322">
                  <c:v>42539</c:v>
                </c:pt>
                <c:pt idx="323">
                  <c:v>42540</c:v>
                </c:pt>
                <c:pt idx="324">
                  <c:v>42541</c:v>
                </c:pt>
                <c:pt idx="325">
                  <c:v>42542</c:v>
                </c:pt>
                <c:pt idx="326">
                  <c:v>42543</c:v>
                </c:pt>
                <c:pt idx="327">
                  <c:v>42544</c:v>
                </c:pt>
                <c:pt idx="328">
                  <c:v>42545</c:v>
                </c:pt>
                <c:pt idx="329">
                  <c:v>42546</c:v>
                </c:pt>
                <c:pt idx="330">
                  <c:v>42547</c:v>
                </c:pt>
                <c:pt idx="331">
                  <c:v>42548</c:v>
                </c:pt>
                <c:pt idx="332">
                  <c:v>42549</c:v>
                </c:pt>
                <c:pt idx="333">
                  <c:v>42550</c:v>
                </c:pt>
                <c:pt idx="334">
                  <c:v>42551</c:v>
                </c:pt>
                <c:pt idx="335">
                  <c:v>42552</c:v>
                </c:pt>
                <c:pt idx="336">
                  <c:v>42553</c:v>
                </c:pt>
                <c:pt idx="337">
                  <c:v>42554</c:v>
                </c:pt>
                <c:pt idx="338">
                  <c:v>42555</c:v>
                </c:pt>
                <c:pt idx="339">
                  <c:v>42556</c:v>
                </c:pt>
                <c:pt idx="340">
                  <c:v>42557</c:v>
                </c:pt>
                <c:pt idx="341">
                  <c:v>42558</c:v>
                </c:pt>
                <c:pt idx="342">
                  <c:v>42559</c:v>
                </c:pt>
                <c:pt idx="343">
                  <c:v>42560</c:v>
                </c:pt>
                <c:pt idx="344">
                  <c:v>42561</c:v>
                </c:pt>
                <c:pt idx="345">
                  <c:v>42562</c:v>
                </c:pt>
                <c:pt idx="346">
                  <c:v>42563</c:v>
                </c:pt>
                <c:pt idx="347">
                  <c:v>42564</c:v>
                </c:pt>
                <c:pt idx="348">
                  <c:v>42565</c:v>
                </c:pt>
                <c:pt idx="349">
                  <c:v>42566</c:v>
                </c:pt>
                <c:pt idx="350">
                  <c:v>42568</c:v>
                </c:pt>
                <c:pt idx="351">
                  <c:v>42569</c:v>
                </c:pt>
                <c:pt idx="352">
                  <c:v>42570</c:v>
                </c:pt>
                <c:pt idx="353">
                  <c:v>42571</c:v>
                </c:pt>
                <c:pt idx="354">
                  <c:v>42572</c:v>
                </c:pt>
                <c:pt idx="355">
                  <c:v>42573</c:v>
                </c:pt>
                <c:pt idx="356">
                  <c:v>42574</c:v>
                </c:pt>
                <c:pt idx="357">
                  <c:v>42575</c:v>
                </c:pt>
                <c:pt idx="358">
                  <c:v>42576</c:v>
                </c:pt>
                <c:pt idx="359">
                  <c:v>42577</c:v>
                </c:pt>
                <c:pt idx="360">
                  <c:v>42578</c:v>
                </c:pt>
                <c:pt idx="361">
                  <c:v>42579</c:v>
                </c:pt>
                <c:pt idx="362">
                  <c:v>42580</c:v>
                </c:pt>
                <c:pt idx="363">
                  <c:v>42581</c:v>
                </c:pt>
                <c:pt idx="364">
                  <c:v>42582</c:v>
                </c:pt>
                <c:pt idx="365">
                  <c:v>42583</c:v>
                </c:pt>
                <c:pt idx="366">
                  <c:v>42584</c:v>
                </c:pt>
                <c:pt idx="367">
                  <c:v>42585</c:v>
                </c:pt>
                <c:pt idx="368">
                  <c:v>42586</c:v>
                </c:pt>
                <c:pt idx="369">
                  <c:v>42587</c:v>
                </c:pt>
                <c:pt idx="370">
                  <c:v>42588</c:v>
                </c:pt>
                <c:pt idx="371">
                  <c:v>42589</c:v>
                </c:pt>
                <c:pt idx="372">
                  <c:v>42590</c:v>
                </c:pt>
                <c:pt idx="373">
                  <c:v>42591</c:v>
                </c:pt>
                <c:pt idx="374">
                  <c:v>42592</c:v>
                </c:pt>
                <c:pt idx="375">
                  <c:v>42593</c:v>
                </c:pt>
                <c:pt idx="376">
                  <c:v>42594</c:v>
                </c:pt>
                <c:pt idx="377">
                  <c:v>42595</c:v>
                </c:pt>
                <c:pt idx="378">
                  <c:v>42596</c:v>
                </c:pt>
                <c:pt idx="379">
                  <c:v>42597</c:v>
                </c:pt>
                <c:pt idx="380">
                  <c:v>42598</c:v>
                </c:pt>
                <c:pt idx="381">
                  <c:v>42599</c:v>
                </c:pt>
                <c:pt idx="382">
                  <c:v>42600</c:v>
                </c:pt>
                <c:pt idx="383">
                  <c:v>42601</c:v>
                </c:pt>
                <c:pt idx="384">
                  <c:v>42602</c:v>
                </c:pt>
                <c:pt idx="385">
                  <c:v>42603</c:v>
                </c:pt>
                <c:pt idx="386">
                  <c:v>42604</c:v>
                </c:pt>
                <c:pt idx="387">
                  <c:v>42605</c:v>
                </c:pt>
                <c:pt idx="388">
                  <c:v>42606</c:v>
                </c:pt>
                <c:pt idx="389">
                  <c:v>42607</c:v>
                </c:pt>
                <c:pt idx="390">
                  <c:v>42608</c:v>
                </c:pt>
                <c:pt idx="391">
                  <c:v>42609</c:v>
                </c:pt>
                <c:pt idx="392">
                  <c:v>42610</c:v>
                </c:pt>
                <c:pt idx="393">
                  <c:v>42611</c:v>
                </c:pt>
                <c:pt idx="394">
                  <c:v>42612</c:v>
                </c:pt>
                <c:pt idx="395">
                  <c:v>42613</c:v>
                </c:pt>
                <c:pt idx="396">
                  <c:v>42614</c:v>
                </c:pt>
                <c:pt idx="397">
                  <c:v>42615</c:v>
                </c:pt>
                <c:pt idx="398">
                  <c:v>42616</c:v>
                </c:pt>
                <c:pt idx="399">
                  <c:v>42617</c:v>
                </c:pt>
                <c:pt idx="400">
                  <c:v>42618</c:v>
                </c:pt>
                <c:pt idx="401">
                  <c:v>42619</c:v>
                </c:pt>
                <c:pt idx="402">
                  <c:v>42620</c:v>
                </c:pt>
                <c:pt idx="403">
                  <c:v>42621</c:v>
                </c:pt>
                <c:pt idx="404">
                  <c:v>42622</c:v>
                </c:pt>
                <c:pt idx="405">
                  <c:v>42623</c:v>
                </c:pt>
                <c:pt idx="406">
                  <c:v>42624</c:v>
                </c:pt>
                <c:pt idx="407">
                  <c:v>42625</c:v>
                </c:pt>
                <c:pt idx="408">
                  <c:v>42626</c:v>
                </c:pt>
                <c:pt idx="409">
                  <c:v>42627</c:v>
                </c:pt>
                <c:pt idx="410">
                  <c:v>42628</c:v>
                </c:pt>
                <c:pt idx="411">
                  <c:v>42629</c:v>
                </c:pt>
                <c:pt idx="412">
                  <c:v>42630</c:v>
                </c:pt>
                <c:pt idx="413">
                  <c:v>42631</c:v>
                </c:pt>
                <c:pt idx="414">
                  <c:v>42632</c:v>
                </c:pt>
                <c:pt idx="415">
                  <c:v>42633</c:v>
                </c:pt>
                <c:pt idx="416">
                  <c:v>42634</c:v>
                </c:pt>
                <c:pt idx="417">
                  <c:v>42635</c:v>
                </c:pt>
                <c:pt idx="418">
                  <c:v>42636</c:v>
                </c:pt>
                <c:pt idx="419">
                  <c:v>42637</c:v>
                </c:pt>
                <c:pt idx="420">
                  <c:v>42638</c:v>
                </c:pt>
                <c:pt idx="421">
                  <c:v>42639</c:v>
                </c:pt>
                <c:pt idx="422">
                  <c:v>42640</c:v>
                </c:pt>
                <c:pt idx="423">
                  <c:v>42641</c:v>
                </c:pt>
                <c:pt idx="424">
                  <c:v>42642</c:v>
                </c:pt>
                <c:pt idx="425">
                  <c:v>42643</c:v>
                </c:pt>
                <c:pt idx="426">
                  <c:v>42644</c:v>
                </c:pt>
                <c:pt idx="427">
                  <c:v>42645</c:v>
                </c:pt>
                <c:pt idx="428">
                  <c:v>42646</c:v>
                </c:pt>
                <c:pt idx="429">
                  <c:v>42647</c:v>
                </c:pt>
                <c:pt idx="430">
                  <c:v>42648</c:v>
                </c:pt>
                <c:pt idx="431">
                  <c:v>42649</c:v>
                </c:pt>
                <c:pt idx="432">
                  <c:v>42650</c:v>
                </c:pt>
                <c:pt idx="433">
                  <c:v>42651</c:v>
                </c:pt>
                <c:pt idx="434">
                  <c:v>42652</c:v>
                </c:pt>
                <c:pt idx="435">
                  <c:v>42653</c:v>
                </c:pt>
                <c:pt idx="436">
                  <c:v>42654</c:v>
                </c:pt>
                <c:pt idx="437">
                  <c:v>42655</c:v>
                </c:pt>
                <c:pt idx="438">
                  <c:v>42656</c:v>
                </c:pt>
                <c:pt idx="439">
                  <c:v>42657</c:v>
                </c:pt>
                <c:pt idx="440">
                  <c:v>42658</c:v>
                </c:pt>
                <c:pt idx="441">
                  <c:v>42659</c:v>
                </c:pt>
                <c:pt idx="442">
                  <c:v>42660</c:v>
                </c:pt>
                <c:pt idx="443">
                  <c:v>42661</c:v>
                </c:pt>
                <c:pt idx="444">
                  <c:v>42662</c:v>
                </c:pt>
                <c:pt idx="445">
                  <c:v>42663</c:v>
                </c:pt>
                <c:pt idx="446">
                  <c:v>42664</c:v>
                </c:pt>
                <c:pt idx="447">
                  <c:v>42665</c:v>
                </c:pt>
                <c:pt idx="448">
                  <c:v>42666</c:v>
                </c:pt>
                <c:pt idx="449">
                  <c:v>42667</c:v>
                </c:pt>
                <c:pt idx="450">
                  <c:v>42668</c:v>
                </c:pt>
                <c:pt idx="451">
                  <c:v>42669</c:v>
                </c:pt>
                <c:pt idx="452">
                  <c:v>42670</c:v>
                </c:pt>
                <c:pt idx="453">
                  <c:v>42671</c:v>
                </c:pt>
                <c:pt idx="454">
                  <c:v>42672</c:v>
                </c:pt>
                <c:pt idx="455">
                  <c:v>42673</c:v>
                </c:pt>
                <c:pt idx="456">
                  <c:v>42674</c:v>
                </c:pt>
                <c:pt idx="457">
                  <c:v>42675</c:v>
                </c:pt>
                <c:pt idx="458">
                  <c:v>42676</c:v>
                </c:pt>
                <c:pt idx="459">
                  <c:v>42677</c:v>
                </c:pt>
                <c:pt idx="460">
                  <c:v>42678</c:v>
                </c:pt>
                <c:pt idx="461">
                  <c:v>42679</c:v>
                </c:pt>
                <c:pt idx="462">
                  <c:v>42680</c:v>
                </c:pt>
                <c:pt idx="463">
                  <c:v>42681</c:v>
                </c:pt>
                <c:pt idx="464">
                  <c:v>42682</c:v>
                </c:pt>
                <c:pt idx="465">
                  <c:v>42683</c:v>
                </c:pt>
                <c:pt idx="466">
                  <c:v>42684</c:v>
                </c:pt>
                <c:pt idx="467">
                  <c:v>42685</c:v>
                </c:pt>
                <c:pt idx="468">
                  <c:v>42686</c:v>
                </c:pt>
                <c:pt idx="469">
                  <c:v>42687</c:v>
                </c:pt>
                <c:pt idx="470">
                  <c:v>42688</c:v>
                </c:pt>
                <c:pt idx="471">
                  <c:v>42689</c:v>
                </c:pt>
                <c:pt idx="472">
                  <c:v>42690</c:v>
                </c:pt>
                <c:pt idx="473">
                  <c:v>42691</c:v>
                </c:pt>
                <c:pt idx="474">
                  <c:v>42692</c:v>
                </c:pt>
                <c:pt idx="475">
                  <c:v>42693</c:v>
                </c:pt>
                <c:pt idx="476">
                  <c:v>42694</c:v>
                </c:pt>
                <c:pt idx="477">
                  <c:v>42695</c:v>
                </c:pt>
                <c:pt idx="478">
                  <c:v>42696</c:v>
                </c:pt>
                <c:pt idx="479">
                  <c:v>42697</c:v>
                </c:pt>
                <c:pt idx="480">
                  <c:v>42698</c:v>
                </c:pt>
                <c:pt idx="481">
                  <c:v>42699</c:v>
                </c:pt>
                <c:pt idx="482">
                  <c:v>42700</c:v>
                </c:pt>
                <c:pt idx="483">
                  <c:v>42701</c:v>
                </c:pt>
                <c:pt idx="484">
                  <c:v>42702</c:v>
                </c:pt>
                <c:pt idx="485">
                  <c:v>42703</c:v>
                </c:pt>
                <c:pt idx="486">
                  <c:v>42704</c:v>
                </c:pt>
                <c:pt idx="487">
                  <c:v>42705</c:v>
                </c:pt>
                <c:pt idx="488">
                  <c:v>42706</c:v>
                </c:pt>
                <c:pt idx="489">
                  <c:v>42707</c:v>
                </c:pt>
                <c:pt idx="490">
                  <c:v>42708</c:v>
                </c:pt>
                <c:pt idx="491">
                  <c:v>42709</c:v>
                </c:pt>
                <c:pt idx="492">
                  <c:v>42710</c:v>
                </c:pt>
                <c:pt idx="493">
                  <c:v>42711</c:v>
                </c:pt>
                <c:pt idx="494">
                  <c:v>42712</c:v>
                </c:pt>
                <c:pt idx="495">
                  <c:v>42713</c:v>
                </c:pt>
                <c:pt idx="496">
                  <c:v>42714</c:v>
                </c:pt>
                <c:pt idx="497">
                  <c:v>42715</c:v>
                </c:pt>
                <c:pt idx="498">
                  <c:v>42716</c:v>
                </c:pt>
                <c:pt idx="499">
                  <c:v>42717</c:v>
                </c:pt>
                <c:pt idx="500">
                  <c:v>42718</c:v>
                </c:pt>
                <c:pt idx="501">
                  <c:v>42719</c:v>
                </c:pt>
                <c:pt idx="502">
                  <c:v>42720</c:v>
                </c:pt>
                <c:pt idx="503">
                  <c:v>42721</c:v>
                </c:pt>
                <c:pt idx="504">
                  <c:v>42722</c:v>
                </c:pt>
                <c:pt idx="505">
                  <c:v>42723</c:v>
                </c:pt>
                <c:pt idx="506">
                  <c:v>42724</c:v>
                </c:pt>
                <c:pt idx="507">
                  <c:v>42725</c:v>
                </c:pt>
                <c:pt idx="508">
                  <c:v>42726</c:v>
                </c:pt>
                <c:pt idx="509">
                  <c:v>42727</c:v>
                </c:pt>
                <c:pt idx="510">
                  <c:v>42728</c:v>
                </c:pt>
                <c:pt idx="511">
                  <c:v>42729</c:v>
                </c:pt>
                <c:pt idx="512">
                  <c:v>42730</c:v>
                </c:pt>
                <c:pt idx="513">
                  <c:v>42731</c:v>
                </c:pt>
                <c:pt idx="514">
                  <c:v>42732</c:v>
                </c:pt>
                <c:pt idx="515">
                  <c:v>42733</c:v>
                </c:pt>
                <c:pt idx="516">
                  <c:v>42734</c:v>
                </c:pt>
                <c:pt idx="517">
                  <c:v>42735</c:v>
                </c:pt>
                <c:pt idx="518">
                  <c:v>42736</c:v>
                </c:pt>
                <c:pt idx="519">
                  <c:v>42737</c:v>
                </c:pt>
                <c:pt idx="520">
                  <c:v>42738</c:v>
                </c:pt>
                <c:pt idx="521">
                  <c:v>42739</c:v>
                </c:pt>
                <c:pt idx="522">
                  <c:v>42740</c:v>
                </c:pt>
                <c:pt idx="523">
                  <c:v>42741</c:v>
                </c:pt>
                <c:pt idx="524">
                  <c:v>42742</c:v>
                </c:pt>
                <c:pt idx="525">
                  <c:v>42743</c:v>
                </c:pt>
                <c:pt idx="526">
                  <c:v>42744</c:v>
                </c:pt>
                <c:pt idx="527">
                  <c:v>42745</c:v>
                </c:pt>
                <c:pt idx="528">
                  <c:v>42746</c:v>
                </c:pt>
                <c:pt idx="529">
                  <c:v>42747</c:v>
                </c:pt>
                <c:pt idx="530">
                  <c:v>42748</c:v>
                </c:pt>
                <c:pt idx="531">
                  <c:v>42749</c:v>
                </c:pt>
                <c:pt idx="532">
                  <c:v>42750</c:v>
                </c:pt>
                <c:pt idx="533">
                  <c:v>42751</c:v>
                </c:pt>
                <c:pt idx="534">
                  <c:v>42752</c:v>
                </c:pt>
                <c:pt idx="535">
                  <c:v>42753</c:v>
                </c:pt>
                <c:pt idx="536">
                  <c:v>42754</c:v>
                </c:pt>
                <c:pt idx="537">
                  <c:v>42755</c:v>
                </c:pt>
                <c:pt idx="538">
                  <c:v>42756</c:v>
                </c:pt>
                <c:pt idx="539">
                  <c:v>42757</c:v>
                </c:pt>
                <c:pt idx="540">
                  <c:v>42758</c:v>
                </c:pt>
                <c:pt idx="541">
                  <c:v>42759</c:v>
                </c:pt>
                <c:pt idx="542">
                  <c:v>42760</c:v>
                </c:pt>
                <c:pt idx="543">
                  <c:v>42761</c:v>
                </c:pt>
                <c:pt idx="544">
                  <c:v>42762</c:v>
                </c:pt>
                <c:pt idx="545">
                  <c:v>42763</c:v>
                </c:pt>
                <c:pt idx="546">
                  <c:v>42764</c:v>
                </c:pt>
                <c:pt idx="547">
                  <c:v>42765</c:v>
                </c:pt>
                <c:pt idx="548">
                  <c:v>42766</c:v>
                </c:pt>
                <c:pt idx="549">
                  <c:v>42767</c:v>
                </c:pt>
                <c:pt idx="550">
                  <c:v>42768</c:v>
                </c:pt>
                <c:pt idx="551">
                  <c:v>42769</c:v>
                </c:pt>
                <c:pt idx="552">
                  <c:v>42770</c:v>
                </c:pt>
                <c:pt idx="553">
                  <c:v>42771</c:v>
                </c:pt>
                <c:pt idx="554">
                  <c:v>42772</c:v>
                </c:pt>
                <c:pt idx="555">
                  <c:v>42773</c:v>
                </c:pt>
                <c:pt idx="556">
                  <c:v>42774</c:v>
                </c:pt>
                <c:pt idx="557">
                  <c:v>42775</c:v>
                </c:pt>
                <c:pt idx="558">
                  <c:v>42776</c:v>
                </c:pt>
                <c:pt idx="559">
                  <c:v>42777</c:v>
                </c:pt>
                <c:pt idx="560">
                  <c:v>42778</c:v>
                </c:pt>
                <c:pt idx="561">
                  <c:v>42779</c:v>
                </c:pt>
                <c:pt idx="562">
                  <c:v>42780</c:v>
                </c:pt>
                <c:pt idx="563">
                  <c:v>42781</c:v>
                </c:pt>
                <c:pt idx="564">
                  <c:v>42782</c:v>
                </c:pt>
                <c:pt idx="565">
                  <c:v>42783</c:v>
                </c:pt>
                <c:pt idx="566">
                  <c:v>42784</c:v>
                </c:pt>
                <c:pt idx="567">
                  <c:v>42785</c:v>
                </c:pt>
                <c:pt idx="568">
                  <c:v>42786</c:v>
                </c:pt>
                <c:pt idx="569">
                  <c:v>42787</c:v>
                </c:pt>
                <c:pt idx="570">
                  <c:v>42788</c:v>
                </c:pt>
                <c:pt idx="571">
                  <c:v>42789</c:v>
                </c:pt>
                <c:pt idx="572">
                  <c:v>42790</c:v>
                </c:pt>
                <c:pt idx="573">
                  <c:v>42791</c:v>
                </c:pt>
                <c:pt idx="574">
                  <c:v>42792</c:v>
                </c:pt>
                <c:pt idx="575">
                  <c:v>42793</c:v>
                </c:pt>
                <c:pt idx="576">
                  <c:v>42794</c:v>
                </c:pt>
                <c:pt idx="577">
                  <c:v>42795</c:v>
                </c:pt>
                <c:pt idx="578">
                  <c:v>42796</c:v>
                </c:pt>
                <c:pt idx="579">
                  <c:v>42797</c:v>
                </c:pt>
                <c:pt idx="580">
                  <c:v>42798</c:v>
                </c:pt>
                <c:pt idx="581">
                  <c:v>42799</c:v>
                </c:pt>
                <c:pt idx="582">
                  <c:v>42800</c:v>
                </c:pt>
                <c:pt idx="583">
                  <c:v>42801</c:v>
                </c:pt>
                <c:pt idx="584">
                  <c:v>42802</c:v>
                </c:pt>
                <c:pt idx="585">
                  <c:v>42803</c:v>
                </c:pt>
                <c:pt idx="586">
                  <c:v>42804</c:v>
                </c:pt>
                <c:pt idx="587">
                  <c:v>42805</c:v>
                </c:pt>
                <c:pt idx="588">
                  <c:v>42806</c:v>
                </c:pt>
                <c:pt idx="589">
                  <c:v>42807</c:v>
                </c:pt>
                <c:pt idx="590">
                  <c:v>42808</c:v>
                </c:pt>
                <c:pt idx="591">
                  <c:v>42809</c:v>
                </c:pt>
                <c:pt idx="592">
                  <c:v>42810</c:v>
                </c:pt>
                <c:pt idx="593">
                  <c:v>42811</c:v>
                </c:pt>
                <c:pt idx="594">
                  <c:v>42812</c:v>
                </c:pt>
                <c:pt idx="595">
                  <c:v>42813</c:v>
                </c:pt>
                <c:pt idx="596">
                  <c:v>42814</c:v>
                </c:pt>
                <c:pt idx="597">
                  <c:v>42815</c:v>
                </c:pt>
                <c:pt idx="598">
                  <c:v>42816</c:v>
                </c:pt>
                <c:pt idx="599">
                  <c:v>42817</c:v>
                </c:pt>
                <c:pt idx="600">
                  <c:v>42818</c:v>
                </c:pt>
                <c:pt idx="601">
                  <c:v>42819</c:v>
                </c:pt>
                <c:pt idx="602">
                  <c:v>42820</c:v>
                </c:pt>
                <c:pt idx="603">
                  <c:v>42821</c:v>
                </c:pt>
                <c:pt idx="604">
                  <c:v>42822</c:v>
                </c:pt>
                <c:pt idx="605">
                  <c:v>42823</c:v>
                </c:pt>
                <c:pt idx="606">
                  <c:v>42824</c:v>
                </c:pt>
                <c:pt idx="607">
                  <c:v>42825</c:v>
                </c:pt>
                <c:pt idx="608">
                  <c:v>42826</c:v>
                </c:pt>
                <c:pt idx="609">
                  <c:v>42827</c:v>
                </c:pt>
                <c:pt idx="610">
                  <c:v>42828</c:v>
                </c:pt>
                <c:pt idx="611">
                  <c:v>42829</c:v>
                </c:pt>
                <c:pt idx="612">
                  <c:v>42830</c:v>
                </c:pt>
                <c:pt idx="613">
                  <c:v>42831</c:v>
                </c:pt>
                <c:pt idx="614">
                  <c:v>42832</c:v>
                </c:pt>
                <c:pt idx="615">
                  <c:v>42833</c:v>
                </c:pt>
                <c:pt idx="616">
                  <c:v>42834</c:v>
                </c:pt>
                <c:pt idx="617">
                  <c:v>42835</c:v>
                </c:pt>
                <c:pt idx="618">
                  <c:v>42836</c:v>
                </c:pt>
                <c:pt idx="619">
                  <c:v>42837</c:v>
                </c:pt>
                <c:pt idx="620">
                  <c:v>42838</c:v>
                </c:pt>
                <c:pt idx="621">
                  <c:v>42839</c:v>
                </c:pt>
                <c:pt idx="622">
                  <c:v>42840</c:v>
                </c:pt>
                <c:pt idx="623">
                  <c:v>42841</c:v>
                </c:pt>
                <c:pt idx="624">
                  <c:v>42842</c:v>
                </c:pt>
                <c:pt idx="625">
                  <c:v>42843</c:v>
                </c:pt>
                <c:pt idx="626">
                  <c:v>42844</c:v>
                </c:pt>
                <c:pt idx="627">
                  <c:v>42845</c:v>
                </c:pt>
                <c:pt idx="628">
                  <c:v>42846</c:v>
                </c:pt>
                <c:pt idx="629">
                  <c:v>42847</c:v>
                </c:pt>
                <c:pt idx="630">
                  <c:v>42848</c:v>
                </c:pt>
                <c:pt idx="631">
                  <c:v>42849</c:v>
                </c:pt>
                <c:pt idx="632">
                  <c:v>42850</c:v>
                </c:pt>
                <c:pt idx="633">
                  <c:v>42851</c:v>
                </c:pt>
                <c:pt idx="634">
                  <c:v>42852</c:v>
                </c:pt>
                <c:pt idx="635">
                  <c:v>42853</c:v>
                </c:pt>
                <c:pt idx="636">
                  <c:v>42854</c:v>
                </c:pt>
                <c:pt idx="637">
                  <c:v>42855</c:v>
                </c:pt>
                <c:pt idx="638">
                  <c:v>42856</c:v>
                </c:pt>
                <c:pt idx="639">
                  <c:v>42857</c:v>
                </c:pt>
                <c:pt idx="640">
                  <c:v>42858</c:v>
                </c:pt>
                <c:pt idx="641">
                  <c:v>42859</c:v>
                </c:pt>
                <c:pt idx="642">
                  <c:v>42860</c:v>
                </c:pt>
                <c:pt idx="643">
                  <c:v>42861</c:v>
                </c:pt>
                <c:pt idx="644">
                  <c:v>42862</c:v>
                </c:pt>
                <c:pt idx="645">
                  <c:v>42863</c:v>
                </c:pt>
                <c:pt idx="646">
                  <c:v>42864</c:v>
                </c:pt>
                <c:pt idx="647">
                  <c:v>42865</c:v>
                </c:pt>
                <c:pt idx="648">
                  <c:v>42866</c:v>
                </c:pt>
                <c:pt idx="649">
                  <c:v>42867</c:v>
                </c:pt>
                <c:pt idx="650">
                  <c:v>42868</c:v>
                </c:pt>
                <c:pt idx="651">
                  <c:v>42869</c:v>
                </c:pt>
                <c:pt idx="652">
                  <c:v>42870</c:v>
                </c:pt>
                <c:pt idx="653">
                  <c:v>42871</c:v>
                </c:pt>
                <c:pt idx="654">
                  <c:v>42872</c:v>
                </c:pt>
                <c:pt idx="655">
                  <c:v>42873</c:v>
                </c:pt>
                <c:pt idx="656">
                  <c:v>42874</c:v>
                </c:pt>
                <c:pt idx="657">
                  <c:v>42875</c:v>
                </c:pt>
                <c:pt idx="658">
                  <c:v>42876</c:v>
                </c:pt>
                <c:pt idx="659">
                  <c:v>42877</c:v>
                </c:pt>
                <c:pt idx="660">
                  <c:v>42878</c:v>
                </c:pt>
                <c:pt idx="661">
                  <c:v>42879</c:v>
                </c:pt>
                <c:pt idx="662">
                  <c:v>42880</c:v>
                </c:pt>
                <c:pt idx="663">
                  <c:v>42881</c:v>
                </c:pt>
                <c:pt idx="664">
                  <c:v>42882</c:v>
                </c:pt>
                <c:pt idx="665">
                  <c:v>42883</c:v>
                </c:pt>
                <c:pt idx="666">
                  <c:v>42884</c:v>
                </c:pt>
                <c:pt idx="667">
                  <c:v>42885</c:v>
                </c:pt>
                <c:pt idx="668">
                  <c:v>42886</c:v>
                </c:pt>
                <c:pt idx="669">
                  <c:v>42887</c:v>
                </c:pt>
                <c:pt idx="670">
                  <c:v>42888</c:v>
                </c:pt>
                <c:pt idx="671">
                  <c:v>42889</c:v>
                </c:pt>
                <c:pt idx="672">
                  <c:v>42890</c:v>
                </c:pt>
                <c:pt idx="673">
                  <c:v>42891</c:v>
                </c:pt>
                <c:pt idx="674">
                  <c:v>42892</c:v>
                </c:pt>
                <c:pt idx="675">
                  <c:v>42893</c:v>
                </c:pt>
                <c:pt idx="676">
                  <c:v>42894</c:v>
                </c:pt>
                <c:pt idx="677">
                  <c:v>42895</c:v>
                </c:pt>
                <c:pt idx="678">
                  <c:v>42896</c:v>
                </c:pt>
                <c:pt idx="679">
                  <c:v>42897</c:v>
                </c:pt>
                <c:pt idx="680">
                  <c:v>42898</c:v>
                </c:pt>
                <c:pt idx="681">
                  <c:v>42899</c:v>
                </c:pt>
                <c:pt idx="682">
                  <c:v>42900</c:v>
                </c:pt>
                <c:pt idx="683">
                  <c:v>42901</c:v>
                </c:pt>
                <c:pt idx="684">
                  <c:v>42902</c:v>
                </c:pt>
                <c:pt idx="685">
                  <c:v>42903</c:v>
                </c:pt>
                <c:pt idx="686">
                  <c:v>42904</c:v>
                </c:pt>
                <c:pt idx="687">
                  <c:v>42905</c:v>
                </c:pt>
                <c:pt idx="688">
                  <c:v>42906</c:v>
                </c:pt>
                <c:pt idx="689">
                  <c:v>42907</c:v>
                </c:pt>
                <c:pt idx="690">
                  <c:v>42908</c:v>
                </c:pt>
                <c:pt idx="691">
                  <c:v>42909</c:v>
                </c:pt>
                <c:pt idx="692">
                  <c:v>42910</c:v>
                </c:pt>
                <c:pt idx="693">
                  <c:v>42911</c:v>
                </c:pt>
                <c:pt idx="694">
                  <c:v>42912</c:v>
                </c:pt>
                <c:pt idx="695">
                  <c:v>42913</c:v>
                </c:pt>
                <c:pt idx="696">
                  <c:v>42914</c:v>
                </c:pt>
                <c:pt idx="697">
                  <c:v>42915</c:v>
                </c:pt>
                <c:pt idx="698">
                  <c:v>42916</c:v>
                </c:pt>
                <c:pt idx="699">
                  <c:v>42917</c:v>
                </c:pt>
                <c:pt idx="700">
                  <c:v>42918</c:v>
                </c:pt>
                <c:pt idx="701">
                  <c:v>42919</c:v>
                </c:pt>
                <c:pt idx="702">
                  <c:v>42920</c:v>
                </c:pt>
                <c:pt idx="703">
                  <c:v>42921</c:v>
                </c:pt>
                <c:pt idx="704">
                  <c:v>42922</c:v>
                </c:pt>
                <c:pt idx="705">
                  <c:v>42923</c:v>
                </c:pt>
                <c:pt idx="706">
                  <c:v>42924</c:v>
                </c:pt>
                <c:pt idx="707">
                  <c:v>42925</c:v>
                </c:pt>
                <c:pt idx="708">
                  <c:v>42926</c:v>
                </c:pt>
                <c:pt idx="709">
                  <c:v>42927</c:v>
                </c:pt>
                <c:pt idx="710">
                  <c:v>42928</c:v>
                </c:pt>
                <c:pt idx="711">
                  <c:v>42929</c:v>
                </c:pt>
                <c:pt idx="712">
                  <c:v>42930</c:v>
                </c:pt>
                <c:pt idx="713">
                  <c:v>42931</c:v>
                </c:pt>
                <c:pt idx="714">
                  <c:v>42932</c:v>
                </c:pt>
                <c:pt idx="715">
                  <c:v>42933</c:v>
                </c:pt>
                <c:pt idx="716">
                  <c:v>42934</c:v>
                </c:pt>
                <c:pt idx="717">
                  <c:v>42935</c:v>
                </c:pt>
                <c:pt idx="718">
                  <c:v>42936</c:v>
                </c:pt>
                <c:pt idx="719">
                  <c:v>42937</c:v>
                </c:pt>
                <c:pt idx="720">
                  <c:v>42938</c:v>
                </c:pt>
                <c:pt idx="721">
                  <c:v>42939</c:v>
                </c:pt>
                <c:pt idx="722">
                  <c:v>42940</c:v>
                </c:pt>
                <c:pt idx="723">
                  <c:v>42941</c:v>
                </c:pt>
                <c:pt idx="724">
                  <c:v>42942</c:v>
                </c:pt>
                <c:pt idx="725">
                  <c:v>42943</c:v>
                </c:pt>
                <c:pt idx="726">
                  <c:v>42944</c:v>
                </c:pt>
                <c:pt idx="727">
                  <c:v>42945</c:v>
                </c:pt>
                <c:pt idx="728">
                  <c:v>42946</c:v>
                </c:pt>
                <c:pt idx="729">
                  <c:v>42947</c:v>
                </c:pt>
                <c:pt idx="730">
                  <c:v>42948</c:v>
                </c:pt>
                <c:pt idx="731">
                  <c:v>42949</c:v>
                </c:pt>
                <c:pt idx="732">
                  <c:v>42950</c:v>
                </c:pt>
                <c:pt idx="733">
                  <c:v>42951</c:v>
                </c:pt>
                <c:pt idx="734">
                  <c:v>42952</c:v>
                </c:pt>
                <c:pt idx="735">
                  <c:v>42953</c:v>
                </c:pt>
                <c:pt idx="736">
                  <c:v>42954</c:v>
                </c:pt>
                <c:pt idx="737">
                  <c:v>42955</c:v>
                </c:pt>
                <c:pt idx="738">
                  <c:v>42956</c:v>
                </c:pt>
                <c:pt idx="739">
                  <c:v>42957</c:v>
                </c:pt>
                <c:pt idx="740">
                  <c:v>42958</c:v>
                </c:pt>
                <c:pt idx="741">
                  <c:v>42959</c:v>
                </c:pt>
                <c:pt idx="742">
                  <c:v>42960</c:v>
                </c:pt>
                <c:pt idx="743">
                  <c:v>42961</c:v>
                </c:pt>
                <c:pt idx="744">
                  <c:v>42962</c:v>
                </c:pt>
                <c:pt idx="745">
                  <c:v>42963</c:v>
                </c:pt>
                <c:pt idx="746">
                  <c:v>42964</c:v>
                </c:pt>
                <c:pt idx="747">
                  <c:v>42965</c:v>
                </c:pt>
                <c:pt idx="748">
                  <c:v>42966</c:v>
                </c:pt>
                <c:pt idx="749">
                  <c:v>42967</c:v>
                </c:pt>
                <c:pt idx="750">
                  <c:v>42968</c:v>
                </c:pt>
                <c:pt idx="751">
                  <c:v>42969</c:v>
                </c:pt>
                <c:pt idx="752">
                  <c:v>42970</c:v>
                </c:pt>
                <c:pt idx="753">
                  <c:v>42971</c:v>
                </c:pt>
                <c:pt idx="754">
                  <c:v>42972</c:v>
                </c:pt>
                <c:pt idx="755">
                  <c:v>42973</c:v>
                </c:pt>
                <c:pt idx="756">
                  <c:v>42974</c:v>
                </c:pt>
                <c:pt idx="757">
                  <c:v>42975</c:v>
                </c:pt>
                <c:pt idx="758">
                  <c:v>42976</c:v>
                </c:pt>
                <c:pt idx="759">
                  <c:v>42977</c:v>
                </c:pt>
                <c:pt idx="760">
                  <c:v>42978</c:v>
                </c:pt>
                <c:pt idx="761">
                  <c:v>42979</c:v>
                </c:pt>
                <c:pt idx="762">
                  <c:v>42980</c:v>
                </c:pt>
                <c:pt idx="763">
                  <c:v>42981</c:v>
                </c:pt>
                <c:pt idx="764">
                  <c:v>42982</c:v>
                </c:pt>
                <c:pt idx="765">
                  <c:v>42983</c:v>
                </c:pt>
                <c:pt idx="766">
                  <c:v>42984</c:v>
                </c:pt>
                <c:pt idx="767">
                  <c:v>42985</c:v>
                </c:pt>
                <c:pt idx="768">
                  <c:v>42986</c:v>
                </c:pt>
                <c:pt idx="769">
                  <c:v>42987</c:v>
                </c:pt>
                <c:pt idx="770">
                  <c:v>42988</c:v>
                </c:pt>
                <c:pt idx="771">
                  <c:v>42989</c:v>
                </c:pt>
                <c:pt idx="772">
                  <c:v>42990</c:v>
                </c:pt>
                <c:pt idx="773">
                  <c:v>42991</c:v>
                </c:pt>
                <c:pt idx="774">
                  <c:v>42992</c:v>
                </c:pt>
                <c:pt idx="775">
                  <c:v>42993</c:v>
                </c:pt>
                <c:pt idx="776">
                  <c:v>42994</c:v>
                </c:pt>
                <c:pt idx="777">
                  <c:v>42995</c:v>
                </c:pt>
                <c:pt idx="778">
                  <c:v>42996</c:v>
                </c:pt>
                <c:pt idx="779">
                  <c:v>42997</c:v>
                </c:pt>
                <c:pt idx="780">
                  <c:v>42998</c:v>
                </c:pt>
                <c:pt idx="781">
                  <c:v>42999</c:v>
                </c:pt>
                <c:pt idx="782">
                  <c:v>43000</c:v>
                </c:pt>
                <c:pt idx="783">
                  <c:v>43001</c:v>
                </c:pt>
                <c:pt idx="784">
                  <c:v>43002</c:v>
                </c:pt>
                <c:pt idx="785">
                  <c:v>43003</c:v>
                </c:pt>
                <c:pt idx="786">
                  <c:v>43004</c:v>
                </c:pt>
                <c:pt idx="787">
                  <c:v>43005</c:v>
                </c:pt>
                <c:pt idx="788">
                  <c:v>43006</c:v>
                </c:pt>
                <c:pt idx="789">
                  <c:v>43007</c:v>
                </c:pt>
                <c:pt idx="790">
                  <c:v>43008</c:v>
                </c:pt>
                <c:pt idx="791">
                  <c:v>43009</c:v>
                </c:pt>
                <c:pt idx="792">
                  <c:v>43010</c:v>
                </c:pt>
                <c:pt idx="793">
                  <c:v>43011</c:v>
                </c:pt>
                <c:pt idx="794">
                  <c:v>43012</c:v>
                </c:pt>
                <c:pt idx="795">
                  <c:v>43013</c:v>
                </c:pt>
                <c:pt idx="796">
                  <c:v>43014</c:v>
                </c:pt>
                <c:pt idx="797">
                  <c:v>43015</c:v>
                </c:pt>
                <c:pt idx="798">
                  <c:v>43016</c:v>
                </c:pt>
                <c:pt idx="799">
                  <c:v>43017</c:v>
                </c:pt>
                <c:pt idx="800">
                  <c:v>43018</c:v>
                </c:pt>
                <c:pt idx="801">
                  <c:v>43019</c:v>
                </c:pt>
                <c:pt idx="802">
                  <c:v>43020</c:v>
                </c:pt>
                <c:pt idx="803">
                  <c:v>43021</c:v>
                </c:pt>
                <c:pt idx="804">
                  <c:v>43022</c:v>
                </c:pt>
                <c:pt idx="805">
                  <c:v>43023</c:v>
                </c:pt>
                <c:pt idx="806">
                  <c:v>43024</c:v>
                </c:pt>
                <c:pt idx="807">
                  <c:v>43025</c:v>
                </c:pt>
                <c:pt idx="808">
                  <c:v>43026</c:v>
                </c:pt>
                <c:pt idx="809">
                  <c:v>43027</c:v>
                </c:pt>
                <c:pt idx="810">
                  <c:v>43028</c:v>
                </c:pt>
                <c:pt idx="811">
                  <c:v>43029</c:v>
                </c:pt>
                <c:pt idx="812">
                  <c:v>43030</c:v>
                </c:pt>
                <c:pt idx="813">
                  <c:v>43031</c:v>
                </c:pt>
                <c:pt idx="814">
                  <c:v>43032</c:v>
                </c:pt>
                <c:pt idx="815">
                  <c:v>43033</c:v>
                </c:pt>
                <c:pt idx="816">
                  <c:v>43034</c:v>
                </c:pt>
                <c:pt idx="817">
                  <c:v>43035</c:v>
                </c:pt>
                <c:pt idx="818">
                  <c:v>43036</c:v>
                </c:pt>
                <c:pt idx="819">
                  <c:v>43037</c:v>
                </c:pt>
                <c:pt idx="820">
                  <c:v>43038</c:v>
                </c:pt>
                <c:pt idx="821">
                  <c:v>43039</c:v>
                </c:pt>
                <c:pt idx="822">
                  <c:v>43040</c:v>
                </c:pt>
                <c:pt idx="823">
                  <c:v>43041</c:v>
                </c:pt>
                <c:pt idx="824">
                  <c:v>43042</c:v>
                </c:pt>
                <c:pt idx="825">
                  <c:v>43043</c:v>
                </c:pt>
                <c:pt idx="826">
                  <c:v>43044</c:v>
                </c:pt>
                <c:pt idx="827">
                  <c:v>43045</c:v>
                </c:pt>
                <c:pt idx="828">
                  <c:v>43046</c:v>
                </c:pt>
                <c:pt idx="829">
                  <c:v>43047</c:v>
                </c:pt>
                <c:pt idx="830">
                  <c:v>43048</c:v>
                </c:pt>
                <c:pt idx="831">
                  <c:v>43049</c:v>
                </c:pt>
                <c:pt idx="832">
                  <c:v>43050</c:v>
                </c:pt>
                <c:pt idx="833">
                  <c:v>43051</c:v>
                </c:pt>
                <c:pt idx="834">
                  <c:v>43052</c:v>
                </c:pt>
                <c:pt idx="835">
                  <c:v>43053</c:v>
                </c:pt>
                <c:pt idx="836">
                  <c:v>43054</c:v>
                </c:pt>
                <c:pt idx="837">
                  <c:v>43055</c:v>
                </c:pt>
                <c:pt idx="838">
                  <c:v>43056</c:v>
                </c:pt>
                <c:pt idx="839">
                  <c:v>43057</c:v>
                </c:pt>
                <c:pt idx="840">
                  <c:v>43058</c:v>
                </c:pt>
                <c:pt idx="841">
                  <c:v>43059</c:v>
                </c:pt>
                <c:pt idx="842">
                  <c:v>43060</c:v>
                </c:pt>
                <c:pt idx="843">
                  <c:v>43061</c:v>
                </c:pt>
                <c:pt idx="844">
                  <c:v>43062</c:v>
                </c:pt>
                <c:pt idx="845">
                  <c:v>43063</c:v>
                </c:pt>
                <c:pt idx="846">
                  <c:v>43064</c:v>
                </c:pt>
                <c:pt idx="847">
                  <c:v>43065</c:v>
                </c:pt>
                <c:pt idx="848">
                  <c:v>43066</c:v>
                </c:pt>
                <c:pt idx="849">
                  <c:v>43067</c:v>
                </c:pt>
                <c:pt idx="850">
                  <c:v>43068</c:v>
                </c:pt>
                <c:pt idx="851">
                  <c:v>43069</c:v>
                </c:pt>
                <c:pt idx="852">
                  <c:v>43070</c:v>
                </c:pt>
                <c:pt idx="853">
                  <c:v>43071</c:v>
                </c:pt>
                <c:pt idx="854">
                  <c:v>43072</c:v>
                </c:pt>
                <c:pt idx="855">
                  <c:v>43073</c:v>
                </c:pt>
                <c:pt idx="856">
                  <c:v>43074</c:v>
                </c:pt>
                <c:pt idx="857">
                  <c:v>43075</c:v>
                </c:pt>
                <c:pt idx="858">
                  <c:v>43076</c:v>
                </c:pt>
                <c:pt idx="859">
                  <c:v>43077</c:v>
                </c:pt>
                <c:pt idx="860">
                  <c:v>43078</c:v>
                </c:pt>
                <c:pt idx="861">
                  <c:v>43079</c:v>
                </c:pt>
                <c:pt idx="862">
                  <c:v>43080</c:v>
                </c:pt>
                <c:pt idx="863">
                  <c:v>43081</c:v>
                </c:pt>
                <c:pt idx="864">
                  <c:v>43082</c:v>
                </c:pt>
                <c:pt idx="865">
                  <c:v>43083</c:v>
                </c:pt>
                <c:pt idx="866">
                  <c:v>43084</c:v>
                </c:pt>
                <c:pt idx="867">
                  <c:v>43085</c:v>
                </c:pt>
                <c:pt idx="868">
                  <c:v>43086</c:v>
                </c:pt>
                <c:pt idx="869">
                  <c:v>43087</c:v>
                </c:pt>
                <c:pt idx="870">
                  <c:v>43088</c:v>
                </c:pt>
                <c:pt idx="871">
                  <c:v>43089</c:v>
                </c:pt>
                <c:pt idx="872">
                  <c:v>43090</c:v>
                </c:pt>
                <c:pt idx="873">
                  <c:v>43091</c:v>
                </c:pt>
                <c:pt idx="874">
                  <c:v>43092</c:v>
                </c:pt>
                <c:pt idx="875">
                  <c:v>43093</c:v>
                </c:pt>
                <c:pt idx="876">
                  <c:v>43094</c:v>
                </c:pt>
                <c:pt idx="877">
                  <c:v>43095</c:v>
                </c:pt>
                <c:pt idx="878">
                  <c:v>43096</c:v>
                </c:pt>
                <c:pt idx="879">
                  <c:v>43097</c:v>
                </c:pt>
                <c:pt idx="880">
                  <c:v>43098</c:v>
                </c:pt>
                <c:pt idx="881">
                  <c:v>43099</c:v>
                </c:pt>
                <c:pt idx="882">
                  <c:v>43100</c:v>
                </c:pt>
                <c:pt idx="883">
                  <c:v>43101</c:v>
                </c:pt>
                <c:pt idx="884">
                  <c:v>43102</c:v>
                </c:pt>
                <c:pt idx="885">
                  <c:v>43103</c:v>
                </c:pt>
                <c:pt idx="886">
                  <c:v>43104</c:v>
                </c:pt>
                <c:pt idx="887">
                  <c:v>43105</c:v>
                </c:pt>
                <c:pt idx="888">
                  <c:v>43106</c:v>
                </c:pt>
                <c:pt idx="889">
                  <c:v>43107</c:v>
                </c:pt>
                <c:pt idx="890">
                  <c:v>43108</c:v>
                </c:pt>
                <c:pt idx="891">
                  <c:v>43109</c:v>
                </c:pt>
                <c:pt idx="892">
                  <c:v>43110</c:v>
                </c:pt>
                <c:pt idx="893">
                  <c:v>43111</c:v>
                </c:pt>
                <c:pt idx="894">
                  <c:v>43112</c:v>
                </c:pt>
                <c:pt idx="895">
                  <c:v>43113</c:v>
                </c:pt>
                <c:pt idx="896">
                  <c:v>43114</c:v>
                </c:pt>
                <c:pt idx="897">
                  <c:v>43115</c:v>
                </c:pt>
                <c:pt idx="898">
                  <c:v>43116</c:v>
                </c:pt>
                <c:pt idx="899">
                  <c:v>43117</c:v>
                </c:pt>
                <c:pt idx="900">
                  <c:v>43118</c:v>
                </c:pt>
                <c:pt idx="901">
                  <c:v>43119</c:v>
                </c:pt>
                <c:pt idx="902">
                  <c:v>43120</c:v>
                </c:pt>
                <c:pt idx="903">
                  <c:v>43121</c:v>
                </c:pt>
                <c:pt idx="904">
                  <c:v>43122</c:v>
                </c:pt>
                <c:pt idx="905">
                  <c:v>43123</c:v>
                </c:pt>
                <c:pt idx="906">
                  <c:v>43124</c:v>
                </c:pt>
                <c:pt idx="907">
                  <c:v>43125</c:v>
                </c:pt>
                <c:pt idx="908">
                  <c:v>43126</c:v>
                </c:pt>
                <c:pt idx="909">
                  <c:v>43127</c:v>
                </c:pt>
                <c:pt idx="910">
                  <c:v>43128</c:v>
                </c:pt>
                <c:pt idx="911">
                  <c:v>43129</c:v>
                </c:pt>
                <c:pt idx="912">
                  <c:v>43130</c:v>
                </c:pt>
                <c:pt idx="913">
                  <c:v>43131</c:v>
                </c:pt>
                <c:pt idx="914">
                  <c:v>43132</c:v>
                </c:pt>
                <c:pt idx="915">
                  <c:v>43133</c:v>
                </c:pt>
                <c:pt idx="916">
                  <c:v>43134</c:v>
                </c:pt>
                <c:pt idx="917">
                  <c:v>43135</c:v>
                </c:pt>
                <c:pt idx="918">
                  <c:v>43136</c:v>
                </c:pt>
                <c:pt idx="919">
                  <c:v>43137</c:v>
                </c:pt>
                <c:pt idx="920">
                  <c:v>43138</c:v>
                </c:pt>
                <c:pt idx="921">
                  <c:v>43139</c:v>
                </c:pt>
                <c:pt idx="922">
                  <c:v>43140</c:v>
                </c:pt>
                <c:pt idx="923">
                  <c:v>43141</c:v>
                </c:pt>
                <c:pt idx="924">
                  <c:v>43142</c:v>
                </c:pt>
                <c:pt idx="925">
                  <c:v>43143</c:v>
                </c:pt>
                <c:pt idx="926">
                  <c:v>43144</c:v>
                </c:pt>
                <c:pt idx="927">
                  <c:v>43145</c:v>
                </c:pt>
                <c:pt idx="928">
                  <c:v>43146</c:v>
                </c:pt>
                <c:pt idx="929">
                  <c:v>43147</c:v>
                </c:pt>
                <c:pt idx="930">
                  <c:v>43148</c:v>
                </c:pt>
                <c:pt idx="931">
                  <c:v>43149</c:v>
                </c:pt>
                <c:pt idx="932">
                  <c:v>43150</c:v>
                </c:pt>
                <c:pt idx="933">
                  <c:v>43151</c:v>
                </c:pt>
                <c:pt idx="934">
                  <c:v>43152</c:v>
                </c:pt>
                <c:pt idx="935">
                  <c:v>43153</c:v>
                </c:pt>
                <c:pt idx="936">
                  <c:v>43154</c:v>
                </c:pt>
                <c:pt idx="937">
                  <c:v>43155</c:v>
                </c:pt>
                <c:pt idx="938">
                  <c:v>43156</c:v>
                </c:pt>
                <c:pt idx="939">
                  <c:v>43157</c:v>
                </c:pt>
                <c:pt idx="940">
                  <c:v>43158</c:v>
                </c:pt>
                <c:pt idx="941">
                  <c:v>43159</c:v>
                </c:pt>
                <c:pt idx="942">
                  <c:v>43160</c:v>
                </c:pt>
                <c:pt idx="943">
                  <c:v>43161</c:v>
                </c:pt>
                <c:pt idx="944">
                  <c:v>43162</c:v>
                </c:pt>
                <c:pt idx="945">
                  <c:v>43163</c:v>
                </c:pt>
                <c:pt idx="946">
                  <c:v>43164</c:v>
                </c:pt>
                <c:pt idx="947">
                  <c:v>43165</c:v>
                </c:pt>
                <c:pt idx="948">
                  <c:v>43166</c:v>
                </c:pt>
                <c:pt idx="949">
                  <c:v>43167</c:v>
                </c:pt>
                <c:pt idx="950">
                  <c:v>43168</c:v>
                </c:pt>
                <c:pt idx="951">
                  <c:v>43169</c:v>
                </c:pt>
                <c:pt idx="952">
                  <c:v>43170</c:v>
                </c:pt>
                <c:pt idx="953">
                  <c:v>43171</c:v>
                </c:pt>
                <c:pt idx="954">
                  <c:v>43172</c:v>
                </c:pt>
                <c:pt idx="955">
                  <c:v>43173</c:v>
                </c:pt>
                <c:pt idx="956">
                  <c:v>43174</c:v>
                </c:pt>
                <c:pt idx="957">
                  <c:v>43175</c:v>
                </c:pt>
                <c:pt idx="958">
                  <c:v>43176</c:v>
                </c:pt>
                <c:pt idx="959">
                  <c:v>43177</c:v>
                </c:pt>
                <c:pt idx="960">
                  <c:v>43178</c:v>
                </c:pt>
                <c:pt idx="961">
                  <c:v>43179</c:v>
                </c:pt>
                <c:pt idx="962">
                  <c:v>43180</c:v>
                </c:pt>
                <c:pt idx="963">
                  <c:v>43181</c:v>
                </c:pt>
                <c:pt idx="964">
                  <c:v>43182</c:v>
                </c:pt>
                <c:pt idx="965">
                  <c:v>43183</c:v>
                </c:pt>
                <c:pt idx="966">
                  <c:v>43184</c:v>
                </c:pt>
                <c:pt idx="967">
                  <c:v>43185</c:v>
                </c:pt>
                <c:pt idx="968">
                  <c:v>43186</c:v>
                </c:pt>
                <c:pt idx="969">
                  <c:v>43187</c:v>
                </c:pt>
                <c:pt idx="970">
                  <c:v>43188</c:v>
                </c:pt>
                <c:pt idx="971">
                  <c:v>43189</c:v>
                </c:pt>
                <c:pt idx="972">
                  <c:v>43190</c:v>
                </c:pt>
                <c:pt idx="973">
                  <c:v>43191</c:v>
                </c:pt>
                <c:pt idx="974">
                  <c:v>43192</c:v>
                </c:pt>
                <c:pt idx="975">
                  <c:v>43193</c:v>
                </c:pt>
                <c:pt idx="976">
                  <c:v>43194</c:v>
                </c:pt>
                <c:pt idx="977">
                  <c:v>43195</c:v>
                </c:pt>
                <c:pt idx="978">
                  <c:v>43196</c:v>
                </c:pt>
                <c:pt idx="979">
                  <c:v>43197</c:v>
                </c:pt>
                <c:pt idx="980">
                  <c:v>43198</c:v>
                </c:pt>
                <c:pt idx="981">
                  <c:v>43199</c:v>
                </c:pt>
                <c:pt idx="982">
                  <c:v>43200</c:v>
                </c:pt>
                <c:pt idx="983">
                  <c:v>43201</c:v>
                </c:pt>
                <c:pt idx="984">
                  <c:v>43202</c:v>
                </c:pt>
                <c:pt idx="985">
                  <c:v>43203</c:v>
                </c:pt>
                <c:pt idx="986">
                  <c:v>43204</c:v>
                </c:pt>
                <c:pt idx="987">
                  <c:v>43205</c:v>
                </c:pt>
                <c:pt idx="988">
                  <c:v>43206</c:v>
                </c:pt>
                <c:pt idx="989">
                  <c:v>43207</c:v>
                </c:pt>
                <c:pt idx="990">
                  <c:v>43208</c:v>
                </c:pt>
                <c:pt idx="991">
                  <c:v>43209</c:v>
                </c:pt>
                <c:pt idx="992">
                  <c:v>43210</c:v>
                </c:pt>
                <c:pt idx="993">
                  <c:v>43211</c:v>
                </c:pt>
                <c:pt idx="994">
                  <c:v>43212</c:v>
                </c:pt>
                <c:pt idx="995">
                  <c:v>43213</c:v>
                </c:pt>
                <c:pt idx="996">
                  <c:v>43214</c:v>
                </c:pt>
                <c:pt idx="997">
                  <c:v>43215</c:v>
                </c:pt>
                <c:pt idx="998">
                  <c:v>43216</c:v>
                </c:pt>
                <c:pt idx="999">
                  <c:v>43217</c:v>
                </c:pt>
                <c:pt idx="1000">
                  <c:v>43218</c:v>
                </c:pt>
                <c:pt idx="1001">
                  <c:v>43219</c:v>
                </c:pt>
                <c:pt idx="1002">
                  <c:v>43220</c:v>
                </c:pt>
                <c:pt idx="1003">
                  <c:v>43221</c:v>
                </c:pt>
                <c:pt idx="1004">
                  <c:v>43222</c:v>
                </c:pt>
                <c:pt idx="1005">
                  <c:v>43223</c:v>
                </c:pt>
                <c:pt idx="1006">
                  <c:v>43224</c:v>
                </c:pt>
                <c:pt idx="1007">
                  <c:v>43225</c:v>
                </c:pt>
                <c:pt idx="1008">
                  <c:v>43226</c:v>
                </c:pt>
                <c:pt idx="1009">
                  <c:v>43227</c:v>
                </c:pt>
                <c:pt idx="1010">
                  <c:v>43228</c:v>
                </c:pt>
                <c:pt idx="1011">
                  <c:v>43229</c:v>
                </c:pt>
                <c:pt idx="1012">
                  <c:v>43230</c:v>
                </c:pt>
                <c:pt idx="1013">
                  <c:v>43231</c:v>
                </c:pt>
                <c:pt idx="1014">
                  <c:v>43232</c:v>
                </c:pt>
                <c:pt idx="1015">
                  <c:v>43233</c:v>
                </c:pt>
                <c:pt idx="1016">
                  <c:v>43234</c:v>
                </c:pt>
                <c:pt idx="1017">
                  <c:v>43235</c:v>
                </c:pt>
                <c:pt idx="1018">
                  <c:v>43236</c:v>
                </c:pt>
                <c:pt idx="1019">
                  <c:v>43237</c:v>
                </c:pt>
                <c:pt idx="1020">
                  <c:v>43238</c:v>
                </c:pt>
                <c:pt idx="1021">
                  <c:v>43239</c:v>
                </c:pt>
                <c:pt idx="1022">
                  <c:v>43240</c:v>
                </c:pt>
                <c:pt idx="1023">
                  <c:v>43241</c:v>
                </c:pt>
                <c:pt idx="1024">
                  <c:v>43242</c:v>
                </c:pt>
                <c:pt idx="1025">
                  <c:v>43243</c:v>
                </c:pt>
                <c:pt idx="1026">
                  <c:v>43244</c:v>
                </c:pt>
                <c:pt idx="1027">
                  <c:v>43245</c:v>
                </c:pt>
                <c:pt idx="1028">
                  <c:v>43246</c:v>
                </c:pt>
                <c:pt idx="1029">
                  <c:v>43247</c:v>
                </c:pt>
                <c:pt idx="1030">
                  <c:v>43248</c:v>
                </c:pt>
                <c:pt idx="1031">
                  <c:v>43249</c:v>
                </c:pt>
                <c:pt idx="1032">
                  <c:v>43250</c:v>
                </c:pt>
                <c:pt idx="1033">
                  <c:v>43251</c:v>
                </c:pt>
                <c:pt idx="1034">
                  <c:v>43252</c:v>
                </c:pt>
                <c:pt idx="1035">
                  <c:v>43253</c:v>
                </c:pt>
                <c:pt idx="1036">
                  <c:v>43254</c:v>
                </c:pt>
                <c:pt idx="1037">
                  <c:v>43255</c:v>
                </c:pt>
                <c:pt idx="1038">
                  <c:v>43256</c:v>
                </c:pt>
                <c:pt idx="1039">
                  <c:v>43257</c:v>
                </c:pt>
                <c:pt idx="1040">
                  <c:v>43258</c:v>
                </c:pt>
                <c:pt idx="1041">
                  <c:v>43259</c:v>
                </c:pt>
                <c:pt idx="1042">
                  <c:v>43260</c:v>
                </c:pt>
                <c:pt idx="1043">
                  <c:v>43261</c:v>
                </c:pt>
                <c:pt idx="1044">
                  <c:v>43262</c:v>
                </c:pt>
                <c:pt idx="1045">
                  <c:v>43263</c:v>
                </c:pt>
                <c:pt idx="1046">
                  <c:v>43264</c:v>
                </c:pt>
                <c:pt idx="1047">
                  <c:v>43265</c:v>
                </c:pt>
                <c:pt idx="1048">
                  <c:v>43266</c:v>
                </c:pt>
                <c:pt idx="1049">
                  <c:v>43267</c:v>
                </c:pt>
                <c:pt idx="1050">
                  <c:v>43268</c:v>
                </c:pt>
                <c:pt idx="1051">
                  <c:v>43269</c:v>
                </c:pt>
                <c:pt idx="1052">
                  <c:v>43270</c:v>
                </c:pt>
                <c:pt idx="1053">
                  <c:v>43271</c:v>
                </c:pt>
                <c:pt idx="1054">
                  <c:v>43272</c:v>
                </c:pt>
                <c:pt idx="1055">
                  <c:v>43273</c:v>
                </c:pt>
                <c:pt idx="1056">
                  <c:v>43274</c:v>
                </c:pt>
                <c:pt idx="1057">
                  <c:v>43275</c:v>
                </c:pt>
                <c:pt idx="1058">
                  <c:v>43276</c:v>
                </c:pt>
                <c:pt idx="1059">
                  <c:v>43277</c:v>
                </c:pt>
                <c:pt idx="1060">
                  <c:v>43278</c:v>
                </c:pt>
                <c:pt idx="1061">
                  <c:v>43279</c:v>
                </c:pt>
                <c:pt idx="1062">
                  <c:v>43280</c:v>
                </c:pt>
                <c:pt idx="1063">
                  <c:v>43281</c:v>
                </c:pt>
                <c:pt idx="1064">
                  <c:v>43282</c:v>
                </c:pt>
                <c:pt idx="1065">
                  <c:v>43283</c:v>
                </c:pt>
                <c:pt idx="1066">
                  <c:v>43284</c:v>
                </c:pt>
                <c:pt idx="1067">
                  <c:v>43285</c:v>
                </c:pt>
                <c:pt idx="1068">
                  <c:v>43286</c:v>
                </c:pt>
                <c:pt idx="1069">
                  <c:v>43287</c:v>
                </c:pt>
                <c:pt idx="1070">
                  <c:v>43288</c:v>
                </c:pt>
                <c:pt idx="1071">
                  <c:v>43289</c:v>
                </c:pt>
                <c:pt idx="1072">
                  <c:v>43290</c:v>
                </c:pt>
                <c:pt idx="1073">
                  <c:v>43291</c:v>
                </c:pt>
                <c:pt idx="1074">
                  <c:v>43292</c:v>
                </c:pt>
                <c:pt idx="1075">
                  <c:v>43293</c:v>
                </c:pt>
                <c:pt idx="1076">
                  <c:v>43294</c:v>
                </c:pt>
                <c:pt idx="1077">
                  <c:v>43295</c:v>
                </c:pt>
                <c:pt idx="1078">
                  <c:v>43296</c:v>
                </c:pt>
                <c:pt idx="1079">
                  <c:v>43297</c:v>
                </c:pt>
                <c:pt idx="1080">
                  <c:v>43298</c:v>
                </c:pt>
                <c:pt idx="1081">
                  <c:v>43299</c:v>
                </c:pt>
                <c:pt idx="1082">
                  <c:v>43300</c:v>
                </c:pt>
                <c:pt idx="1083">
                  <c:v>43301</c:v>
                </c:pt>
                <c:pt idx="1084">
                  <c:v>43302</c:v>
                </c:pt>
                <c:pt idx="1085">
                  <c:v>43305</c:v>
                </c:pt>
                <c:pt idx="1086">
                  <c:v>43306</c:v>
                </c:pt>
                <c:pt idx="1087">
                  <c:v>43307</c:v>
                </c:pt>
                <c:pt idx="1088">
                  <c:v>43308</c:v>
                </c:pt>
                <c:pt idx="1089">
                  <c:v>43309</c:v>
                </c:pt>
                <c:pt idx="1090">
                  <c:v>43310</c:v>
                </c:pt>
                <c:pt idx="1091">
                  <c:v>43311</c:v>
                </c:pt>
                <c:pt idx="1092">
                  <c:v>43312</c:v>
                </c:pt>
                <c:pt idx="1093">
                  <c:v>43313</c:v>
                </c:pt>
                <c:pt idx="1094">
                  <c:v>43314</c:v>
                </c:pt>
                <c:pt idx="1095">
                  <c:v>43315</c:v>
                </c:pt>
                <c:pt idx="1096">
                  <c:v>43316</c:v>
                </c:pt>
                <c:pt idx="1097">
                  <c:v>43317</c:v>
                </c:pt>
                <c:pt idx="1098">
                  <c:v>43318</c:v>
                </c:pt>
                <c:pt idx="1099">
                  <c:v>43319</c:v>
                </c:pt>
                <c:pt idx="1100">
                  <c:v>43320</c:v>
                </c:pt>
                <c:pt idx="1101">
                  <c:v>43321</c:v>
                </c:pt>
                <c:pt idx="1102">
                  <c:v>43322</c:v>
                </c:pt>
                <c:pt idx="1103">
                  <c:v>43323</c:v>
                </c:pt>
                <c:pt idx="1104">
                  <c:v>43324</c:v>
                </c:pt>
                <c:pt idx="1105">
                  <c:v>43325</c:v>
                </c:pt>
                <c:pt idx="1106">
                  <c:v>43326</c:v>
                </c:pt>
                <c:pt idx="1107">
                  <c:v>43327</c:v>
                </c:pt>
                <c:pt idx="1108">
                  <c:v>43328</c:v>
                </c:pt>
                <c:pt idx="1109">
                  <c:v>43329</c:v>
                </c:pt>
                <c:pt idx="1110">
                  <c:v>43330</c:v>
                </c:pt>
                <c:pt idx="1111">
                  <c:v>43331</c:v>
                </c:pt>
                <c:pt idx="1112">
                  <c:v>43332</c:v>
                </c:pt>
                <c:pt idx="1113">
                  <c:v>43333</c:v>
                </c:pt>
                <c:pt idx="1114">
                  <c:v>43334</c:v>
                </c:pt>
                <c:pt idx="1115">
                  <c:v>43335</c:v>
                </c:pt>
                <c:pt idx="1116">
                  <c:v>43336</c:v>
                </c:pt>
                <c:pt idx="1117">
                  <c:v>43337</c:v>
                </c:pt>
                <c:pt idx="1118">
                  <c:v>43338</c:v>
                </c:pt>
                <c:pt idx="1119">
                  <c:v>43339</c:v>
                </c:pt>
                <c:pt idx="1120">
                  <c:v>43340</c:v>
                </c:pt>
                <c:pt idx="1121">
                  <c:v>43341</c:v>
                </c:pt>
                <c:pt idx="1122">
                  <c:v>43342</c:v>
                </c:pt>
                <c:pt idx="1123">
                  <c:v>43343</c:v>
                </c:pt>
                <c:pt idx="1124">
                  <c:v>43344</c:v>
                </c:pt>
                <c:pt idx="1125">
                  <c:v>43345</c:v>
                </c:pt>
                <c:pt idx="1126">
                  <c:v>43346</c:v>
                </c:pt>
                <c:pt idx="1127">
                  <c:v>43347</c:v>
                </c:pt>
                <c:pt idx="1128">
                  <c:v>43348</c:v>
                </c:pt>
                <c:pt idx="1129">
                  <c:v>43349</c:v>
                </c:pt>
                <c:pt idx="1130">
                  <c:v>43350</c:v>
                </c:pt>
                <c:pt idx="1131">
                  <c:v>43351</c:v>
                </c:pt>
                <c:pt idx="1132">
                  <c:v>43352</c:v>
                </c:pt>
                <c:pt idx="1133">
                  <c:v>43353</c:v>
                </c:pt>
                <c:pt idx="1134">
                  <c:v>43354</c:v>
                </c:pt>
                <c:pt idx="1135">
                  <c:v>43355</c:v>
                </c:pt>
                <c:pt idx="1136">
                  <c:v>43356</c:v>
                </c:pt>
                <c:pt idx="1137">
                  <c:v>43357</c:v>
                </c:pt>
                <c:pt idx="1138">
                  <c:v>43358</c:v>
                </c:pt>
                <c:pt idx="1139">
                  <c:v>43359</c:v>
                </c:pt>
                <c:pt idx="1140">
                  <c:v>43360</c:v>
                </c:pt>
                <c:pt idx="1141">
                  <c:v>43361</c:v>
                </c:pt>
                <c:pt idx="1142">
                  <c:v>43362</c:v>
                </c:pt>
                <c:pt idx="1143">
                  <c:v>43363</c:v>
                </c:pt>
                <c:pt idx="1144">
                  <c:v>43364</c:v>
                </c:pt>
                <c:pt idx="1145">
                  <c:v>43365</c:v>
                </c:pt>
                <c:pt idx="1146">
                  <c:v>43366</c:v>
                </c:pt>
                <c:pt idx="1147">
                  <c:v>43367</c:v>
                </c:pt>
                <c:pt idx="1148">
                  <c:v>43368</c:v>
                </c:pt>
                <c:pt idx="1149">
                  <c:v>43369</c:v>
                </c:pt>
                <c:pt idx="1150">
                  <c:v>43370</c:v>
                </c:pt>
                <c:pt idx="1151">
                  <c:v>43371</c:v>
                </c:pt>
                <c:pt idx="1152">
                  <c:v>43372</c:v>
                </c:pt>
                <c:pt idx="1153">
                  <c:v>43373</c:v>
                </c:pt>
                <c:pt idx="1154">
                  <c:v>43374</c:v>
                </c:pt>
                <c:pt idx="1155">
                  <c:v>43375</c:v>
                </c:pt>
                <c:pt idx="1156">
                  <c:v>43376</c:v>
                </c:pt>
                <c:pt idx="1157">
                  <c:v>43377</c:v>
                </c:pt>
                <c:pt idx="1158">
                  <c:v>43378</c:v>
                </c:pt>
                <c:pt idx="1159">
                  <c:v>43379</c:v>
                </c:pt>
                <c:pt idx="1160">
                  <c:v>43380</c:v>
                </c:pt>
                <c:pt idx="1161">
                  <c:v>43381</c:v>
                </c:pt>
                <c:pt idx="1162">
                  <c:v>43382</c:v>
                </c:pt>
                <c:pt idx="1163">
                  <c:v>43383</c:v>
                </c:pt>
                <c:pt idx="1164">
                  <c:v>43384</c:v>
                </c:pt>
                <c:pt idx="1165">
                  <c:v>43385</c:v>
                </c:pt>
                <c:pt idx="1166">
                  <c:v>43386</c:v>
                </c:pt>
                <c:pt idx="1167">
                  <c:v>43387</c:v>
                </c:pt>
                <c:pt idx="1168">
                  <c:v>43388</c:v>
                </c:pt>
                <c:pt idx="1169">
                  <c:v>43389</c:v>
                </c:pt>
                <c:pt idx="1170">
                  <c:v>43390</c:v>
                </c:pt>
                <c:pt idx="1171">
                  <c:v>43391</c:v>
                </c:pt>
                <c:pt idx="1172">
                  <c:v>43392</c:v>
                </c:pt>
                <c:pt idx="1173">
                  <c:v>43393</c:v>
                </c:pt>
                <c:pt idx="1174">
                  <c:v>43394</c:v>
                </c:pt>
                <c:pt idx="1175">
                  <c:v>43395</c:v>
                </c:pt>
                <c:pt idx="1176">
                  <c:v>43396</c:v>
                </c:pt>
                <c:pt idx="1177">
                  <c:v>43397</c:v>
                </c:pt>
                <c:pt idx="1178">
                  <c:v>43398</c:v>
                </c:pt>
                <c:pt idx="1179">
                  <c:v>43399</c:v>
                </c:pt>
                <c:pt idx="1180">
                  <c:v>43400</c:v>
                </c:pt>
                <c:pt idx="1181">
                  <c:v>43401</c:v>
                </c:pt>
                <c:pt idx="1182">
                  <c:v>43402</c:v>
                </c:pt>
                <c:pt idx="1183">
                  <c:v>43403</c:v>
                </c:pt>
                <c:pt idx="1184">
                  <c:v>43404</c:v>
                </c:pt>
                <c:pt idx="1185">
                  <c:v>43405</c:v>
                </c:pt>
                <c:pt idx="1186">
                  <c:v>43406</c:v>
                </c:pt>
                <c:pt idx="1187">
                  <c:v>43407</c:v>
                </c:pt>
                <c:pt idx="1188">
                  <c:v>43408</c:v>
                </c:pt>
                <c:pt idx="1189">
                  <c:v>43409</c:v>
                </c:pt>
                <c:pt idx="1190">
                  <c:v>43410</c:v>
                </c:pt>
                <c:pt idx="1191">
                  <c:v>43411</c:v>
                </c:pt>
                <c:pt idx="1192">
                  <c:v>43412</c:v>
                </c:pt>
                <c:pt idx="1193">
                  <c:v>43413</c:v>
                </c:pt>
                <c:pt idx="1194">
                  <c:v>43414</c:v>
                </c:pt>
                <c:pt idx="1195">
                  <c:v>43415</c:v>
                </c:pt>
                <c:pt idx="1196">
                  <c:v>43416</c:v>
                </c:pt>
                <c:pt idx="1197">
                  <c:v>43417</c:v>
                </c:pt>
                <c:pt idx="1198">
                  <c:v>43418</c:v>
                </c:pt>
                <c:pt idx="1199">
                  <c:v>43419</c:v>
                </c:pt>
                <c:pt idx="1200">
                  <c:v>43420</c:v>
                </c:pt>
                <c:pt idx="1201">
                  <c:v>43421</c:v>
                </c:pt>
                <c:pt idx="1202">
                  <c:v>43422</c:v>
                </c:pt>
                <c:pt idx="1203">
                  <c:v>43423</c:v>
                </c:pt>
                <c:pt idx="1204">
                  <c:v>43424</c:v>
                </c:pt>
                <c:pt idx="1205">
                  <c:v>43425</c:v>
                </c:pt>
                <c:pt idx="1206">
                  <c:v>43426</c:v>
                </c:pt>
                <c:pt idx="1207">
                  <c:v>43427</c:v>
                </c:pt>
                <c:pt idx="1208">
                  <c:v>43428</c:v>
                </c:pt>
                <c:pt idx="1209">
                  <c:v>43429</c:v>
                </c:pt>
                <c:pt idx="1210">
                  <c:v>43430</c:v>
                </c:pt>
                <c:pt idx="1211">
                  <c:v>43431</c:v>
                </c:pt>
                <c:pt idx="1212">
                  <c:v>43432</c:v>
                </c:pt>
                <c:pt idx="1213">
                  <c:v>43433</c:v>
                </c:pt>
                <c:pt idx="1214">
                  <c:v>43434</c:v>
                </c:pt>
                <c:pt idx="1215">
                  <c:v>43435</c:v>
                </c:pt>
                <c:pt idx="1216">
                  <c:v>43436</c:v>
                </c:pt>
                <c:pt idx="1217">
                  <c:v>43437</c:v>
                </c:pt>
                <c:pt idx="1218">
                  <c:v>43438</c:v>
                </c:pt>
                <c:pt idx="1219">
                  <c:v>43439</c:v>
                </c:pt>
                <c:pt idx="1220">
                  <c:v>43440</c:v>
                </c:pt>
                <c:pt idx="1221">
                  <c:v>43441</c:v>
                </c:pt>
                <c:pt idx="1222">
                  <c:v>43442</c:v>
                </c:pt>
                <c:pt idx="1223">
                  <c:v>43443</c:v>
                </c:pt>
                <c:pt idx="1224">
                  <c:v>43444</c:v>
                </c:pt>
                <c:pt idx="1225">
                  <c:v>43445</c:v>
                </c:pt>
                <c:pt idx="1226">
                  <c:v>43446</c:v>
                </c:pt>
                <c:pt idx="1227">
                  <c:v>43447</c:v>
                </c:pt>
                <c:pt idx="1228">
                  <c:v>43448</c:v>
                </c:pt>
                <c:pt idx="1229">
                  <c:v>43449</c:v>
                </c:pt>
                <c:pt idx="1230">
                  <c:v>43450</c:v>
                </c:pt>
                <c:pt idx="1231">
                  <c:v>43451</c:v>
                </c:pt>
                <c:pt idx="1232">
                  <c:v>43452</c:v>
                </c:pt>
                <c:pt idx="1233">
                  <c:v>43453</c:v>
                </c:pt>
                <c:pt idx="1234">
                  <c:v>43454</c:v>
                </c:pt>
                <c:pt idx="1235">
                  <c:v>43455</c:v>
                </c:pt>
                <c:pt idx="1236">
                  <c:v>43456</c:v>
                </c:pt>
                <c:pt idx="1237">
                  <c:v>43457</c:v>
                </c:pt>
                <c:pt idx="1238">
                  <c:v>43458</c:v>
                </c:pt>
                <c:pt idx="1239">
                  <c:v>43459</c:v>
                </c:pt>
                <c:pt idx="1240">
                  <c:v>43460</c:v>
                </c:pt>
                <c:pt idx="1241">
                  <c:v>43461</c:v>
                </c:pt>
                <c:pt idx="1242">
                  <c:v>43462</c:v>
                </c:pt>
                <c:pt idx="1243">
                  <c:v>43463</c:v>
                </c:pt>
                <c:pt idx="1244">
                  <c:v>43464</c:v>
                </c:pt>
                <c:pt idx="1245">
                  <c:v>43465</c:v>
                </c:pt>
                <c:pt idx="1246">
                  <c:v>43466</c:v>
                </c:pt>
                <c:pt idx="1247">
                  <c:v>43467</c:v>
                </c:pt>
                <c:pt idx="1248">
                  <c:v>43468</c:v>
                </c:pt>
                <c:pt idx="1249">
                  <c:v>43469</c:v>
                </c:pt>
                <c:pt idx="1250">
                  <c:v>43470</c:v>
                </c:pt>
                <c:pt idx="1251">
                  <c:v>43471</c:v>
                </c:pt>
                <c:pt idx="1252">
                  <c:v>43472</c:v>
                </c:pt>
                <c:pt idx="1253">
                  <c:v>43473</c:v>
                </c:pt>
                <c:pt idx="1254">
                  <c:v>43474</c:v>
                </c:pt>
                <c:pt idx="1255">
                  <c:v>43475</c:v>
                </c:pt>
                <c:pt idx="1256">
                  <c:v>43476</c:v>
                </c:pt>
                <c:pt idx="1257">
                  <c:v>43477</c:v>
                </c:pt>
                <c:pt idx="1258">
                  <c:v>43478</c:v>
                </c:pt>
                <c:pt idx="1259">
                  <c:v>43479</c:v>
                </c:pt>
                <c:pt idx="1260">
                  <c:v>43480</c:v>
                </c:pt>
                <c:pt idx="1261">
                  <c:v>43481</c:v>
                </c:pt>
                <c:pt idx="1262">
                  <c:v>43482</c:v>
                </c:pt>
                <c:pt idx="1263">
                  <c:v>43483</c:v>
                </c:pt>
                <c:pt idx="1264">
                  <c:v>43484</c:v>
                </c:pt>
                <c:pt idx="1265">
                  <c:v>43485</c:v>
                </c:pt>
                <c:pt idx="1266">
                  <c:v>43486</c:v>
                </c:pt>
                <c:pt idx="1267">
                  <c:v>43487</c:v>
                </c:pt>
                <c:pt idx="1268">
                  <c:v>43488</c:v>
                </c:pt>
                <c:pt idx="1269">
                  <c:v>43489</c:v>
                </c:pt>
                <c:pt idx="1270">
                  <c:v>43490</c:v>
                </c:pt>
                <c:pt idx="1271">
                  <c:v>43491</c:v>
                </c:pt>
                <c:pt idx="1272">
                  <c:v>43492</c:v>
                </c:pt>
                <c:pt idx="1273">
                  <c:v>43493</c:v>
                </c:pt>
                <c:pt idx="1274">
                  <c:v>43494</c:v>
                </c:pt>
                <c:pt idx="1275">
                  <c:v>43495</c:v>
                </c:pt>
                <c:pt idx="1276">
                  <c:v>43496</c:v>
                </c:pt>
                <c:pt idx="1277">
                  <c:v>43497</c:v>
                </c:pt>
                <c:pt idx="1278">
                  <c:v>43498</c:v>
                </c:pt>
                <c:pt idx="1279">
                  <c:v>43499</c:v>
                </c:pt>
                <c:pt idx="1280">
                  <c:v>43500</c:v>
                </c:pt>
                <c:pt idx="1281">
                  <c:v>43501</c:v>
                </c:pt>
                <c:pt idx="1282">
                  <c:v>43502</c:v>
                </c:pt>
                <c:pt idx="1283">
                  <c:v>43503</c:v>
                </c:pt>
                <c:pt idx="1284">
                  <c:v>43504</c:v>
                </c:pt>
                <c:pt idx="1285">
                  <c:v>43505</c:v>
                </c:pt>
                <c:pt idx="1286">
                  <c:v>43506</c:v>
                </c:pt>
                <c:pt idx="1287">
                  <c:v>43507</c:v>
                </c:pt>
                <c:pt idx="1288">
                  <c:v>43508</c:v>
                </c:pt>
                <c:pt idx="1289">
                  <c:v>43509</c:v>
                </c:pt>
                <c:pt idx="1290">
                  <c:v>43510</c:v>
                </c:pt>
                <c:pt idx="1291">
                  <c:v>43511</c:v>
                </c:pt>
                <c:pt idx="1292">
                  <c:v>43512</c:v>
                </c:pt>
                <c:pt idx="1293">
                  <c:v>43513</c:v>
                </c:pt>
                <c:pt idx="1294">
                  <c:v>43514</c:v>
                </c:pt>
                <c:pt idx="1295">
                  <c:v>43515</c:v>
                </c:pt>
                <c:pt idx="1296">
                  <c:v>43516</c:v>
                </c:pt>
                <c:pt idx="1297">
                  <c:v>43517</c:v>
                </c:pt>
                <c:pt idx="1298">
                  <c:v>43518</c:v>
                </c:pt>
                <c:pt idx="1299">
                  <c:v>43519</c:v>
                </c:pt>
                <c:pt idx="1300">
                  <c:v>43520</c:v>
                </c:pt>
                <c:pt idx="1301">
                  <c:v>43521</c:v>
                </c:pt>
                <c:pt idx="1302">
                  <c:v>43522</c:v>
                </c:pt>
                <c:pt idx="1303">
                  <c:v>43523</c:v>
                </c:pt>
                <c:pt idx="1304">
                  <c:v>43524</c:v>
                </c:pt>
                <c:pt idx="1305">
                  <c:v>43525</c:v>
                </c:pt>
                <c:pt idx="1306">
                  <c:v>43526</c:v>
                </c:pt>
                <c:pt idx="1307">
                  <c:v>43527</c:v>
                </c:pt>
                <c:pt idx="1308">
                  <c:v>43528</c:v>
                </c:pt>
                <c:pt idx="1309">
                  <c:v>43529</c:v>
                </c:pt>
                <c:pt idx="1310">
                  <c:v>43530</c:v>
                </c:pt>
                <c:pt idx="1311">
                  <c:v>43531</c:v>
                </c:pt>
                <c:pt idx="1312">
                  <c:v>43532</c:v>
                </c:pt>
                <c:pt idx="1313">
                  <c:v>43533</c:v>
                </c:pt>
                <c:pt idx="1314">
                  <c:v>43534</c:v>
                </c:pt>
                <c:pt idx="1315">
                  <c:v>43535</c:v>
                </c:pt>
                <c:pt idx="1316">
                  <c:v>43536</c:v>
                </c:pt>
                <c:pt idx="1317">
                  <c:v>43537</c:v>
                </c:pt>
                <c:pt idx="1318">
                  <c:v>43538</c:v>
                </c:pt>
                <c:pt idx="1319">
                  <c:v>43539</c:v>
                </c:pt>
                <c:pt idx="1320">
                  <c:v>43540</c:v>
                </c:pt>
                <c:pt idx="1321">
                  <c:v>43541</c:v>
                </c:pt>
                <c:pt idx="1322">
                  <c:v>43542</c:v>
                </c:pt>
                <c:pt idx="1323">
                  <c:v>43543</c:v>
                </c:pt>
                <c:pt idx="1324">
                  <c:v>43544</c:v>
                </c:pt>
                <c:pt idx="1325">
                  <c:v>43545</c:v>
                </c:pt>
                <c:pt idx="1326">
                  <c:v>43546</c:v>
                </c:pt>
                <c:pt idx="1327">
                  <c:v>43547</c:v>
                </c:pt>
                <c:pt idx="1328">
                  <c:v>43548</c:v>
                </c:pt>
                <c:pt idx="1329">
                  <c:v>43549</c:v>
                </c:pt>
                <c:pt idx="1330">
                  <c:v>43550</c:v>
                </c:pt>
                <c:pt idx="1331">
                  <c:v>43551</c:v>
                </c:pt>
                <c:pt idx="1332">
                  <c:v>43552</c:v>
                </c:pt>
                <c:pt idx="1333">
                  <c:v>43553</c:v>
                </c:pt>
                <c:pt idx="1334">
                  <c:v>43554</c:v>
                </c:pt>
                <c:pt idx="1335">
                  <c:v>43555</c:v>
                </c:pt>
                <c:pt idx="1336">
                  <c:v>43556</c:v>
                </c:pt>
                <c:pt idx="1337">
                  <c:v>43557</c:v>
                </c:pt>
                <c:pt idx="1338">
                  <c:v>43558</c:v>
                </c:pt>
                <c:pt idx="1339">
                  <c:v>43559</c:v>
                </c:pt>
                <c:pt idx="1340">
                  <c:v>43560</c:v>
                </c:pt>
                <c:pt idx="1341">
                  <c:v>43561</c:v>
                </c:pt>
                <c:pt idx="1342">
                  <c:v>43562</c:v>
                </c:pt>
                <c:pt idx="1343">
                  <c:v>43563</c:v>
                </c:pt>
                <c:pt idx="1344">
                  <c:v>43564</c:v>
                </c:pt>
                <c:pt idx="1345">
                  <c:v>43565</c:v>
                </c:pt>
                <c:pt idx="1346">
                  <c:v>43566</c:v>
                </c:pt>
                <c:pt idx="1347">
                  <c:v>43567</c:v>
                </c:pt>
                <c:pt idx="1348">
                  <c:v>43568</c:v>
                </c:pt>
                <c:pt idx="1349">
                  <c:v>43569</c:v>
                </c:pt>
                <c:pt idx="1350">
                  <c:v>43570</c:v>
                </c:pt>
                <c:pt idx="1351">
                  <c:v>43571</c:v>
                </c:pt>
                <c:pt idx="1352">
                  <c:v>43572</c:v>
                </c:pt>
                <c:pt idx="1353">
                  <c:v>43573</c:v>
                </c:pt>
                <c:pt idx="1354">
                  <c:v>43574</c:v>
                </c:pt>
                <c:pt idx="1355">
                  <c:v>43575</c:v>
                </c:pt>
                <c:pt idx="1356">
                  <c:v>43576</c:v>
                </c:pt>
                <c:pt idx="1357">
                  <c:v>43577</c:v>
                </c:pt>
                <c:pt idx="1358">
                  <c:v>43578</c:v>
                </c:pt>
                <c:pt idx="1359">
                  <c:v>43579</c:v>
                </c:pt>
                <c:pt idx="1360">
                  <c:v>43580</c:v>
                </c:pt>
                <c:pt idx="1361">
                  <c:v>43581</c:v>
                </c:pt>
                <c:pt idx="1362">
                  <c:v>43582</c:v>
                </c:pt>
                <c:pt idx="1363">
                  <c:v>43583</c:v>
                </c:pt>
                <c:pt idx="1364">
                  <c:v>43584</c:v>
                </c:pt>
                <c:pt idx="1365">
                  <c:v>43585</c:v>
                </c:pt>
                <c:pt idx="1366">
                  <c:v>43586</c:v>
                </c:pt>
                <c:pt idx="1367">
                  <c:v>43587</c:v>
                </c:pt>
                <c:pt idx="1368">
                  <c:v>43588</c:v>
                </c:pt>
                <c:pt idx="1369">
                  <c:v>43589</c:v>
                </c:pt>
                <c:pt idx="1370">
                  <c:v>43590</c:v>
                </c:pt>
                <c:pt idx="1371">
                  <c:v>43591</c:v>
                </c:pt>
                <c:pt idx="1372">
                  <c:v>43592</c:v>
                </c:pt>
                <c:pt idx="1373">
                  <c:v>43593</c:v>
                </c:pt>
                <c:pt idx="1374">
                  <c:v>43594</c:v>
                </c:pt>
                <c:pt idx="1375">
                  <c:v>43595</c:v>
                </c:pt>
                <c:pt idx="1376">
                  <c:v>43596</c:v>
                </c:pt>
                <c:pt idx="1377">
                  <c:v>43597</c:v>
                </c:pt>
                <c:pt idx="1378">
                  <c:v>43598</c:v>
                </c:pt>
                <c:pt idx="1379">
                  <c:v>43599</c:v>
                </c:pt>
                <c:pt idx="1380">
                  <c:v>43600</c:v>
                </c:pt>
                <c:pt idx="1381">
                  <c:v>43601</c:v>
                </c:pt>
                <c:pt idx="1382">
                  <c:v>43602</c:v>
                </c:pt>
                <c:pt idx="1383">
                  <c:v>43603</c:v>
                </c:pt>
                <c:pt idx="1384">
                  <c:v>43604</c:v>
                </c:pt>
                <c:pt idx="1385">
                  <c:v>43605</c:v>
                </c:pt>
                <c:pt idx="1386">
                  <c:v>43606</c:v>
                </c:pt>
                <c:pt idx="1387">
                  <c:v>43607</c:v>
                </c:pt>
                <c:pt idx="1388">
                  <c:v>43608</c:v>
                </c:pt>
                <c:pt idx="1389">
                  <c:v>43609</c:v>
                </c:pt>
                <c:pt idx="1390">
                  <c:v>43610</c:v>
                </c:pt>
                <c:pt idx="1391">
                  <c:v>43611</c:v>
                </c:pt>
                <c:pt idx="1392">
                  <c:v>43612</c:v>
                </c:pt>
                <c:pt idx="1393">
                  <c:v>43613</c:v>
                </c:pt>
                <c:pt idx="1394">
                  <c:v>43614</c:v>
                </c:pt>
                <c:pt idx="1395">
                  <c:v>43615</c:v>
                </c:pt>
                <c:pt idx="1396">
                  <c:v>43616</c:v>
                </c:pt>
                <c:pt idx="1397">
                  <c:v>43617</c:v>
                </c:pt>
                <c:pt idx="1398">
                  <c:v>43618</c:v>
                </c:pt>
                <c:pt idx="1399">
                  <c:v>43619</c:v>
                </c:pt>
                <c:pt idx="1400">
                  <c:v>43620</c:v>
                </c:pt>
                <c:pt idx="1401">
                  <c:v>43621</c:v>
                </c:pt>
                <c:pt idx="1402">
                  <c:v>43622</c:v>
                </c:pt>
                <c:pt idx="1403">
                  <c:v>43623</c:v>
                </c:pt>
                <c:pt idx="1404">
                  <c:v>43624</c:v>
                </c:pt>
                <c:pt idx="1405">
                  <c:v>43625</c:v>
                </c:pt>
                <c:pt idx="1406">
                  <c:v>43626</c:v>
                </c:pt>
                <c:pt idx="1407">
                  <c:v>43627</c:v>
                </c:pt>
                <c:pt idx="1408">
                  <c:v>43628</c:v>
                </c:pt>
                <c:pt idx="1409">
                  <c:v>43629</c:v>
                </c:pt>
                <c:pt idx="1410">
                  <c:v>43630</c:v>
                </c:pt>
                <c:pt idx="1411">
                  <c:v>43631</c:v>
                </c:pt>
                <c:pt idx="1412">
                  <c:v>43632</c:v>
                </c:pt>
                <c:pt idx="1413">
                  <c:v>43633</c:v>
                </c:pt>
                <c:pt idx="1414">
                  <c:v>43634</c:v>
                </c:pt>
                <c:pt idx="1415">
                  <c:v>43635</c:v>
                </c:pt>
                <c:pt idx="1416">
                  <c:v>43636</c:v>
                </c:pt>
                <c:pt idx="1417">
                  <c:v>43637</c:v>
                </c:pt>
                <c:pt idx="1418">
                  <c:v>43638</c:v>
                </c:pt>
                <c:pt idx="1419">
                  <c:v>43639</c:v>
                </c:pt>
                <c:pt idx="1420">
                  <c:v>43640</c:v>
                </c:pt>
                <c:pt idx="1421">
                  <c:v>43641</c:v>
                </c:pt>
                <c:pt idx="1422">
                  <c:v>43642</c:v>
                </c:pt>
                <c:pt idx="1423">
                  <c:v>43643</c:v>
                </c:pt>
                <c:pt idx="1424">
                  <c:v>43644</c:v>
                </c:pt>
                <c:pt idx="1425">
                  <c:v>43645</c:v>
                </c:pt>
                <c:pt idx="1426">
                  <c:v>43646</c:v>
                </c:pt>
                <c:pt idx="1427">
                  <c:v>43647</c:v>
                </c:pt>
                <c:pt idx="1428">
                  <c:v>43648</c:v>
                </c:pt>
                <c:pt idx="1429">
                  <c:v>43649</c:v>
                </c:pt>
                <c:pt idx="1430">
                  <c:v>43650</c:v>
                </c:pt>
                <c:pt idx="1431">
                  <c:v>43651</c:v>
                </c:pt>
                <c:pt idx="1432">
                  <c:v>43652</c:v>
                </c:pt>
                <c:pt idx="1433">
                  <c:v>43653</c:v>
                </c:pt>
                <c:pt idx="1434">
                  <c:v>43654</c:v>
                </c:pt>
                <c:pt idx="1435">
                  <c:v>43655</c:v>
                </c:pt>
                <c:pt idx="1436">
                  <c:v>43656</c:v>
                </c:pt>
                <c:pt idx="1437">
                  <c:v>43657</c:v>
                </c:pt>
                <c:pt idx="1438">
                  <c:v>43658</c:v>
                </c:pt>
                <c:pt idx="1439">
                  <c:v>43659</c:v>
                </c:pt>
                <c:pt idx="1440">
                  <c:v>43660</c:v>
                </c:pt>
                <c:pt idx="1441">
                  <c:v>43661</c:v>
                </c:pt>
                <c:pt idx="1442">
                  <c:v>43662</c:v>
                </c:pt>
                <c:pt idx="1443">
                  <c:v>43663</c:v>
                </c:pt>
                <c:pt idx="1444">
                  <c:v>43664</c:v>
                </c:pt>
                <c:pt idx="1445">
                  <c:v>43665</c:v>
                </c:pt>
                <c:pt idx="1446">
                  <c:v>43666</c:v>
                </c:pt>
                <c:pt idx="1447">
                  <c:v>43667</c:v>
                </c:pt>
                <c:pt idx="1448">
                  <c:v>43668</c:v>
                </c:pt>
                <c:pt idx="1449">
                  <c:v>43669</c:v>
                </c:pt>
                <c:pt idx="1450">
                  <c:v>43670</c:v>
                </c:pt>
                <c:pt idx="1451">
                  <c:v>43671</c:v>
                </c:pt>
                <c:pt idx="1452">
                  <c:v>43672</c:v>
                </c:pt>
                <c:pt idx="1453">
                  <c:v>43673</c:v>
                </c:pt>
                <c:pt idx="1454">
                  <c:v>43674</c:v>
                </c:pt>
                <c:pt idx="1455">
                  <c:v>43675</c:v>
                </c:pt>
                <c:pt idx="1456">
                  <c:v>43676</c:v>
                </c:pt>
                <c:pt idx="1457">
                  <c:v>43677</c:v>
                </c:pt>
                <c:pt idx="1458">
                  <c:v>43678</c:v>
                </c:pt>
                <c:pt idx="1459">
                  <c:v>43679</c:v>
                </c:pt>
                <c:pt idx="1460">
                  <c:v>43680</c:v>
                </c:pt>
                <c:pt idx="1461">
                  <c:v>43681</c:v>
                </c:pt>
                <c:pt idx="1462">
                  <c:v>43682</c:v>
                </c:pt>
                <c:pt idx="1463">
                  <c:v>43683</c:v>
                </c:pt>
                <c:pt idx="1464">
                  <c:v>43684</c:v>
                </c:pt>
                <c:pt idx="1465">
                  <c:v>43685</c:v>
                </c:pt>
                <c:pt idx="1466">
                  <c:v>43686</c:v>
                </c:pt>
                <c:pt idx="1467">
                  <c:v>43687</c:v>
                </c:pt>
                <c:pt idx="1468">
                  <c:v>43688</c:v>
                </c:pt>
                <c:pt idx="1469">
                  <c:v>43689</c:v>
                </c:pt>
                <c:pt idx="1470">
                  <c:v>43690</c:v>
                </c:pt>
                <c:pt idx="1471">
                  <c:v>43691</c:v>
                </c:pt>
                <c:pt idx="1472">
                  <c:v>43692</c:v>
                </c:pt>
                <c:pt idx="1473">
                  <c:v>43693</c:v>
                </c:pt>
                <c:pt idx="1474">
                  <c:v>43694</c:v>
                </c:pt>
                <c:pt idx="1475">
                  <c:v>43695</c:v>
                </c:pt>
                <c:pt idx="1476">
                  <c:v>43696</c:v>
                </c:pt>
                <c:pt idx="1477">
                  <c:v>43697</c:v>
                </c:pt>
                <c:pt idx="1478">
                  <c:v>43698</c:v>
                </c:pt>
                <c:pt idx="1479">
                  <c:v>43699</c:v>
                </c:pt>
                <c:pt idx="1480">
                  <c:v>43700</c:v>
                </c:pt>
                <c:pt idx="1481">
                  <c:v>43701</c:v>
                </c:pt>
                <c:pt idx="1482">
                  <c:v>43702</c:v>
                </c:pt>
                <c:pt idx="1483">
                  <c:v>43703</c:v>
                </c:pt>
                <c:pt idx="1484">
                  <c:v>43704</c:v>
                </c:pt>
                <c:pt idx="1485">
                  <c:v>43705</c:v>
                </c:pt>
                <c:pt idx="1486">
                  <c:v>43706</c:v>
                </c:pt>
                <c:pt idx="1487">
                  <c:v>43707</c:v>
                </c:pt>
                <c:pt idx="1488">
                  <c:v>43708</c:v>
                </c:pt>
                <c:pt idx="1489">
                  <c:v>43709</c:v>
                </c:pt>
                <c:pt idx="1490">
                  <c:v>43710</c:v>
                </c:pt>
                <c:pt idx="1491">
                  <c:v>43711</c:v>
                </c:pt>
                <c:pt idx="1492">
                  <c:v>43712</c:v>
                </c:pt>
                <c:pt idx="1493">
                  <c:v>43713</c:v>
                </c:pt>
                <c:pt idx="1494">
                  <c:v>43714</c:v>
                </c:pt>
                <c:pt idx="1495">
                  <c:v>43715</c:v>
                </c:pt>
                <c:pt idx="1496">
                  <c:v>43716</c:v>
                </c:pt>
                <c:pt idx="1497">
                  <c:v>43717</c:v>
                </c:pt>
                <c:pt idx="1498">
                  <c:v>43718</c:v>
                </c:pt>
                <c:pt idx="1499">
                  <c:v>43719</c:v>
                </c:pt>
                <c:pt idx="1500">
                  <c:v>43720</c:v>
                </c:pt>
                <c:pt idx="1501">
                  <c:v>43721</c:v>
                </c:pt>
                <c:pt idx="1502">
                  <c:v>43722</c:v>
                </c:pt>
                <c:pt idx="1503">
                  <c:v>43723</c:v>
                </c:pt>
                <c:pt idx="1504">
                  <c:v>43724</c:v>
                </c:pt>
                <c:pt idx="1505">
                  <c:v>43725</c:v>
                </c:pt>
                <c:pt idx="1506">
                  <c:v>43726</c:v>
                </c:pt>
                <c:pt idx="1507">
                  <c:v>43727</c:v>
                </c:pt>
                <c:pt idx="1508">
                  <c:v>43728</c:v>
                </c:pt>
                <c:pt idx="1509">
                  <c:v>43729</c:v>
                </c:pt>
                <c:pt idx="1510">
                  <c:v>43730</c:v>
                </c:pt>
                <c:pt idx="1511">
                  <c:v>43731</c:v>
                </c:pt>
                <c:pt idx="1512">
                  <c:v>43732</c:v>
                </c:pt>
                <c:pt idx="1513">
                  <c:v>43733</c:v>
                </c:pt>
                <c:pt idx="1514">
                  <c:v>43734</c:v>
                </c:pt>
                <c:pt idx="1515">
                  <c:v>43735</c:v>
                </c:pt>
                <c:pt idx="1516">
                  <c:v>43736</c:v>
                </c:pt>
                <c:pt idx="1517">
                  <c:v>43737</c:v>
                </c:pt>
                <c:pt idx="1518">
                  <c:v>43738</c:v>
                </c:pt>
                <c:pt idx="1519">
                  <c:v>43739</c:v>
                </c:pt>
                <c:pt idx="1520">
                  <c:v>43740</c:v>
                </c:pt>
                <c:pt idx="1521">
                  <c:v>43741</c:v>
                </c:pt>
                <c:pt idx="1522">
                  <c:v>43742</c:v>
                </c:pt>
                <c:pt idx="1523">
                  <c:v>43743</c:v>
                </c:pt>
                <c:pt idx="1524">
                  <c:v>43744</c:v>
                </c:pt>
                <c:pt idx="1525">
                  <c:v>43745</c:v>
                </c:pt>
                <c:pt idx="1526">
                  <c:v>43746</c:v>
                </c:pt>
                <c:pt idx="1527">
                  <c:v>43747</c:v>
                </c:pt>
                <c:pt idx="1528">
                  <c:v>43748</c:v>
                </c:pt>
                <c:pt idx="1529">
                  <c:v>43749</c:v>
                </c:pt>
                <c:pt idx="1530">
                  <c:v>43750</c:v>
                </c:pt>
                <c:pt idx="1531">
                  <c:v>43751</c:v>
                </c:pt>
                <c:pt idx="1532">
                  <c:v>43752</c:v>
                </c:pt>
                <c:pt idx="1533">
                  <c:v>43753</c:v>
                </c:pt>
                <c:pt idx="1534">
                  <c:v>43754</c:v>
                </c:pt>
                <c:pt idx="1535">
                  <c:v>43755</c:v>
                </c:pt>
                <c:pt idx="1536">
                  <c:v>43756</c:v>
                </c:pt>
                <c:pt idx="1537">
                  <c:v>43757</c:v>
                </c:pt>
                <c:pt idx="1538">
                  <c:v>43758</c:v>
                </c:pt>
                <c:pt idx="1539">
                  <c:v>43759</c:v>
                </c:pt>
                <c:pt idx="1540">
                  <c:v>43760</c:v>
                </c:pt>
                <c:pt idx="1541">
                  <c:v>43761</c:v>
                </c:pt>
                <c:pt idx="1542">
                  <c:v>43762</c:v>
                </c:pt>
                <c:pt idx="1543">
                  <c:v>43763</c:v>
                </c:pt>
                <c:pt idx="1544">
                  <c:v>43764</c:v>
                </c:pt>
                <c:pt idx="1545">
                  <c:v>43765</c:v>
                </c:pt>
                <c:pt idx="1546">
                  <c:v>43766</c:v>
                </c:pt>
                <c:pt idx="1547">
                  <c:v>43767</c:v>
                </c:pt>
                <c:pt idx="1548">
                  <c:v>43768</c:v>
                </c:pt>
                <c:pt idx="1549">
                  <c:v>43769</c:v>
                </c:pt>
                <c:pt idx="1550">
                  <c:v>43770</c:v>
                </c:pt>
                <c:pt idx="1551">
                  <c:v>43771</c:v>
                </c:pt>
                <c:pt idx="1552">
                  <c:v>43772</c:v>
                </c:pt>
                <c:pt idx="1553">
                  <c:v>43773</c:v>
                </c:pt>
                <c:pt idx="1554">
                  <c:v>43774</c:v>
                </c:pt>
                <c:pt idx="1555">
                  <c:v>43775</c:v>
                </c:pt>
                <c:pt idx="1556">
                  <c:v>43776</c:v>
                </c:pt>
                <c:pt idx="1557">
                  <c:v>43777</c:v>
                </c:pt>
                <c:pt idx="1558">
                  <c:v>43778</c:v>
                </c:pt>
                <c:pt idx="1559">
                  <c:v>43779</c:v>
                </c:pt>
                <c:pt idx="1560">
                  <c:v>43780</c:v>
                </c:pt>
                <c:pt idx="1561">
                  <c:v>43781</c:v>
                </c:pt>
                <c:pt idx="1562">
                  <c:v>43782</c:v>
                </c:pt>
                <c:pt idx="1563">
                  <c:v>43783</c:v>
                </c:pt>
                <c:pt idx="1564">
                  <c:v>43784</c:v>
                </c:pt>
                <c:pt idx="1565">
                  <c:v>43785</c:v>
                </c:pt>
                <c:pt idx="1566">
                  <c:v>43786</c:v>
                </c:pt>
                <c:pt idx="1567">
                  <c:v>43787</c:v>
                </c:pt>
                <c:pt idx="1568">
                  <c:v>43788</c:v>
                </c:pt>
                <c:pt idx="1569">
                  <c:v>43789</c:v>
                </c:pt>
                <c:pt idx="1570">
                  <c:v>43790</c:v>
                </c:pt>
                <c:pt idx="1571">
                  <c:v>43791</c:v>
                </c:pt>
                <c:pt idx="1572">
                  <c:v>43792</c:v>
                </c:pt>
                <c:pt idx="1573">
                  <c:v>43793</c:v>
                </c:pt>
                <c:pt idx="1574">
                  <c:v>43794</c:v>
                </c:pt>
                <c:pt idx="1575">
                  <c:v>43795</c:v>
                </c:pt>
                <c:pt idx="1576">
                  <c:v>43796</c:v>
                </c:pt>
                <c:pt idx="1577">
                  <c:v>43797</c:v>
                </c:pt>
                <c:pt idx="1578">
                  <c:v>43798</c:v>
                </c:pt>
                <c:pt idx="1579">
                  <c:v>43799</c:v>
                </c:pt>
                <c:pt idx="1580">
                  <c:v>43800</c:v>
                </c:pt>
                <c:pt idx="1581">
                  <c:v>43801</c:v>
                </c:pt>
                <c:pt idx="1582">
                  <c:v>43802</c:v>
                </c:pt>
                <c:pt idx="1583">
                  <c:v>43803</c:v>
                </c:pt>
                <c:pt idx="1584">
                  <c:v>43804</c:v>
                </c:pt>
                <c:pt idx="1585">
                  <c:v>43805</c:v>
                </c:pt>
                <c:pt idx="1586">
                  <c:v>43806</c:v>
                </c:pt>
                <c:pt idx="1587">
                  <c:v>43807</c:v>
                </c:pt>
                <c:pt idx="1588">
                  <c:v>43808</c:v>
                </c:pt>
                <c:pt idx="1589">
                  <c:v>43809</c:v>
                </c:pt>
                <c:pt idx="1590">
                  <c:v>43810</c:v>
                </c:pt>
                <c:pt idx="1591">
                  <c:v>43811</c:v>
                </c:pt>
                <c:pt idx="1592">
                  <c:v>43812</c:v>
                </c:pt>
                <c:pt idx="1593">
                  <c:v>43813</c:v>
                </c:pt>
                <c:pt idx="1594">
                  <c:v>43814</c:v>
                </c:pt>
                <c:pt idx="1595">
                  <c:v>43815</c:v>
                </c:pt>
                <c:pt idx="1596">
                  <c:v>43816</c:v>
                </c:pt>
                <c:pt idx="1597">
                  <c:v>43817</c:v>
                </c:pt>
                <c:pt idx="1598">
                  <c:v>43818</c:v>
                </c:pt>
                <c:pt idx="1599">
                  <c:v>43819</c:v>
                </c:pt>
                <c:pt idx="1600">
                  <c:v>43820</c:v>
                </c:pt>
                <c:pt idx="1601">
                  <c:v>43821</c:v>
                </c:pt>
                <c:pt idx="1602">
                  <c:v>43822</c:v>
                </c:pt>
                <c:pt idx="1603">
                  <c:v>43823</c:v>
                </c:pt>
                <c:pt idx="1604">
                  <c:v>43824</c:v>
                </c:pt>
                <c:pt idx="1605">
                  <c:v>43825</c:v>
                </c:pt>
                <c:pt idx="1606">
                  <c:v>43826</c:v>
                </c:pt>
                <c:pt idx="1607">
                  <c:v>43827</c:v>
                </c:pt>
                <c:pt idx="1608">
                  <c:v>43828</c:v>
                </c:pt>
                <c:pt idx="1609">
                  <c:v>43829</c:v>
                </c:pt>
                <c:pt idx="1610">
                  <c:v>43830</c:v>
                </c:pt>
                <c:pt idx="1611">
                  <c:v>43831</c:v>
                </c:pt>
                <c:pt idx="1612">
                  <c:v>43832</c:v>
                </c:pt>
                <c:pt idx="1613">
                  <c:v>43833</c:v>
                </c:pt>
                <c:pt idx="1614">
                  <c:v>43834</c:v>
                </c:pt>
                <c:pt idx="1615">
                  <c:v>43835</c:v>
                </c:pt>
                <c:pt idx="1616">
                  <c:v>43836</c:v>
                </c:pt>
                <c:pt idx="1617">
                  <c:v>43837</c:v>
                </c:pt>
                <c:pt idx="1618">
                  <c:v>43838</c:v>
                </c:pt>
                <c:pt idx="1619">
                  <c:v>43839</c:v>
                </c:pt>
                <c:pt idx="1620">
                  <c:v>43840</c:v>
                </c:pt>
                <c:pt idx="1621">
                  <c:v>43841</c:v>
                </c:pt>
                <c:pt idx="1622">
                  <c:v>43842</c:v>
                </c:pt>
                <c:pt idx="1623">
                  <c:v>43843</c:v>
                </c:pt>
                <c:pt idx="1624">
                  <c:v>43844</c:v>
                </c:pt>
                <c:pt idx="1625">
                  <c:v>43845</c:v>
                </c:pt>
                <c:pt idx="1626">
                  <c:v>43846</c:v>
                </c:pt>
                <c:pt idx="1627">
                  <c:v>43847</c:v>
                </c:pt>
                <c:pt idx="1628">
                  <c:v>43848</c:v>
                </c:pt>
                <c:pt idx="1629">
                  <c:v>43849</c:v>
                </c:pt>
                <c:pt idx="1630">
                  <c:v>43850</c:v>
                </c:pt>
                <c:pt idx="1631">
                  <c:v>43851</c:v>
                </c:pt>
                <c:pt idx="1632">
                  <c:v>43852</c:v>
                </c:pt>
                <c:pt idx="1633">
                  <c:v>43853</c:v>
                </c:pt>
                <c:pt idx="1634">
                  <c:v>43854</c:v>
                </c:pt>
                <c:pt idx="1635">
                  <c:v>43855</c:v>
                </c:pt>
                <c:pt idx="1636">
                  <c:v>43856</c:v>
                </c:pt>
                <c:pt idx="1637">
                  <c:v>43857</c:v>
                </c:pt>
                <c:pt idx="1638">
                  <c:v>43858</c:v>
                </c:pt>
                <c:pt idx="1639">
                  <c:v>43859</c:v>
                </c:pt>
                <c:pt idx="1640">
                  <c:v>43860</c:v>
                </c:pt>
                <c:pt idx="1641">
                  <c:v>43861</c:v>
                </c:pt>
                <c:pt idx="1642">
                  <c:v>43862</c:v>
                </c:pt>
                <c:pt idx="1643">
                  <c:v>43863</c:v>
                </c:pt>
                <c:pt idx="1644">
                  <c:v>43864</c:v>
                </c:pt>
                <c:pt idx="1645">
                  <c:v>43865</c:v>
                </c:pt>
                <c:pt idx="1646">
                  <c:v>43866</c:v>
                </c:pt>
                <c:pt idx="1647">
                  <c:v>43867</c:v>
                </c:pt>
                <c:pt idx="1648">
                  <c:v>43868</c:v>
                </c:pt>
                <c:pt idx="1649">
                  <c:v>43869</c:v>
                </c:pt>
                <c:pt idx="1650">
                  <c:v>43870</c:v>
                </c:pt>
                <c:pt idx="1651">
                  <c:v>43871</c:v>
                </c:pt>
                <c:pt idx="1652">
                  <c:v>43872</c:v>
                </c:pt>
                <c:pt idx="1653">
                  <c:v>43873</c:v>
                </c:pt>
                <c:pt idx="1654">
                  <c:v>43874</c:v>
                </c:pt>
                <c:pt idx="1655">
                  <c:v>43875</c:v>
                </c:pt>
                <c:pt idx="1656">
                  <c:v>43876</c:v>
                </c:pt>
                <c:pt idx="1657">
                  <c:v>43877</c:v>
                </c:pt>
                <c:pt idx="1658">
                  <c:v>43878</c:v>
                </c:pt>
                <c:pt idx="1659">
                  <c:v>43879</c:v>
                </c:pt>
                <c:pt idx="1660">
                  <c:v>43880</c:v>
                </c:pt>
                <c:pt idx="1661">
                  <c:v>43881</c:v>
                </c:pt>
                <c:pt idx="1662">
                  <c:v>43882</c:v>
                </c:pt>
                <c:pt idx="1663">
                  <c:v>43883</c:v>
                </c:pt>
                <c:pt idx="1664">
                  <c:v>43884</c:v>
                </c:pt>
                <c:pt idx="1665">
                  <c:v>43885</c:v>
                </c:pt>
                <c:pt idx="1666">
                  <c:v>43886</c:v>
                </c:pt>
                <c:pt idx="1667">
                  <c:v>43887</c:v>
                </c:pt>
                <c:pt idx="1668">
                  <c:v>43888</c:v>
                </c:pt>
                <c:pt idx="1669">
                  <c:v>43889</c:v>
                </c:pt>
                <c:pt idx="1670">
                  <c:v>43890</c:v>
                </c:pt>
                <c:pt idx="1671">
                  <c:v>43891</c:v>
                </c:pt>
                <c:pt idx="1672">
                  <c:v>43892</c:v>
                </c:pt>
                <c:pt idx="1673">
                  <c:v>43893</c:v>
                </c:pt>
                <c:pt idx="1674">
                  <c:v>43894</c:v>
                </c:pt>
                <c:pt idx="1675">
                  <c:v>43895</c:v>
                </c:pt>
                <c:pt idx="1676">
                  <c:v>43896</c:v>
                </c:pt>
                <c:pt idx="1677">
                  <c:v>43897</c:v>
                </c:pt>
                <c:pt idx="1678">
                  <c:v>43898</c:v>
                </c:pt>
                <c:pt idx="1679">
                  <c:v>43899</c:v>
                </c:pt>
                <c:pt idx="1680">
                  <c:v>43900</c:v>
                </c:pt>
                <c:pt idx="1681">
                  <c:v>43901</c:v>
                </c:pt>
                <c:pt idx="1682">
                  <c:v>43902</c:v>
                </c:pt>
                <c:pt idx="1683">
                  <c:v>43903</c:v>
                </c:pt>
                <c:pt idx="1684">
                  <c:v>43904</c:v>
                </c:pt>
                <c:pt idx="1685">
                  <c:v>43905</c:v>
                </c:pt>
                <c:pt idx="1686">
                  <c:v>43906</c:v>
                </c:pt>
                <c:pt idx="1687">
                  <c:v>43907</c:v>
                </c:pt>
                <c:pt idx="1688">
                  <c:v>43908</c:v>
                </c:pt>
                <c:pt idx="1689">
                  <c:v>43909</c:v>
                </c:pt>
                <c:pt idx="1690">
                  <c:v>43910</c:v>
                </c:pt>
                <c:pt idx="1691">
                  <c:v>43911</c:v>
                </c:pt>
                <c:pt idx="1692">
                  <c:v>43912</c:v>
                </c:pt>
                <c:pt idx="1693">
                  <c:v>43913</c:v>
                </c:pt>
                <c:pt idx="1694">
                  <c:v>43914</c:v>
                </c:pt>
                <c:pt idx="1695">
                  <c:v>43915</c:v>
                </c:pt>
                <c:pt idx="1696">
                  <c:v>43916</c:v>
                </c:pt>
                <c:pt idx="1697">
                  <c:v>43917</c:v>
                </c:pt>
                <c:pt idx="1698">
                  <c:v>43918</c:v>
                </c:pt>
                <c:pt idx="1699">
                  <c:v>43919</c:v>
                </c:pt>
                <c:pt idx="1700">
                  <c:v>43920</c:v>
                </c:pt>
                <c:pt idx="1701">
                  <c:v>43921</c:v>
                </c:pt>
                <c:pt idx="1702">
                  <c:v>43922</c:v>
                </c:pt>
                <c:pt idx="1703">
                  <c:v>43923</c:v>
                </c:pt>
                <c:pt idx="1704">
                  <c:v>43924</c:v>
                </c:pt>
                <c:pt idx="1705">
                  <c:v>43925</c:v>
                </c:pt>
                <c:pt idx="1706">
                  <c:v>43926</c:v>
                </c:pt>
                <c:pt idx="1707">
                  <c:v>43927</c:v>
                </c:pt>
                <c:pt idx="1708">
                  <c:v>43928</c:v>
                </c:pt>
                <c:pt idx="1709">
                  <c:v>43929</c:v>
                </c:pt>
                <c:pt idx="1710">
                  <c:v>43930</c:v>
                </c:pt>
                <c:pt idx="1711">
                  <c:v>43931</c:v>
                </c:pt>
                <c:pt idx="1712">
                  <c:v>43932</c:v>
                </c:pt>
                <c:pt idx="1713">
                  <c:v>43933</c:v>
                </c:pt>
                <c:pt idx="1714">
                  <c:v>43934</c:v>
                </c:pt>
                <c:pt idx="1715">
                  <c:v>43935</c:v>
                </c:pt>
                <c:pt idx="1716">
                  <c:v>43936</c:v>
                </c:pt>
                <c:pt idx="1717">
                  <c:v>43937</c:v>
                </c:pt>
                <c:pt idx="1718">
                  <c:v>43938</c:v>
                </c:pt>
                <c:pt idx="1719">
                  <c:v>43939</c:v>
                </c:pt>
                <c:pt idx="1720">
                  <c:v>43940</c:v>
                </c:pt>
                <c:pt idx="1721">
                  <c:v>43941</c:v>
                </c:pt>
                <c:pt idx="1722">
                  <c:v>43942</c:v>
                </c:pt>
                <c:pt idx="1723">
                  <c:v>43943</c:v>
                </c:pt>
                <c:pt idx="1724">
                  <c:v>43944</c:v>
                </c:pt>
                <c:pt idx="1725">
                  <c:v>43945</c:v>
                </c:pt>
                <c:pt idx="1726">
                  <c:v>43946</c:v>
                </c:pt>
                <c:pt idx="1727">
                  <c:v>43947</c:v>
                </c:pt>
                <c:pt idx="1728">
                  <c:v>43948</c:v>
                </c:pt>
                <c:pt idx="1729">
                  <c:v>43949</c:v>
                </c:pt>
                <c:pt idx="1730">
                  <c:v>43950</c:v>
                </c:pt>
                <c:pt idx="1731">
                  <c:v>43951</c:v>
                </c:pt>
                <c:pt idx="1732">
                  <c:v>43952</c:v>
                </c:pt>
                <c:pt idx="1733">
                  <c:v>43953</c:v>
                </c:pt>
                <c:pt idx="1734">
                  <c:v>43954</c:v>
                </c:pt>
                <c:pt idx="1735">
                  <c:v>43955</c:v>
                </c:pt>
                <c:pt idx="1736">
                  <c:v>43956</c:v>
                </c:pt>
                <c:pt idx="1737">
                  <c:v>43957</c:v>
                </c:pt>
                <c:pt idx="1738">
                  <c:v>43958</c:v>
                </c:pt>
                <c:pt idx="1739">
                  <c:v>43959</c:v>
                </c:pt>
                <c:pt idx="1740">
                  <c:v>43960</c:v>
                </c:pt>
                <c:pt idx="1741">
                  <c:v>43961</c:v>
                </c:pt>
                <c:pt idx="1742">
                  <c:v>43962</c:v>
                </c:pt>
                <c:pt idx="1743">
                  <c:v>43963</c:v>
                </c:pt>
                <c:pt idx="1744">
                  <c:v>43964</c:v>
                </c:pt>
                <c:pt idx="1745">
                  <c:v>43965</c:v>
                </c:pt>
                <c:pt idx="1746">
                  <c:v>43966</c:v>
                </c:pt>
                <c:pt idx="1747">
                  <c:v>43967</c:v>
                </c:pt>
                <c:pt idx="1748">
                  <c:v>43968</c:v>
                </c:pt>
                <c:pt idx="1749">
                  <c:v>43969</c:v>
                </c:pt>
                <c:pt idx="1750">
                  <c:v>43970</c:v>
                </c:pt>
                <c:pt idx="1751">
                  <c:v>43971</c:v>
                </c:pt>
                <c:pt idx="1752">
                  <c:v>43972</c:v>
                </c:pt>
                <c:pt idx="1753">
                  <c:v>43973</c:v>
                </c:pt>
                <c:pt idx="1754">
                  <c:v>43974</c:v>
                </c:pt>
                <c:pt idx="1755">
                  <c:v>43975</c:v>
                </c:pt>
                <c:pt idx="1756">
                  <c:v>43976</c:v>
                </c:pt>
                <c:pt idx="1757">
                  <c:v>43977</c:v>
                </c:pt>
                <c:pt idx="1758">
                  <c:v>43978</c:v>
                </c:pt>
                <c:pt idx="1759">
                  <c:v>43979</c:v>
                </c:pt>
                <c:pt idx="1760">
                  <c:v>43980</c:v>
                </c:pt>
                <c:pt idx="1761">
                  <c:v>43981</c:v>
                </c:pt>
                <c:pt idx="1762">
                  <c:v>43982</c:v>
                </c:pt>
                <c:pt idx="1763">
                  <c:v>43983</c:v>
                </c:pt>
                <c:pt idx="1764">
                  <c:v>43984</c:v>
                </c:pt>
                <c:pt idx="1765">
                  <c:v>43985</c:v>
                </c:pt>
                <c:pt idx="1766">
                  <c:v>43986</c:v>
                </c:pt>
                <c:pt idx="1767">
                  <c:v>43987</c:v>
                </c:pt>
                <c:pt idx="1768">
                  <c:v>43988</c:v>
                </c:pt>
                <c:pt idx="1769">
                  <c:v>43989</c:v>
                </c:pt>
                <c:pt idx="1770">
                  <c:v>43990</c:v>
                </c:pt>
                <c:pt idx="1771">
                  <c:v>43991</c:v>
                </c:pt>
                <c:pt idx="1772">
                  <c:v>43992</c:v>
                </c:pt>
                <c:pt idx="1773">
                  <c:v>43993</c:v>
                </c:pt>
                <c:pt idx="1774">
                  <c:v>43994</c:v>
                </c:pt>
                <c:pt idx="1775">
                  <c:v>43995</c:v>
                </c:pt>
                <c:pt idx="1776">
                  <c:v>43996</c:v>
                </c:pt>
                <c:pt idx="1777">
                  <c:v>43997</c:v>
                </c:pt>
                <c:pt idx="1778">
                  <c:v>43998</c:v>
                </c:pt>
                <c:pt idx="1779">
                  <c:v>43999</c:v>
                </c:pt>
                <c:pt idx="1780">
                  <c:v>44000</c:v>
                </c:pt>
                <c:pt idx="1781">
                  <c:v>44001</c:v>
                </c:pt>
                <c:pt idx="1782">
                  <c:v>44002</c:v>
                </c:pt>
                <c:pt idx="1783">
                  <c:v>44003</c:v>
                </c:pt>
                <c:pt idx="1784">
                  <c:v>44004</c:v>
                </c:pt>
                <c:pt idx="1785">
                  <c:v>44005</c:v>
                </c:pt>
                <c:pt idx="1786">
                  <c:v>44006</c:v>
                </c:pt>
                <c:pt idx="1787">
                  <c:v>44007</c:v>
                </c:pt>
                <c:pt idx="1788">
                  <c:v>44008</c:v>
                </c:pt>
                <c:pt idx="1789">
                  <c:v>44009</c:v>
                </c:pt>
                <c:pt idx="1790">
                  <c:v>44010</c:v>
                </c:pt>
                <c:pt idx="1791">
                  <c:v>44011</c:v>
                </c:pt>
                <c:pt idx="1792">
                  <c:v>44012</c:v>
                </c:pt>
                <c:pt idx="1793">
                  <c:v>44013</c:v>
                </c:pt>
                <c:pt idx="1794">
                  <c:v>44014</c:v>
                </c:pt>
                <c:pt idx="1795">
                  <c:v>44015</c:v>
                </c:pt>
                <c:pt idx="1796">
                  <c:v>44016</c:v>
                </c:pt>
                <c:pt idx="1797">
                  <c:v>44017</c:v>
                </c:pt>
                <c:pt idx="1798">
                  <c:v>44018</c:v>
                </c:pt>
                <c:pt idx="1799">
                  <c:v>44019</c:v>
                </c:pt>
                <c:pt idx="1800">
                  <c:v>44020</c:v>
                </c:pt>
                <c:pt idx="1801">
                  <c:v>44021</c:v>
                </c:pt>
                <c:pt idx="1802">
                  <c:v>44022</c:v>
                </c:pt>
                <c:pt idx="1803">
                  <c:v>44023</c:v>
                </c:pt>
                <c:pt idx="1804">
                  <c:v>44024</c:v>
                </c:pt>
                <c:pt idx="1805">
                  <c:v>44025</c:v>
                </c:pt>
                <c:pt idx="1806">
                  <c:v>44026</c:v>
                </c:pt>
                <c:pt idx="1807">
                  <c:v>44027</c:v>
                </c:pt>
                <c:pt idx="1808">
                  <c:v>44028</c:v>
                </c:pt>
                <c:pt idx="1809">
                  <c:v>44029</c:v>
                </c:pt>
                <c:pt idx="1810">
                  <c:v>44030</c:v>
                </c:pt>
                <c:pt idx="1811">
                  <c:v>44031</c:v>
                </c:pt>
                <c:pt idx="1812">
                  <c:v>44032</c:v>
                </c:pt>
                <c:pt idx="1813">
                  <c:v>44033</c:v>
                </c:pt>
                <c:pt idx="1814">
                  <c:v>44034</c:v>
                </c:pt>
                <c:pt idx="1815">
                  <c:v>44035</c:v>
                </c:pt>
                <c:pt idx="1816">
                  <c:v>44036</c:v>
                </c:pt>
                <c:pt idx="1817">
                  <c:v>44037</c:v>
                </c:pt>
                <c:pt idx="1818">
                  <c:v>44038</c:v>
                </c:pt>
                <c:pt idx="1819">
                  <c:v>44039</c:v>
                </c:pt>
                <c:pt idx="1820">
                  <c:v>44040</c:v>
                </c:pt>
                <c:pt idx="1821">
                  <c:v>44041</c:v>
                </c:pt>
                <c:pt idx="1822">
                  <c:v>44042</c:v>
                </c:pt>
                <c:pt idx="1823">
                  <c:v>44043</c:v>
                </c:pt>
                <c:pt idx="1824">
                  <c:v>44044</c:v>
                </c:pt>
                <c:pt idx="1825">
                  <c:v>44045</c:v>
                </c:pt>
                <c:pt idx="1826">
                  <c:v>44046</c:v>
                </c:pt>
                <c:pt idx="1827">
                  <c:v>44047</c:v>
                </c:pt>
                <c:pt idx="1828">
                  <c:v>44048</c:v>
                </c:pt>
                <c:pt idx="1829">
                  <c:v>44049</c:v>
                </c:pt>
                <c:pt idx="1830">
                  <c:v>44050</c:v>
                </c:pt>
                <c:pt idx="1831">
                  <c:v>44051</c:v>
                </c:pt>
                <c:pt idx="1832">
                  <c:v>44052</c:v>
                </c:pt>
                <c:pt idx="1833">
                  <c:v>44053</c:v>
                </c:pt>
                <c:pt idx="1834">
                  <c:v>44054</c:v>
                </c:pt>
                <c:pt idx="1835">
                  <c:v>44055</c:v>
                </c:pt>
                <c:pt idx="1836">
                  <c:v>44056</c:v>
                </c:pt>
                <c:pt idx="1837">
                  <c:v>44057</c:v>
                </c:pt>
                <c:pt idx="1838">
                  <c:v>44058</c:v>
                </c:pt>
                <c:pt idx="1839">
                  <c:v>44059</c:v>
                </c:pt>
                <c:pt idx="1840">
                  <c:v>44060</c:v>
                </c:pt>
                <c:pt idx="1841">
                  <c:v>44061</c:v>
                </c:pt>
                <c:pt idx="1842">
                  <c:v>44062</c:v>
                </c:pt>
                <c:pt idx="1843">
                  <c:v>44063</c:v>
                </c:pt>
                <c:pt idx="1844">
                  <c:v>44064</c:v>
                </c:pt>
                <c:pt idx="1845">
                  <c:v>44065</c:v>
                </c:pt>
                <c:pt idx="1846">
                  <c:v>44066</c:v>
                </c:pt>
                <c:pt idx="1847">
                  <c:v>44067</c:v>
                </c:pt>
                <c:pt idx="1848">
                  <c:v>44068</c:v>
                </c:pt>
                <c:pt idx="1849">
                  <c:v>44069</c:v>
                </c:pt>
                <c:pt idx="1850">
                  <c:v>44070</c:v>
                </c:pt>
                <c:pt idx="1851">
                  <c:v>44071</c:v>
                </c:pt>
                <c:pt idx="1852">
                  <c:v>44072</c:v>
                </c:pt>
                <c:pt idx="1853">
                  <c:v>44073</c:v>
                </c:pt>
                <c:pt idx="1854">
                  <c:v>44074</c:v>
                </c:pt>
                <c:pt idx="1855">
                  <c:v>44075</c:v>
                </c:pt>
                <c:pt idx="1856">
                  <c:v>44076</c:v>
                </c:pt>
                <c:pt idx="1857">
                  <c:v>44077</c:v>
                </c:pt>
                <c:pt idx="1858">
                  <c:v>44078</c:v>
                </c:pt>
                <c:pt idx="1859">
                  <c:v>44079</c:v>
                </c:pt>
                <c:pt idx="1860">
                  <c:v>44080</c:v>
                </c:pt>
                <c:pt idx="1861">
                  <c:v>44081</c:v>
                </c:pt>
                <c:pt idx="1862">
                  <c:v>44082</c:v>
                </c:pt>
                <c:pt idx="1863">
                  <c:v>44083</c:v>
                </c:pt>
                <c:pt idx="1864">
                  <c:v>44084</c:v>
                </c:pt>
                <c:pt idx="1865">
                  <c:v>44085</c:v>
                </c:pt>
                <c:pt idx="1866">
                  <c:v>44086</c:v>
                </c:pt>
                <c:pt idx="1867">
                  <c:v>44087</c:v>
                </c:pt>
                <c:pt idx="1868">
                  <c:v>44088</c:v>
                </c:pt>
                <c:pt idx="1869">
                  <c:v>44089</c:v>
                </c:pt>
                <c:pt idx="1870">
                  <c:v>44090</c:v>
                </c:pt>
                <c:pt idx="1871">
                  <c:v>44091</c:v>
                </c:pt>
                <c:pt idx="1872">
                  <c:v>44092</c:v>
                </c:pt>
                <c:pt idx="1873">
                  <c:v>44093</c:v>
                </c:pt>
                <c:pt idx="1874">
                  <c:v>44094</c:v>
                </c:pt>
                <c:pt idx="1875">
                  <c:v>44095</c:v>
                </c:pt>
                <c:pt idx="1876">
                  <c:v>44096</c:v>
                </c:pt>
                <c:pt idx="1877">
                  <c:v>44097</c:v>
                </c:pt>
                <c:pt idx="1878">
                  <c:v>44098</c:v>
                </c:pt>
                <c:pt idx="1879">
                  <c:v>44099</c:v>
                </c:pt>
                <c:pt idx="1880">
                  <c:v>44100</c:v>
                </c:pt>
                <c:pt idx="1881">
                  <c:v>44101</c:v>
                </c:pt>
                <c:pt idx="1882">
                  <c:v>44102</c:v>
                </c:pt>
                <c:pt idx="1883">
                  <c:v>44103</c:v>
                </c:pt>
                <c:pt idx="1884">
                  <c:v>44104</c:v>
                </c:pt>
                <c:pt idx="1885">
                  <c:v>44105</c:v>
                </c:pt>
                <c:pt idx="1886">
                  <c:v>44106</c:v>
                </c:pt>
                <c:pt idx="1887">
                  <c:v>44107</c:v>
                </c:pt>
                <c:pt idx="1888">
                  <c:v>44108</c:v>
                </c:pt>
                <c:pt idx="1889">
                  <c:v>44109</c:v>
                </c:pt>
                <c:pt idx="1890">
                  <c:v>44110</c:v>
                </c:pt>
                <c:pt idx="1891">
                  <c:v>44111</c:v>
                </c:pt>
                <c:pt idx="1892">
                  <c:v>44112</c:v>
                </c:pt>
                <c:pt idx="1893">
                  <c:v>44113</c:v>
                </c:pt>
                <c:pt idx="1894">
                  <c:v>44114</c:v>
                </c:pt>
                <c:pt idx="1895">
                  <c:v>44115</c:v>
                </c:pt>
                <c:pt idx="1896">
                  <c:v>44116</c:v>
                </c:pt>
                <c:pt idx="1897">
                  <c:v>44117</c:v>
                </c:pt>
                <c:pt idx="1898">
                  <c:v>44118</c:v>
                </c:pt>
                <c:pt idx="1899">
                  <c:v>44119</c:v>
                </c:pt>
                <c:pt idx="1900">
                  <c:v>44120</c:v>
                </c:pt>
                <c:pt idx="1901">
                  <c:v>44121</c:v>
                </c:pt>
                <c:pt idx="1902">
                  <c:v>44122</c:v>
                </c:pt>
                <c:pt idx="1903">
                  <c:v>44123</c:v>
                </c:pt>
                <c:pt idx="1904">
                  <c:v>44124</c:v>
                </c:pt>
                <c:pt idx="1905">
                  <c:v>44125</c:v>
                </c:pt>
                <c:pt idx="1906">
                  <c:v>44126</c:v>
                </c:pt>
                <c:pt idx="1907">
                  <c:v>44127</c:v>
                </c:pt>
                <c:pt idx="1908">
                  <c:v>44128</c:v>
                </c:pt>
                <c:pt idx="1909">
                  <c:v>44129</c:v>
                </c:pt>
                <c:pt idx="1910">
                  <c:v>44130</c:v>
                </c:pt>
                <c:pt idx="1911">
                  <c:v>44131</c:v>
                </c:pt>
                <c:pt idx="1912">
                  <c:v>44132</c:v>
                </c:pt>
                <c:pt idx="1913">
                  <c:v>44133</c:v>
                </c:pt>
                <c:pt idx="1914">
                  <c:v>44134</c:v>
                </c:pt>
                <c:pt idx="1915">
                  <c:v>44135</c:v>
                </c:pt>
                <c:pt idx="1916">
                  <c:v>44136</c:v>
                </c:pt>
                <c:pt idx="1917">
                  <c:v>44137</c:v>
                </c:pt>
                <c:pt idx="1918">
                  <c:v>44138</c:v>
                </c:pt>
                <c:pt idx="1919">
                  <c:v>44139</c:v>
                </c:pt>
                <c:pt idx="1920">
                  <c:v>44140</c:v>
                </c:pt>
                <c:pt idx="1921">
                  <c:v>44141</c:v>
                </c:pt>
                <c:pt idx="1922">
                  <c:v>44142</c:v>
                </c:pt>
                <c:pt idx="1923">
                  <c:v>44143</c:v>
                </c:pt>
                <c:pt idx="1924">
                  <c:v>44144</c:v>
                </c:pt>
                <c:pt idx="1925">
                  <c:v>44145</c:v>
                </c:pt>
                <c:pt idx="1926">
                  <c:v>44146</c:v>
                </c:pt>
                <c:pt idx="1927">
                  <c:v>44147</c:v>
                </c:pt>
                <c:pt idx="1928">
                  <c:v>44148</c:v>
                </c:pt>
                <c:pt idx="1929">
                  <c:v>44149</c:v>
                </c:pt>
                <c:pt idx="1930">
                  <c:v>44150</c:v>
                </c:pt>
                <c:pt idx="1931">
                  <c:v>44151</c:v>
                </c:pt>
                <c:pt idx="1932">
                  <c:v>44152</c:v>
                </c:pt>
                <c:pt idx="1933">
                  <c:v>44153</c:v>
                </c:pt>
                <c:pt idx="1934">
                  <c:v>44154</c:v>
                </c:pt>
                <c:pt idx="1935">
                  <c:v>44155</c:v>
                </c:pt>
                <c:pt idx="1936">
                  <c:v>44156</c:v>
                </c:pt>
                <c:pt idx="1937">
                  <c:v>44157</c:v>
                </c:pt>
                <c:pt idx="1938">
                  <c:v>44158</c:v>
                </c:pt>
                <c:pt idx="1939">
                  <c:v>44159</c:v>
                </c:pt>
                <c:pt idx="1940">
                  <c:v>44160</c:v>
                </c:pt>
                <c:pt idx="1941">
                  <c:v>44161</c:v>
                </c:pt>
                <c:pt idx="1942">
                  <c:v>44162</c:v>
                </c:pt>
                <c:pt idx="1943">
                  <c:v>44163</c:v>
                </c:pt>
                <c:pt idx="1944">
                  <c:v>44164</c:v>
                </c:pt>
                <c:pt idx="1945">
                  <c:v>44165</c:v>
                </c:pt>
                <c:pt idx="1946">
                  <c:v>44166</c:v>
                </c:pt>
                <c:pt idx="1947">
                  <c:v>44167</c:v>
                </c:pt>
                <c:pt idx="1948">
                  <c:v>44168</c:v>
                </c:pt>
                <c:pt idx="1949">
                  <c:v>44169</c:v>
                </c:pt>
                <c:pt idx="1950">
                  <c:v>44170</c:v>
                </c:pt>
                <c:pt idx="1951">
                  <c:v>44171</c:v>
                </c:pt>
                <c:pt idx="1952">
                  <c:v>44172</c:v>
                </c:pt>
                <c:pt idx="1953">
                  <c:v>44173</c:v>
                </c:pt>
                <c:pt idx="1954">
                  <c:v>44174</c:v>
                </c:pt>
                <c:pt idx="1955">
                  <c:v>44175</c:v>
                </c:pt>
                <c:pt idx="1956">
                  <c:v>44176</c:v>
                </c:pt>
                <c:pt idx="1957">
                  <c:v>44177</c:v>
                </c:pt>
                <c:pt idx="1958">
                  <c:v>44178</c:v>
                </c:pt>
                <c:pt idx="1959">
                  <c:v>44179</c:v>
                </c:pt>
                <c:pt idx="1960">
                  <c:v>44180</c:v>
                </c:pt>
                <c:pt idx="1961">
                  <c:v>44181</c:v>
                </c:pt>
                <c:pt idx="1962">
                  <c:v>44182</c:v>
                </c:pt>
                <c:pt idx="1963">
                  <c:v>44183</c:v>
                </c:pt>
                <c:pt idx="1964">
                  <c:v>44184</c:v>
                </c:pt>
                <c:pt idx="1965">
                  <c:v>44185</c:v>
                </c:pt>
                <c:pt idx="1966">
                  <c:v>44186</c:v>
                </c:pt>
                <c:pt idx="1967">
                  <c:v>44187</c:v>
                </c:pt>
                <c:pt idx="1968">
                  <c:v>44188</c:v>
                </c:pt>
                <c:pt idx="1969">
                  <c:v>44189</c:v>
                </c:pt>
                <c:pt idx="1970">
                  <c:v>44190</c:v>
                </c:pt>
                <c:pt idx="1971">
                  <c:v>44191</c:v>
                </c:pt>
                <c:pt idx="1972">
                  <c:v>44192</c:v>
                </c:pt>
                <c:pt idx="1973">
                  <c:v>44193</c:v>
                </c:pt>
                <c:pt idx="1974">
                  <c:v>44194</c:v>
                </c:pt>
                <c:pt idx="1975">
                  <c:v>44195</c:v>
                </c:pt>
                <c:pt idx="1976">
                  <c:v>44196</c:v>
                </c:pt>
                <c:pt idx="1977">
                  <c:v>44197</c:v>
                </c:pt>
                <c:pt idx="1978">
                  <c:v>44198</c:v>
                </c:pt>
                <c:pt idx="1979">
                  <c:v>44199</c:v>
                </c:pt>
                <c:pt idx="1980">
                  <c:v>44200</c:v>
                </c:pt>
                <c:pt idx="1981">
                  <c:v>44201</c:v>
                </c:pt>
                <c:pt idx="1982">
                  <c:v>44202</c:v>
                </c:pt>
                <c:pt idx="1983">
                  <c:v>44203</c:v>
                </c:pt>
                <c:pt idx="1984">
                  <c:v>44204</c:v>
                </c:pt>
                <c:pt idx="1985">
                  <c:v>44205</c:v>
                </c:pt>
                <c:pt idx="1986">
                  <c:v>44206</c:v>
                </c:pt>
                <c:pt idx="1987">
                  <c:v>44207</c:v>
                </c:pt>
                <c:pt idx="1988">
                  <c:v>44208</c:v>
                </c:pt>
                <c:pt idx="1989">
                  <c:v>44209</c:v>
                </c:pt>
                <c:pt idx="1990">
                  <c:v>44210</c:v>
                </c:pt>
                <c:pt idx="1991">
                  <c:v>44211</c:v>
                </c:pt>
                <c:pt idx="1992">
                  <c:v>44212</c:v>
                </c:pt>
                <c:pt idx="1993">
                  <c:v>44213</c:v>
                </c:pt>
                <c:pt idx="1994">
                  <c:v>44214</c:v>
                </c:pt>
                <c:pt idx="1995">
                  <c:v>44215</c:v>
                </c:pt>
                <c:pt idx="1996">
                  <c:v>44216</c:v>
                </c:pt>
                <c:pt idx="1997">
                  <c:v>44217</c:v>
                </c:pt>
                <c:pt idx="1998">
                  <c:v>44218</c:v>
                </c:pt>
                <c:pt idx="1999">
                  <c:v>44219</c:v>
                </c:pt>
                <c:pt idx="2000">
                  <c:v>44220</c:v>
                </c:pt>
                <c:pt idx="2001">
                  <c:v>44221</c:v>
                </c:pt>
                <c:pt idx="2002">
                  <c:v>44222</c:v>
                </c:pt>
                <c:pt idx="2003">
                  <c:v>44223</c:v>
                </c:pt>
                <c:pt idx="2004">
                  <c:v>44224</c:v>
                </c:pt>
                <c:pt idx="2005">
                  <c:v>44225</c:v>
                </c:pt>
                <c:pt idx="2006">
                  <c:v>44226</c:v>
                </c:pt>
                <c:pt idx="2007">
                  <c:v>44227</c:v>
                </c:pt>
                <c:pt idx="2008">
                  <c:v>44228</c:v>
                </c:pt>
                <c:pt idx="2009">
                  <c:v>44229</c:v>
                </c:pt>
                <c:pt idx="2010">
                  <c:v>44230</c:v>
                </c:pt>
                <c:pt idx="2011">
                  <c:v>44231</c:v>
                </c:pt>
                <c:pt idx="2012">
                  <c:v>44232</c:v>
                </c:pt>
                <c:pt idx="2013">
                  <c:v>44233</c:v>
                </c:pt>
                <c:pt idx="2014">
                  <c:v>44234</c:v>
                </c:pt>
                <c:pt idx="2015">
                  <c:v>44235</c:v>
                </c:pt>
                <c:pt idx="2016">
                  <c:v>44236</c:v>
                </c:pt>
                <c:pt idx="2017">
                  <c:v>44237</c:v>
                </c:pt>
                <c:pt idx="2018">
                  <c:v>44238</c:v>
                </c:pt>
                <c:pt idx="2019">
                  <c:v>44239</c:v>
                </c:pt>
                <c:pt idx="2020">
                  <c:v>44240</c:v>
                </c:pt>
                <c:pt idx="2021">
                  <c:v>44241</c:v>
                </c:pt>
                <c:pt idx="2022">
                  <c:v>44242</c:v>
                </c:pt>
                <c:pt idx="2023">
                  <c:v>44243</c:v>
                </c:pt>
                <c:pt idx="2024">
                  <c:v>44244</c:v>
                </c:pt>
                <c:pt idx="2025">
                  <c:v>44245</c:v>
                </c:pt>
                <c:pt idx="2026">
                  <c:v>44246</c:v>
                </c:pt>
                <c:pt idx="2027">
                  <c:v>44247</c:v>
                </c:pt>
                <c:pt idx="2028">
                  <c:v>44248</c:v>
                </c:pt>
                <c:pt idx="2029">
                  <c:v>44249</c:v>
                </c:pt>
                <c:pt idx="2030">
                  <c:v>44250</c:v>
                </c:pt>
                <c:pt idx="2031">
                  <c:v>44251</c:v>
                </c:pt>
                <c:pt idx="2032">
                  <c:v>44252</c:v>
                </c:pt>
                <c:pt idx="2033">
                  <c:v>44253</c:v>
                </c:pt>
                <c:pt idx="2034">
                  <c:v>44254</c:v>
                </c:pt>
                <c:pt idx="2035">
                  <c:v>44255</c:v>
                </c:pt>
                <c:pt idx="2036">
                  <c:v>44256</c:v>
                </c:pt>
                <c:pt idx="2037">
                  <c:v>44257</c:v>
                </c:pt>
                <c:pt idx="2038">
                  <c:v>44258</c:v>
                </c:pt>
                <c:pt idx="2039">
                  <c:v>44259</c:v>
                </c:pt>
                <c:pt idx="2040">
                  <c:v>44260</c:v>
                </c:pt>
                <c:pt idx="2041">
                  <c:v>44261</c:v>
                </c:pt>
                <c:pt idx="2042">
                  <c:v>44262</c:v>
                </c:pt>
                <c:pt idx="2043">
                  <c:v>44263</c:v>
                </c:pt>
                <c:pt idx="2044">
                  <c:v>44264</c:v>
                </c:pt>
                <c:pt idx="2045">
                  <c:v>44265</c:v>
                </c:pt>
                <c:pt idx="2046">
                  <c:v>44266</c:v>
                </c:pt>
                <c:pt idx="2047">
                  <c:v>44267</c:v>
                </c:pt>
                <c:pt idx="2048">
                  <c:v>44268</c:v>
                </c:pt>
                <c:pt idx="2049">
                  <c:v>44269</c:v>
                </c:pt>
                <c:pt idx="2050">
                  <c:v>44270</c:v>
                </c:pt>
                <c:pt idx="2051">
                  <c:v>44271</c:v>
                </c:pt>
                <c:pt idx="2052">
                  <c:v>44272</c:v>
                </c:pt>
                <c:pt idx="2053">
                  <c:v>44273</c:v>
                </c:pt>
                <c:pt idx="2054">
                  <c:v>44274</c:v>
                </c:pt>
                <c:pt idx="2055">
                  <c:v>44275</c:v>
                </c:pt>
                <c:pt idx="2056">
                  <c:v>44276</c:v>
                </c:pt>
                <c:pt idx="2057">
                  <c:v>44277</c:v>
                </c:pt>
                <c:pt idx="2058">
                  <c:v>44278</c:v>
                </c:pt>
                <c:pt idx="2059">
                  <c:v>44279</c:v>
                </c:pt>
                <c:pt idx="2060">
                  <c:v>44280</c:v>
                </c:pt>
                <c:pt idx="2061">
                  <c:v>44281</c:v>
                </c:pt>
                <c:pt idx="2062">
                  <c:v>44282</c:v>
                </c:pt>
                <c:pt idx="2063">
                  <c:v>44283</c:v>
                </c:pt>
                <c:pt idx="2064">
                  <c:v>44284</c:v>
                </c:pt>
                <c:pt idx="2065">
                  <c:v>44285</c:v>
                </c:pt>
                <c:pt idx="2066">
                  <c:v>44286</c:v>
                </c:pt>
                <c:pt idx="2067">
                  <c:v>44287</c:v>
                </c:pt>
                <c:pt idx="2068">
                  <c:v>44288</c:v>
                </c:pt>
                <c:pt idx="2069">
                  <c:v>44289</c:v>
                </c:pt>
                <c:pt idx="2070">
                  <c:v>44290</c:v>
                </c:pt>
                <c:pt idx="2071">
                  <c:v>44291</c:v>
                </c:pt>
                <c:pt idx="2072">
                  <c:v>44292</c:v>
                </c:pt>
                <c:pt idx="2073">
                  <c:v>44293</c:v>
                </c:pt>
                <c:pt idx="2074">
                  <c:v>44294</c:v>
                </c:pt>
                <c:pt idx="2075">
                  <c:v>44295</c:v>
                </c:pt>
                <c:pt idx="2076">
                  <c:v>44296</c:v>
                </c:pt>
                <c:pt idx="2077">
                  <c:v>44297</c:v>
                </c:pt>
                <c:pt idx="2078">
                  <c:v>44298</c:v>
                </c:pt>
                <c:pt idx="2079">
                  <c:v>44299</c:v>
                </c:pt>
                <c:pt idx="2080">
                  <c:v>44300</c:v>
                </c:pt>
                <c:pt idx="2081">
                  <c:v>44301</c:v>
                </c:pt>
                <c:pt idx="2082">
                  <c:v>44302</c:v>
                </c:pt>
                <c:pt idx="2083">
                  <c:v>44303</c:v>
                </c:pt>
                <c:pt idx="2084">
                  <c:v>44304</c:v>
                </c:pt>
                <c:pt idx="2085">
                  <c:v>44305</c:v>
                </c:pt>
                <c:pt idx="2086">
                  <c:v>44306</c:v>
                </c:pt>
                <c:pt idx="2087">
                  <c:v>44307</c:v>
                </c:pt>
                <c:pt idx="2088">
                  <c:v>44308</c:v>
                </c:pt>
                <c:pt idx="2089">
                  <c:v>44309</c:v>
                </c:pt>
                <c:pt idx="2090">
                  <c:v>44310</c:v>
                </c:pt>
                <c:pt idx="2091">
                  <c:v>44311</c:v>
                </c:pt>
                <c:pt idx="2092">
                  <c:v>44312</c:v>
                </c:pt>
                <c:pt idx="2093">
                  <c:v>44313</c:v>
                </c:pt>
                <c:pt idx="2094">
                  <c:v>44314</c:v>
                </c:pt>
                <c:pt idx="2095">
                  <c:v>44315</c:v>
                </c:pt>
                <c:pt idx="2096">
                  <c:v>44316</c:v>
                </c:pt>
                <c:pt idx="2097">
                  <c:v>44317</c:v>
                </c:pt>
                <c:pt idx="2098">
                  <c:v>44318</c:v>
                </c:pt>
                <c:pt idx="2099">
                  <c:v>44319</c:v>
                </c:pt>
                <c:pt idx="2100">
                  <c:v>44320</c:v>
                </c:pt>
                <c:pt idx="2101">
                  <c:v>44321</c:v>
                </c:pt>
                <c:pt idx="2102">
                  <c:v>44322</c:v>
                </c:pt>
                <c:pt idx="2103">
                  <c:v>44323</c:v>
                </c:pt>
                <c:pt idx="2104">
                  <c:v>44324</c:v>
                </c:pt>
                <c:pt idx="2105">
                  <c:v>44325</c:v>
                </c:pt>
                <c:pt idx="2106">
                  <c:v>44326</c:v>
                </c:pt>
                <c:pt idx="2107">
                  <c:v>44327</c:v>
                </c:pt>
                <c:pt idx="2108">
                  <c:v>44328</c:v>
                </c:pt>
                <c:pt idx="2109">
                  <c:v>44329</c:v>
                </c:pt>
                <c:pt idx="2110">
                  <c:v>44330</c:v>
                </c:pt>
                <c:pt idx="2111">
                  <c:v>44331</c:v>
                </c:pt>
                <c:pt idx="2112">
                  <c:v>44332</c:v>
                </c:pt>
                <c:pt idx="2113">
                  <c:v>44333</c:v>
                </c:pt>
                <c:pt idx="2114">
                  <c:v>44334</c:v>
                </c:pt>
                <c:pt idx="2115">
                  <c:v>44335</c:v>
                </c:pt>
                <c:pt idx="2116">
                  <c:v>44336</c:v>
                </c:pt>
                <c:pt idx="2117">
                  <c:v>44337</c:v>
                </c:pt>
                <c:pt idx="2118">
                  <c:v>44338</c:v>
                </c:pt>
                <c:pt idx="2119">
                  <c:v>44339</c:v>
                </c:pt>
                <c:pt idx="2120">
                  <c:v>44340</c:v>
                </c:pt>
                <c:pt idx="2121">
                  <c:v>44341</c:v>
                </c:pt>
                <c:pt idx="2122">
                  <c:v>44342</c:v>
                </c:pt>
                <c:pt idx="2123">
                  <c:v>44343</c:v>
                </c:pt>
                <c:pt idx="2124">
                  <c:v>44344</c:v>
                </c:pt>
                <c:pt idx="2125">
                  <c:v>44345</c:v>
                </c:pt>
                <c:pt idx="2126">
                  <c:v>44346</c:v>
                </c:pt>
                <c:pt idx="2127">
                  <c:v>44347</c:v>
                </c:pt>
                <c:pt idx="2128">
                  <c:v>44348</c:v>
                </c:pt>
                <c:pt idx="2129">
                  <c:v>44349</c:v>
                </c:pt>
                <c:pt idx="2130">
                  <c:v>44350</c:v>
                </c:pt>
                <c:pt idx="2131">
                  <c:v>44351</c:v>
                </c:pt>
                <c:pt idx="2132">
                  <c:v>44352</c:v>
                </c:pt>
                <c:pt idx="2133">
                  <c:v>44353</c:v>
                </c:pt>
                <c:pt idx="2134">
                  <c:v>44354</c:v>
                </c:pt>
                <c:pt idx="2135">
                  <c:v>44355</c:v>
                </c:pt>
                <c:pt idx="2136">
                  <c:v>44356</c:v>
                </c:pt>
                <c:pt idx="2137">
                  <c:v>44357</c:v>
                </c:pt>
                <c:pt idx="2138">
                  <c:v>44358</c:v>
                </c:pt>
                <c:pt idx="2139">
                  <c:v>44359</c:v>
                </c:pt>
                <c:pt idx="2140">
                  <c:v>44360</c:v>
                </c:pt>
                <c:pt idx="2141">
                  <c:v>44361</c:v>
                </c:pt>
                <c:pt idx="2142">
                  <c:v>44362</c:v>
                </c:pt>
                <c:pt idx="2143">
                  <c:v>44363</c:v>
                </c:pt>
                <c:pt idx="2144">
                  <c:v>44364</c:v>
                </c:pt>
                <c:pt idx="2145">
                  <c:v>44365</c:v>
                </c:pt>
                <c:pt idx="2146">
                  <c:v>44366</c:v>
                </c:pt>
                <c:pt idx="2147">
                  <c:v>44367</c:v>
                </c:pt>
                <c:pt idx="2148">
                  <c:v>44368</c:v>
                </c:pt>
                <c:pt idx="2149">
                  <c:v>44369</c:v>
                </c:pt>
                <c:pt idx="2150">
                  <c:v>44370</c:v>
                </c:pt>
                <c:pt idx="2151">
                  <c:v>44371</c:v>
                </c:pt>
                <c:pt idx="2152">
                  <c:v>44372</c:v>
                </c:pt>
                <c:pt idx="2153">
                  <c:v>44373</c:v>
                </c:pt>
                <c:pt idx="2154">
                  <c:v>44374</c:v>
                </c:pt>
                <c:pt idx="2155">
                  <c:v>44375</c:v>
                </c:pt>
                <c:pt idx="2156">
                  <c:v>44376</c:v>
                </c:pt>
                <c:pt idx="2157">
                  <c:v>44377</c:v>
                </c:pt>
                <c:pt idx="2158">
                  <c:v>44378</c:v>
                </c:pt>
                <c:pt idx="2159">
                  <c:v>44379</c:v>
                </c:pt>
                <c:pt idx="2160">
                  <c:v>44380</c:v>
                </c:pt>
                <c:pt idx="2161">
                  <c:v>44381</c:v>
                </c:pt>
                <c:pt idx="2162">
                  <c:v>44382</c:v>
                </c:pt>
                <c:pt idx="2163">
                  <c:v>44383</c:v>
                </c:pt>
                <c:pt idx="2164">
                  <c:v>44384</c:v>
                </c:pt>
                <c:pt idx="2165">
                  <c:v>44385</c:v>
                </c:pt>
                <c:pt idx="2166">
                  <c:v>44386</c:v>
                </c:pt>
                <c:pt idx="2167">
                  <c:v>44387</c:v>
                </c:pt>
                <c:pt idx="2168">
                  <c:v>44388</c:v>
                </c:pt>
                <c:pt idx="2169">
                  <c:v>44389</c:v>
                </c:pt>
                <c:pt idx="2170">
                  <c:v>44390</c:v>
                </c:pt>
                <c:pt idx="2171">
                  <c:v>44391</c:v>
                </c:pt>
                <c:pt idx="2172">
                  <c:v>44392</c:v>
                </c:pt>
                <c:pt idx="2173">
                  <c:v>44393</c:v>
                </c:pt>
                <c:pt idx="2174">
                  <c:v>44394</c:v>
                </c:pt>
                <c:pt idx="2175">
                  <c:v>44395</c:v>
                </c:pt>
                <c:pt idx="2176">
                  <c:v>44396</c:v>
                </c:pt>
                <c:pt idx="2177">
                  <c:v>44397</c:v>
                </c:pt>
                <c:pt idx="2178">
                  <c:v>44398</c:v>
                </c:pt>
                <c:pt idx="2179">
                  <c:v>44399</c:v>
                </c:pt>
                <c:pt idx="2180">
                  <c:v>44400</c:v>
                </c:pt>
                <c:pt idx="2181">
                  <c:v>44401</c:v>
                </c:pt>
                <c:pt idx="2182">
                  <c:v>44402</c:v>
                </c:pt>
                <c:pt idx="2183">
                  <c:v>44403</c:v>
                </c:pt>
                <c:pt idx="2184">
                  <c:v>44404</c:v>
                </c:pt>
                <c:pt idx="2185">
                  <c:v>44405</c:v>
                </c:pt>
                <c:pt idx="2186">
                  <c:v>44406</c:v>
                </c:pt>
                <c:pt idx="2187">
                  <c:v>44407</c:v>
                </c:pt>
                <c:pt idx="2188">
                  <c:v>44408</c:v>
                </c:pt>
                <c:pt idx="2189">
                  <c:v>44409</c:v>
                </c:pt>
                <c:pt idx="2190">
                  <c:v>44410</c:v>
                </c:pt>
                <c:pt idx="2191">
                  <c:v>44411</c:v>
                </c:pt>
                <c:pt idx="2192">
                  <c:v>44412</c:v>
                </c:pt>
                <c:pt idx="2193">
                  <c:v>44413</c:v>
                </c:pt>
                <c:pt idx="2194">
                  <c:v>44414</c:v>
                </c:pt>
                <c:pt idx="2195">
                  <c:v>44415</c:v>
                </c:pt>
                <c:pt idx="2196">
                  <c:v>44416</c:v>
                </c:pt>
                <c:pt idx="2197">
                  <c:v>44417</c:v>
                </c:pt>
                <c:pt idx="2198">
                  <c:v>44418</c:v>
                </c:pt>
                <c:pt idx="2199">
                  <c:v>44419</c:v>
                </c:pt>
                <c:pt idx="2200">
                  <c:v>44420</c:v>
                </c:pt>
                <c:pt idx="2201">
                  <c:v>44421</c:v>
                </c:pt>
                <c:pt idx="2202">
                  <c:v>44422</c:v>
                </c:pt>
                <c:pt idx="2203">
                  <c:v>44423</c:v>
                </c:pt>
                <c:pt idx="2204">
                  <c:v>44424</c:v>
                </c:pt>
                <c:pt idx="2205">
                  <c:v>44425</c:v>
                </c:pt>
                <c:pt idx="2206">
                  <c:v>44426</c:v>
                </c:pt>
                <c:pt idx="2207">
                  <c:v>44427</c:v>
                </c:pt>
                <c:pt idx="2208">
                  <c:v>44428</c:v>
                </c:pt>
                <c:pt idx="2209">
                  <c:v>44429</c:v>
                </c:pt>
                <c:pt idx="2210">
                  <c:v>44430</c:v>
                </c:pt>
                <c:pt idx="2211">
                  <c:v>44431</c:v>
                </c:pt>
                <c:pt idx="2212">
                  <c:v>44432</c:v>
                </c:pt>
                <c:pt idx="2213">
                  <c:v>44433</c:v>
                </c:pt>
                <c:pt idx="2214">
                  <c:v>44434</c:v>
                </c:pt>
                <c:pt idx="2215">
                  <c:v>44435</c:v>
                </c:pt>
                <c:pt idx="2216">
                  <c:v>44436</c:v>
                </c:pt>
                <c:pt idx="2217">
                  <c:v>44437</c:v>
                </c:pt>
                <c:pt idx="2218">
                  <c:v>44438</c:v>
                </c:pt>
                <c:pt idx="2219">
                  <c:v>44439</c:v>
                </c:pt>
                <c:pt idx="2220">
                  <c:v>44440</c:v>
                </c:pt>
                <c:pt idx="2221">
                  <c:v>44441</c:v>
                </c:pt>
                <c:pt idx="2222">
                  <c:v>44442</c:v>
                </c:pt>
                <c:pt idx="2223">
                  <c:v>44443</c:v>
                </c:pt>
                <c:pt idx="2224">
                  <c:v>44444</c:v>
                </c:pt>
                <c:pt idx="2225">
                  <c:v>44445</c:v>
                </c:pt>
                <c:pt idx="2226">
                  <c:v>44446</c:v>
                </c:pt>
                <c:pt idx="2227">
                  <c:v>44447</c:v>
                </c:pt>
                <c:pt idx="2228">
                  <c:v>44448</c:v>
                </c:pt>
                <c:pt idx="2229">
                  <c:v>44449</c:v>
                </c:pt>
                <c:pt idx="2230">
                  <c:v>44450</c:v>
                </c:pt>
                <c:pt idx="2231">
                  <c:v>44451</c:v>
                </c:pt>
                <c:pt idx="2232">
                  <c:v>44452</c:v>
                </c:pt>
                <c:pt idx="2233">
                  <c:v>44453</c:v>
                </c:pt>
                <c:pt idx="2234">
                  <c:v>44454</c:v>
                </c:pt>
                <c:pt idx="2235">
                  <c:v>44455</c:v>
                </c:pt>
                <c:pt idx="2236">
                  <c:v>44456</c:v>
                </c:pt>
                <c:pt idx="2237">
                  <c:v>44457</c:v>
                </c:pt>
                <c:pt idx="2238">
                  <c:v>44458</c:v>
                </c:pt>
                <c:pt idx="2239">
                  <c:v>44459</c:v>
                </c:pt>
                <c:pt idx="2240">
                  <c:v>44460</c:v>
                </c:pt>
                <c:pt idx="2241">
                  <c:v>44461</c:v>
                </c:pt>
                <c:pt idx="2242">
                  <c:v>44462</c:v>
                </c:pt>
              </c:numCache>
            </c:numRef>
          </c:cat>
          <c:val>
            <c:numRef>
              <c:f>Sheet1!$B$2:$B$2244</c:f>
              <c:numCache>
                <c:formatCode>#,##0</c:formatCode>
                <c:ptCount val="2243"/>
                <c:pt idx="0">
                  <c:v>3635</c:v>
                </c:pt>
                <c:pt idx="1">
                  <c:v>5031</c:v>
                </c:pt>
                <c:pt idx="2">
                  <c:v>10829</c:v>
                </c:pt>
                <c:pt idx="3">
                  <c:v>15266</c:v>
                </c:pt>
                <c:pt idx="4">
                  <c:v>19011</c:v>
                </c:pt>
                <c:pt idx="5">
                  <c:v>22504</c:v>
                </c:pt>
                <c:pt idx="6">
                  <c:v>25174</c:v>
                </c:pt>
                <c:pt idx="7">
                  <c:v>25720</c:v>
                </c:pt>
                <c:pt idx="8">
                  <c:v>26208</c:v>
                </c:pt>
                <c:pt idx="9">
                  <c:v>28996</c:v>
                </c:pt>
                <c:pt idx="10">
                  <c:v>31692</c:v>
                </c:pt>
                <c:pt idx="11">
                  <c:v>34458</c:v>
                </c:pt>
                <c:pt idx="12">
                  <c:v>37383</c:v>
                </c:pt>
                <c:pt idx="13">
                  <c:v>39758</c:v>
                </c:pt>
                <c:pt idx="14">
                  <c:v>40217</c:v>
                </c:pt>
                <c:pt idx="15">
                  <c:v>40719</c:v>
                </c:pt>
                <c:pt idx="16">
                  <c:v>43261</c:v>
                </c:pt>
                <c:pt idx="17">
                  <c:v>46080</c:v>
                </c:pt>
                <c:pt idx="18">
                  <c:v>48979</c:v>
                </c:pt>
                <c:pt idx="19">
                  <c:v>51659</c:v>
                </c:pt>
                <c:pt idx="20">
                  <c:v>53827</c:v>
                </c:pt>
                <c:pt idx="21">
                  <c:v>54312</c:v>
                </c:pt>
                <c:pt idx="22">
                  <c:v>54814</c:v>
                </c:pt>
                <c:pt idx="23">
                  <c:v>57632</c:v>
                </c:pt>
                <c:pt idx="24">
                  <c:v>60466</c:v>
                </c:pt>
                <c:pt idx="25">
                  <c:v>63079</c:v>
                </c:pt>
                <c:pt idx="26">
                  <c:v>65623</c:v>
                </c:pt>
                <c:pt idx="27">
                  <c:v>67644</c:v>
                </c:pt>
                <c:pt idx="28">
                  <c:v>67514</c:v>
                </c:pt>
                <c:pt idx="29">
                  <c:v>67524</c:v>
                </c:pt>
                <c:pt idx="30">
                  <c:v>67558</c:v>
                </c:pt>
                <c:pt idx="31">
                  <c:v>67847</c:v>
                </c:pt>
                <c:pt idx="32">
                  <c:v>68418</c:v>
                </c:pt>
                <c:pt idx="33">
                  <c:v>68928</c:v>
                </c:pt>
                <c:pt idx="34">
                  <c:v>69336</c:v>
                </c:pt>
                <c:pt idx="35">
                  <c:v>69454</c:v>
                </c:pt>
                <c:pt idx="36">
                  <c:v>69566</c:v>
                </c:pt>
                <c:pt idx="37">
                  <c:v>69354</c:v>
                </c:pt>
                <c:pt idx="38">
                  <c:v>70047</c:v>
                </c:pt>
                <c:pt idx="39">
                  <c:v>70596</c:v>
                </c:pt>
                <c:pt idx="40">
                  <c:v>71001</c:v>
                </c:pt>
                <c:pt idx="41">
                  <c:v>71624</c:v>
                </c:pt>
                <c:pt idx="42">
                  <c:v>71734</c:v>
                </c:pt>
                <c:pt idx="43">
                  <c:v>71780</c:v>
                </c:pt>
                <c:pt idx="44">
                  <c:v>72223</c:v>
                </c:pt>
                <c:pt idx="45">
                  <c:v>72753</c:v>
                </c:pt>
                <c:pt idx="46">
                  <c:v>73093</c:v>
                </c:pt>
                <c:pt idx="47">
                  <c:v>73531</c:v>
                </c:pt>
                <c:pt idx="48">
                  <c:v>74156</c:v>
                </c:pt>
                <c:pt idx="49">
                  <c:v>74197</c:v>
                </c:pt>
                <c:pt idx="50">
                  <c:v>74228</c:v>
                </c:pt>
                <c:pt idx="51">
                  <c:v>74522</c:v>
                </c:pt>
                <c:pt idx="52">
                  <c:v>75007</c:v>
                </c:pt>
                <c:pt idx="53">
                  <c:v>75416</c:v>
                </c:pt>
                <c:pt idx="54">
                  <c:v>75682</c:v>
                </c:pt>
                <c:pt idx="55">
                  <c:v>75976</c:v>
                </c:pt>
                <c:pt idx="56">
                  <c:v>76048</c:v>
                </c:pt>
                <c:pt idx="57">
                  <c:v>76124</c:v>
                </c:pt>
                <c:pt idx="58">
                  <c:v>76668</c:v>
                </c:pt>
                <c:pt idx="59">
                  <c:v>77386</c:v>
                </c:pt>
                <c:pt idx="60">
                  <c:v>77917</c:v>
                </c:pt>
                <c:pt idx="61">
                  <c:v>78700</c:v>
                </c:pt>
                <c:pt idx="62">
                  <c:v>78949</c:v>
                </c:pt>
                <c:pt idx="63">
                  <c:v>78977</c:v>
                </c:pt>
                <c:pt idx="64">
                  <c:v>79056</c:v>
                </c:pt>
                <c:pt idx="65">
                  <c:v>80235</c:v>
                </c:pt>
                <c:pt idx="66">
                  <c:v>80789</c:v>
                </c:pt>
                <c:pt idx="67">
                  <c:v>81327</c:v>
                </c:pt>
                <c:pt idx="68">
                  <c:v>81927</c:v>
                </c:pt>
                <c:pt idx="69">
                  <c:v>82154</c:v>
                </c:pt>
                <c:pt idx="70">
                  <c:v>82111</c:v>
                </c:pt>
                <c:pt idx="71">
                  <c:v>82161</c:v>
                </c:pt>
                <c:pt idx="72">
                  <c:v>82507</c:v>
                </c:pt>
                <c:pt idx="73">
                  <c:v>83066</c:v>
                </c:pt>
                <c:pt idx="74">
                  <c:v>83630</c:v>
                </c:pt>
                <c:pt idx="75">
                  <c:v>84031</c:v>
                </c:pt>
                <c:pt idx="76">
                  <c:v>84090</c:v>
                </c:pt>
                <c:pt idx="77">
                  <c:v>84121</c:v>
                </c:pt>
                <c:pt idx="78">
                  <c:v>84128</c:v>
                </c:pt>
                <c:pt idx="79">
                  <c:v>84382</c:v>
                </c:pt>
                <c:pt idx="80">
                  <c:v>84749</c:v>
                </c:pt>
                <c:pt idx="81">
                  <c:v>84898</c:v>
                </c:pt>
                <c:pt idx="82">
                  <c:v>85354</c:v>
                </c:pt>
                <c:pt idx="83">
                  <c:v>86194</c:v>
                </c:pt>
                <c:pt idx="84">
                  <c:v>86293</c:v>
                </c:pt>
                <c:pt idx="85">
                  <c:v>86458</c:v>
                </c:pt>
                <c:pt idx="86">
                  <c:v>87238</c:v>
                </c:pt>
                <c:pt idx="87">
                  <c:v>88214</c:v>
                </c:pt>
                <c:pt idx="88">
                  <c:v>89134</c:v>
                </c:pt>
                <c:pt idx="89">
                  <c:v>89413</c:v>
                </c:pt>
                <c:pt idx="90">
                  <c:v>89805</c:v>
                </c:pt>
                <c:pt idx="91">
                  <c:v>89843</c:v>
                </c:pt>
                <c:pt idx="92">
                  <c:v>89855</c:v>
                </c:pt>
                <c:pt idx="93">
                  <c:v>90483</c:v>
                </c:pt>
                <c:pt idx="94">
                  <c:v>91281</c:v>
                </c:pt>
                <c:pt idx="95">
                  <c:v>92002</c:v>
                </c:pt>
                <c:pt idx="96">
                  <c:v>92556</c:v>
                </c:pt>
                <c:pt idx="97">
                  <c:v>93002</c:v>
                </c:pt>
                <c:pt idx="98">
                  <c:v>93038</c:v>
                </c:pt>
                <c:pt idx="99">
                  <c:v>93133</c:v>
                </c:pt>
                <c:pt idx="100">
                  <c:v>94247</c:v>
                </c:pt>
                <c:pt idx="101">
                  <c:v>95086</c:v>
                </c:pt>
                <c:pt idx="102">
                  <c:v>95731</c:v>
                </c:pt>
                <c:pt idx="103">
                  <c:v>96932</c:v>
                </c:pt>
                <c:pt idx="104">
                  <c:v>97503</c:v>
                </c:pt>
                <c:pt idx="105">
                  <c:v>97552</c:v>
                </c:pt>
                <c:pt idx="106">
                  <c:v>97622</c:v>
                </c:pt>
                <c:pt idx="107">
                  <c:v>98081</c:v>
                </c:pt>
                <c:pt idx="108">
                  <c:v>98822</c:v>
                </c:pt>
                <c:pt idx="109">
                  <c:v>99582</c:v>
                </c:pt>
                <c:pt idx="110">
                  <c:v>100339</c:v>
                </c:pt>
                <c:pt idx="111">
                  <c:v>100587</c:v>
                </c:pt>
                <c:pt idx="112">
                  <c:v>100511</c:v>
                </c:pt>
                <c:pt idx="113">
                  <c:v>100545</c:v>
                </c:pt>
                <c:pt idx="114">
                  <c:v>100766</c:v>
                </c:pt>
                <c:pt idx="115">
                  <c:v>101010</c:v>
                </c:pt>
                <c:pt idx="116">
                  <c:v>101092</c:v>
                </c:pt>
                <c:pt idx="117">
                  <c:v>101722</c:v>
                </c:pt>
                <c:pt idx="118">
                  <c:v>101061</c:v>
                </c:pt>
                <c:pt idx="119">
                  <c:v>101162</c:v>
                </c:pt>
                <c:pt idx="120">
                  <c:v>102339</c:v>
                </c:pt>
                <c:pt idx="121">
                  <c:v>103323</c:v>
                </c:pt>
                <c:pt idx="122">
                  <c:v>104045</c:v>
                </c:pt>
                <c:pt idx="123">
                  <c:v>104612</c:v>
                </c:pt>
                <c:pt idx="124">
                  <c:v>104733</c:v>
                </c:pt>
                <c:pt idx="125">
                  <c:v>104877</c:v>
                </c:pt>
                <c:pt idx="126">
                  <c:v>104863</c:v>
                </c:pt>
                <c:pt idx="127">
                  <c:v>104970</c:v>
                </c:pt>
                <c:pt idx="128">
                  <c:v>105322</c:v>
                </c:pt>
                <c:pt idx="129">
                  <c:v>105670</c:v>
                </c:pt>
                <c:pt idx="130">
                  <c:v>106314</c:v>
                </c:pt>
                <c:pt idx="131">
                  <c:v>106377</c:v>
                </c:pt>
                <c:pt idx="132">
                  <c:v>106174</c:v>
                </c:pt>
                <c:pt idx="133">
                  <c:v>106093</c:v>
                </c:pt>
                <c:pt idx="134">
                  <c:v>106107</c:v>
                </c:pt>
                <c:pt idx="135">
                  <c:v>106649</c:v>
                </c:pt>
                <c:pt idx="136">
                  <c:v>107007</c:v>
                </c:pt>
                <c:pt idx="137">
                  <c:v>107340</c:v>
                </c:pt>
                <c:pt idx="138">
                  <c:v>107418</c:v>
                </c:pt>
                <c:pt idx="139">
                  <c:v>106898</c:v>
                </c:pt>
                <c:pt idx="140">
                  <c:v>106694</c:v>
                </c:pt>
                <c:pt idx="141">
                  <c:v>106602</c:v>
                </c:pt>
                <c:pt idx="142">
                  <c:v>106286</c:v>
                </c:pt>
                <c:pt idx="143">
                  <c:v>105875</c:v>
                </c:pt>
                <c:pt idx="144">
                  <c:v>104900</c:v>
                </c:pt>
                <c:pt idx="145">
                  <c:v>103605</c:v>
                </c:pt>
                <c:pt idx="146">
                  <c:v>101930</c:v>
                </c:pt>
                <c:pt idx="147">
                  <c:v>101637</c:v>
                </c:pt>
                <c:pt idx="148">
                  <c:v>101460</c:v>
                </c:pt>
                <c:pt idx="149">
                  <c:v>99563</c:v>
                </c:pt>
                <c:pt idx="150">
                  <c:v>97220</c:v>
                </c:pt>
                <c:pt idx="151">
                  <c:v>94801</c:v>
                </c:pt>
                <c:pt idx="152">
                  <c:v>91889</c:v>
                </c:pt>
                <c:pt idx="153">
                  <c:v>88943</c:v>
                </c:pt>
                <c:pt idx="154">
                  <c:v>88636</c:v>
                </c:pt>
                <c:pt idx="155">
                  <c:v>88276</c:v>
                </c:pt>
                <c:pt idx="156">
                  <c:v>87919</c:v>
                </c:pt>
                <c:pt idx="157">
                  <c:v>88072</c:v>
                </c:pt>
                <c:pt idx="158">
                  <c:v>87585</c:v>
                </c:pt>
                <c:pt idx="159">
                  <c:v>87730</c:v>
                </c:pt>
                <c:pt idx="160">
                  <c:v>87429</c:v>
                </c:pt>
                <c:pt idx="161">
                  <c:v>87362</c:v>
                </c:pt>
                <c:pt idx="162">
                  <c:v>87223</c:v>
                </c:pt>
                <c:pt idx="163">
                  <c:v>87490</c:v>
                </c:pt>
                <c:pt idx="164">
                  <c:v>87582</c:v>
                </c:pt>
                <c:pt idx="165">
                  <c:v>87783</c:v>
                </c:pt>
                <c:pt idx="166">
                  <c:v>88038</c:v>
                </c:pt>
                <c:pt idx="167">
                  <c:v>88623</c:v>
                </c:pt>
                <c:pt idx="168">
                  <c:v>88706</c:v>
                </c:pt>
                <c:pt idx="169">
                  <c:v>88808</c:v>
                </c:pt>
                <c:pt idx="170">
                  <c:v>89514</c:v>
                </c:pt>
                <c:pt idx="171">
                  <c:v>90766</c:v>
                </c:pt>
                <c:pt idx="172">
                  <c:v>93001</c:v>
                </c:pt>
                <c:pt idx="173">
                  <c:v>95816</c:v>
                </c:pt>
                <c:pt idx="174">
                  <c:v>98941</c:v>
                </c:pt>
                <c:pt idx="175">
                  <c:v>99323</c:v>
                </c:pt>
                <c:pt idx="176">
                  <c:v>99580</c:v>
                </c:pt>
                <c:pt idx="177">
                  <c:v>101821</c:v>
                </c:pt>
                <c:pt idx="178">
                  <c:v>104252</c:v>
                </c:pt>
                <c:pt idx="179">
                  <c:v>107541</c:v>
                </c:pt>
                <c:pt idx="180">
                  <c:v>110909</c:v>
                </c:pt>
                <c:pt idx="181">
                  <c:v>114234</c:v>
                </c:pt>
                <c:pt idx="182">
                  <c:v>114594</c:v>
                </c:pt>
                <c:pt idx="183">
                  <c:v>114862</c:v>
                </c:pt>
                <c:pt idx="184">
                  <c:v>116419</c:v>
                </c:pt>
                <c:pt idx="185">
                  <c:v>117663</c:v>
                </c:pt>
                <c:pt idx="186">
                  <c:v>119229</c:v>
                </c:pt>
                <c:pt idx="187">
                  <c:v>120600</c:v>
                </c:pt>
                <c:pt idx="188">
                  <c:v>121686</c:v>
                </c:pt>
                <c:pt idx="189">
                  <c:v>121993</c:v>
                </c:pt>
                <c:pt idx="190">
                  <c:v>122236</c:v>
                </c:pt>
                <c:pt idx="191">
                  <c:v>123339</c:v>
                </c:pt>
                <c:pt idx="192">
                  <c:v>124688</c:v>
                </c:pt>
                <c:pt idx="193">
                  <c:v>126047</c:v>
                </c:pt>
                <c:pt idx="194">
                  <c:v>127392</c:v>
                </c:pt>
                <c:pt idx="195">
                  <c:v>128273</c:v>
                </c:pt>
                <c:pt idx="196">
                  <c:v>128369</c:v>
                </c:pt>
                <c:pt idx="197">
                  <c:v>128540</c:v>
                </c:pt>
                <c:pt idx="198">
                  <c:v>129351</c:v>
                </c:pt>
                <c:pt idx="199">
                  <c:v>130571</c:v>
                </c:pt>
                <c:pt idx="200">
                  <c:v>131668</c:v>
                </c:pt>
                <c:pt idx="201">
                  <c:v>133042</c:v>
                </c:pt>
                <c:pt idx="202">
                  <c:v>134048</c:v>
                </c:pt>
                <c:pt idx="203">
                  <c:v>134206</c:v>
                </c:pt>
                <c:pt idx="204">
                  <c:v>134379</c:v>
                </c:pt>
                <c:pt idx="205">
                  <c:v>135499</c:v>
                </c:pt>
                <c:pt idx="206">
                  <c:v>137037</c:v>
                </c:pt>
                <c:pt idx="207">
                  <c:v>137994</c:v>
                </c:pt>
                <c:pt idx="208">
                  <c:v>138956</c:v>
                </c:pt>
                <c:pt idx="209">
                  <c:v>139528</c:v>
                </c:pt>
                <c:pt idx="210">
                  <c:v>139750</c:v>
                </c:pt>
                <c:pt idx="211">
                  <c:v>139817</c:v>
                </c:pt>
                <c:pt idx="212">
                  <c:v>140663</c:v>
                </c:pt>
                <c:pt idx="213">
                  <c:v>142006</c:v>
                </c:pt>
                <c:pt idx="214">
                  <c:v>143100</c:v>
                </c:pt>
                <c:pt idx="215">
                  <c:v>143808</c:v>
                </c:pt>
                <c:pt idx="216">
                  <c:v>144373</c:v>
                </c:pt>
                <c:pt idx="217">
                  <c:v>144290</c:v>
                </c:pt>
                <c:pt idx="218">
                  <c:v>144292</c:v>
                </c:pt>
                <c:pt idx="219">
                  <c:v>145525</c:v>
                </c:pt>
                <c:pt idx="220">
                  <c:v>146722</c:v>
                </c:pt>
                <c:pt idx="221">
                  <c:v>147754</c:v>
                </c:pt>
                <c:pt idx="222">
                  <c:v>148616</c:v>
                </c:pt>
                <c:pt idx="223">
                  <c:v>149162</c:v>
                </c:pt>
                <c:pt idx="224">
                  <c:v>149225</c:v>
                </c:pt>
                <c:pt idx="225">
                  <c:v>149234</c:v>
                </c:pt>
                <c:pt idx="226">
                  <c:v>150598</c:v>
                </c:pt>
                <c:pt idx="227">
                  <c:v>151921</c:v>
                </c:pt>
                <c:pt idx="228">
                  <c:v>153089</c:v>
                </c:pt>
                <c:pt idx="229">
                  <c:v>153778</c:v>
                </c:pt>
                <c:pt idx="230">
                  <c:v>154293</c:v>
                </c:pt>
                <c:pt idx="231">
                  <c:v>154138</c:v>
                </c:pt>
                <c:pt idx="232">
                  <c:v>154222</c:v>
                </c:pt>
                <c:pt idx="233">
                  <c:v>155149</c:v>
                </c:pt>
                <c:pt idx="234">
                  <c:v>156418</c:v>
                </c:pt>
                <c:pt idx="235">
                  <c:v>157396</c:v>
                </c:pt>
                <c:pt idx="236">
                  <c:v>157785</c:v>
                </c:pt>
                <c:pt idx="237">
                  <c:v>156476</c:v>
                </c:pt>
                <c:pt idx="238">
                  <c:v>156243</c:v>
                </c:pt>
                <c:pt idx="239">
                  <c:v>156130</c:v>
                </c:pt>
                <c:pt idx="240">
                  <c:v>156076</c:v>
                </c:pt>
                <c:pt idx="241">
                  <c:v>156965</c:v>
                </c:pt>
                <c:pt idx="242">
                  <c:v>157881</c:v>
                </c:pt>
                <c:pt idx="243">
                  <c:v>158973</c:v>
                </c:pt>
                <c:pt idx="244">
                  <c:v>159928</c:v>
                </c:pt>
                <c:pt idx="245">
                  <c:v>159910</c:v>
                </c:pt>
                <c:pt idx="246">
                  <c:v>160051</c:v>
                </c:pt>
                <c:pt idx="247">
                  <c:v>161569</c:v>
                </c:pt>
                <c:pt idx="248">
                  <c:v>163016</c:v>
                </c:pt>
                <c:pt idx="249">
                  <c:v>163938</c:v>
                </c:pt>
                <c:pt idx="250">
                  <c:v>164863</c:v>
                </c:pt>
                <c:pt idx="251">
                  <c:v>165413</c:v>
                </c:pt>
                <c:pt idx="252">
                  <c:v>165406</c:v>
                </c:pt>
                <c:pt idx="253">
                  <c:v>165546</c:v>
                </c:pt>
                <c:pt idx="254">
                  <c:v>166912</c:v>
                </c:pt>
                <c:pt idx="255">
                  <c:v>168203</c:v>
                </c:pt>
                <c:pt idx="256">
                  <c:v>169340</c:v>
                </c:pt>
                <c:pt idx="257">
                  <c:v>170728</c:v>
                </c:pt>
                <c:pt idx="258">
                  <c:v>171335</c:v>
                </c:pt>
                <c:pt idx="259">
                  <c:v>171413</c:v>
                </c:pt>
                <c:pt idx="260">
                  <c:v>171486</c:v>
                </c:pt>
                <c:pt idx="261">
                  <c:v>173094</c:v>
                </c:pt>
                <c:pt idx="262">
                  <c:v>174120</c:v>
                </c:pt>
                <c:pt idx="263">
                  <c:v>175254</c:v>
                </c:pt>
                <c:pt idx="264">
                  <c:v>176446</c:v>
                </c:pt>
                <c:pt idx="265">
                  <c:v>178651</c:v>
                </c:pt>
                <c:pt idx="266">
                  <c:v>178742</c:v>
                </c:pt>
                <c:pt idx="267">
                  <c:v>178937</c:v>
                </c:pt>
                <c:pt idx="268">
                  <c:v>180961</c:v>
                </c:pt>
                <c:pt idx="269">
                  <c:v>182313</c:v>
                </c:pt>
                <c:pt idx="270">
                  <c:v>183381</c:v>
                </c:pt>
                <c:pt idx="271">
                  <c:v>184079</c:v>
                </c:pt>
                <c:pt idx="272">
                  <c:v>183982</c:v>
                </c:pt>
                <c:pt idx="273">
                  <c:v>183864</c:v>
                </c:pt>
                <c:pt idx="274">
                  <c:v>183797</c:v>
                </c:pt>
                <c:pt idx="275">
                  <c:v>183663</c:v>
                </c:pt>
                <c:pt idx="276">
                  <c:v>184430</c:v>
                </c:pt>
                <c:pt idx="277">
                  <c:v>185305</c:v>
                </c:pt>
                <c:pt idx="278">
                  <c:v>185293</c:v>
                </c:pt>
                <c:pt idx="279">
                  <c:v>185218</c:v>
                </c:pt>
                <c:pt idx="280">
                  <c:v>185012</c:v>
                </c:pt>
                <c:pt idx="281">
                  <c:v>184950</c:v>
                </c:pt>
                <c:pt idx="282">
                  <c:v>185570</c:v>
                </c:pt>
                <c:pt idx="283">
                  <c:v>186621</c:v>
                </c:pt>
                <c:pt idx="284">
                  <c:v>187878</c:v>
                </c:pt>
                <c:pt idx="285">
                  <c:v>188976</c:v>
                </c:pt>
                <c:pt idx="286">
                  <c:v>189393</c:v>
                </c:pt>
                <c:pt idx="287">
                  <c:v>189347</c:v>
                </c:pt>
                <c:pt idx="288">
                  <c:v>189326</c:v>
                </c:pt>
                <c:pt idx="289">
                  <c:v>189615</c:v>
                </c:pt>
                <c:pt idx="290">
                  <c:v>190565</c:v>
                </c:pt>
                <c:pt idx="291">
                  <c:v>191545</c:v>
                </c:pt>
                <c:pt idx="292">
                  <c:v>192349</c:v>
                </c:pt>
                <c:pt idx="293">
                  <c:v>192734</c:v>
                </c:pt>
                <c:pt idx="294">
                  <c:v>192675</c:v>
                </c:pt>
                <c:pt idx="295">
                  <c:v>192714</c:v>
                </c:pt>
                <c:pt idx="296">
                  <c:v>193923</c:v>
                </c:pt>
                <c:pt idx="297">
                  <c:v>194950</c:v>
                </c:pt>
                <c:pt idx="298">
                  <c:v>195818</c:v>
                </c:pt>
                <c:pt idx="299">
                  <c:v>196283</c:v>
                </c:pt>
                <c:pt idx="300">
                  <c:v>196367</c:v>
                </c:pt>
                <c:pt idx="301">
                  <c:v>196180</c:v>
                </c:pt>
                <c:pt idx="302">
                  <c:v>196085</c:v>
                </c:pt>
                <c:pt idx="303">
                  <c:v>195719</c:v>
                </c:pt>
                <c:pt idx="304">
                  <c:v>196753</c:v>
                </c:pt>
                <c:pt idx="305">
                  <c:v>198198</c:v>
                </c:pt>
                <c:pt idx="306">
                  <c:v>199991</c:v>
                </c:pt>
                <c:pt idx="307">
                  <c:v>201017</c:v>
                </c:pt>
                <c:pt idx="308">
                  <c:v>200998</c:v>
                </c:pt>
                <c:pt idx="309">
                  <c:v>201041</c:v>
                </c:pt>
                <c:pt idx="310">
                  <c:v>202267</c:v>
                </c:pt>
                <c:pt idx="311">
                  <c:v>203614</c:v>
                </c:pt>
                <c:pt idx="312">
                  <c:v>204341</c:v>
                </c:pt>
                <c:pt idx="313">
                  <c:v>205107</c:v>
                </c:pt>
                <c:pt idx="314">
                  <c:v>205250</c:v>
                </c:pt>
                <c:pt idx="315">
                  <c:v>205224</c:v>
                </c:pt>
                <c:pt idx="316">
                  <c:v>205167</c:v>
                </c:pt>
                <c:pt idx="317">
                  <c:v>206304</c:v>
                </c:pt>
                <c:pt idx="318">
                  <c:v>207406</c:v>
                </c:pt>
                <c:pt idx="319">
                  <c:v>208841</c:v>
                </c:pt>
                <c:pt idx="320">
                  <c:v>209694</c:v>
                </c:pt>
                <c:pt idx="321">
                  <c:v>209971</c:v>
                </c:pt>
                <c:pt idx="322">
                  <c:v>209795</c:v>
                </c:pt>
                <c:pt idx="323">
                  <c:v>209762</c:v>
                </c:pt>
                <c:pt idx="324">
                  <c:v>210782</c:v>
                </c:pt>
                <c:pt idx="325">
                  <c:v>211993</c:v>
                </c:pt>
                <c:pt idx="326">
                  <c:v>212971</c:v>
                </c:pt>
                <c:pt idx="327">
                  <c:v>214161</c:v>
                </c:pt>
                <c:pt idx="328">
                  <c:v>214612</c:v>
                </c:pt>
                <c:pt idx="329">
                  <c:v>214560</c:v>
                </c:pt>
                <c:pt idx="330">
                  <c:v>214652</c:v>
                </c:pt>
                <c:pt idx="331">
                  <c:v>217546</c:v>
                </c:pt>
                <c:pt idx="332">
                  <c:v>219170</c:v>
                </c:pt>
                <c:pt idx="333">
                  <c:v>220323</c:v>
                </c:pt>
                <c:pt idx="334">
                  <c:v>220949</c:v>
                </c:pt>
                <c:pt idx="335">
                  <c:v>220663</c:v>
                </c:pt>
                <c:pt idx="336">
                  <c:v>220460</c:v>
                </c:pt>
                <c:pt idx="337">
                  <c:v>220377</c:v>
                </c:pt>
                <c:pt idx="338">
                  <c:v>219332</c:v>
                </c:pt>
                <c:pt idx="339">
                  <c:v>219439</c:v>
                </c:pt>
                <c:pt idx="340">
                  <c:v>219807</c:v>
                </c:pt>
                <c:pt idx="341">
                  <c:v>220265</c:v>
                </c:pt>
                <c:pt idx="342">
                  <c:v>220556</c:v>
                </c:pt>
                <c:pt idx="343">
                  <c:v>220539</c:v>
                </c:pt>
                <c:pt idx="344">
                  <c:v>220791</c:v>
                </c:pt>
                <c:pt idx="345">
                  <c:v>222477</c:v>
                </c:pt>
                <c:pt idx="346">
                  <c:v>223365</c:v>
                </c:pt>
                <c:pt idx="347">
                  <c:v>223716</c:v>
                </c:pt>
                <c:pt idx="348">
                  <c:v>224044</c:v>
                </c:pt>
                <c:pt idx="349">
                  <c:v>224181</c:v>
                </c:pt>
                <c:pt idx="350">
                  <c:v>205729</c:v>
                </c:pt>
                <c:pt idx="351">
                  <c:v>208079</c:v>
                </c:pt>
                <c:pt idx="352">
                  <c:v>210349</c:v>
                </c:pt>
                <c:pt idx="353">
                  <c:v>212240</c:v>
                </c:pt>
                <c:pt idx="354">
                  <c:v>214300</c:v>
                </c:pt>
                <c:pt idx="355">
                  <c:v>215990</c:v>
                </c:pt>
                <c:pt idx="356">
                  <c:v>216207</c:v>
                </c:pt>
                <c:pt idx="357">
                  <c:v>216461</c:v>
                </c:pt>
                <c:pt idx="358">
                  <c:v>218325</c:v>
                </c:pt>
                <c:pt idx="359">
                  <c:v>220104</c:v>
                </c:pt>
                <c:pt idx="360">
                  <c:v>221947</c:v>
                </c:pt>
                <c:pt idx="361">
                  <c:v>223390</c:v>
                </c:pt>
                <c:pt idx="362">
                  <c:v>223803</c:v>
                </c:pt>
                <c:pt idx="363">
                  <c:v>223958</c:v>
                </c:pt>
                <c:pt idx="364">
                  <c:v>224133</c:v>
                </c:pt>
                <c:pt idx="365">
                  <c:v>226843</c:v>
                </c:pt>
                <c:pt idx="366">
                  <c:v>228682</c:v>
                </c:pt>
                <c:pt idx="367">
                  <c:v>230833</c:v>
                </c:pt>
                <c:pt idx="368">
                  <c:v>232571</c:v>
                </c:pt>
                <c:pt idx="369">
                  <c:v>232824</c:v>
                </c:pt>
                <c:pt idx="370">
                  <c:v>232733</c:v>
                </c:pt>
                <c:pt idx="371">
                  <c:v>232688</c:v>
                </c:pt>
                <c:pt idx="372">
                  <c:v>233778</c:v>
                </c:pt>
                <c:pt idx="373">
                  <c:v>268776</c:v>
                </c:pt>
                <c:pt idx="374">
                  <c:v>270352</c:v>
                </c:pt>
                <c:pt idx="375">
                  <c:v>271305</c:v>
                </c:pt>
                <c:pt idx="376">
                  <c:v>271724</c:v>
                </c:pt>
                <c:pt idx="377">
                  <c:v>271714</c:v>
                </c:pt>
                <c:pt idx="378">
                  <c:v>271831</c:v>
                </c:pt>
                <c:pt idx="379">
                  <c:v>272360</c:v>
                </c:pt>
                <c:pt idx="380">
                  <c:v>273780</c:v>
                </c:pt>
                <c:pt idx="381">
                  <c:v>275147</c:v>
                </c:pt>
                <c:pt idx="382">
                  <c:v>275900</c:v>
                </c:pt>
                <c:pt idx="383">
                  <c:v>276588</c:v>
                </c:pt>
                <c:pt idx="384">
                  <c:v>276648</c:v>
                </c:pt>
                <c:pt idx="385">
                  <c:v>276707</c:v>
                </c:pt>
                <c:pt idx="386">
                  <c:v>278551</c:v>
                </c:pt>
                <c:pt idx="387">
                  <c:v>280421</c:v>
                </c:pt>
                <c:pt idx="388">
                  <c:v>281982</c:v>
                </c:pt>
                <c:pt idx="389">
                  <c:v>283169</c:v>
                </c:pt>
                <c:pt idx="390">
                  <c:v>284099</c:v>
                </c:pt>
                <c:pt idx="391">
                  <c:v>284128</c:v>
                </c:pt>
                <c:pt idx="392">
                  <c:v>284287</c:v>
                </c:pt>
                <c:pt idx="393">
                  <c:v>285697</c:v>
                </c:pt>
                <c:pt idx="394">
                  <c:v>287247</c:v>
                </c:pt>
                <c:pt idx="395">
                  <c:v>288287</c:v>
                </c:pt>
                <c:pt idx="396">
                  <c:v>289062</c:v>
                </c:pt>
                <c:pt idx="397">
                  <c:v>289811</c:v>
                </c:pt>
                <c:pt idx="398">
                  <c:v>289940</c:v>
                </c:pt>
                <c:pt idx="399">
                  <c:v>290053</c:v>
                </c:pt>
                <c:pt idx="400">
                  <c:v>288814</c:v>
                </c:pt>
                <c:pt idx="401">
                  <c:v>255736</c:v>
                </c:pt>
                <c:pt idx="402">
                  <c:v>257015</c:v>
                </c:pt>
                <c:pt idx="403">
                  <c:v>258929</c:v>
                </c:pt>
                <c:pt idx="404">
                  <c:v>260465</c:v>
                </c:pt>
                <c:pt idx="405">
                  <c:v>260680</c:v>
                </c:pt>
                <c:pt idx="406">
                  <c:v>260904</c:v>
                </c:pt>
                <c:pt idx="407">
                  <c:v>263473</c:v>
                </c:pt>
                <c:pt idx="408">
                  <c:v>265334</c:v>
                </c:pt>
                <c:pt idx="409">
                  <c:v>266728</c:v>
                </c:pt>
                <c:pt idx="410">
                  <c:v>268102</c:v>
                </c:pt>
                <c:pt idx="411">
                  <c:v>269003</c:v>
                </c:pt>
                <c:pt idx="412">
                  <c:v>269183</c:v>
                </c:pt>
                <c:pt idx="413">
                  <c:v>269500</c:v>
                </c:pt>
                <c:pt idx="414">
                  <c:v>271338</c:v>
                </c:pt>
                <c:pt idx="415">
                  <c:v>272897</c:v>
                </c:pt>
                <c:pt idx="416">
                  <c:v>274832</c:v>
                </c:pt>
                <c:pt idx="417">
                  <c:v>276506</c:v>
                </c:pt>
                <c:pt idx="418">
                  <c:v>277711</c:v>
                </c:pt>
                <c:pt idx="419">
                  <c:v>277977</c:v>
                </c:pt>
                <c:pt idx="420">
                  <c:v>278239</c:v>
                </c:pt>
                <c:pt idx="421">
                  <c:v>280289</c:v>
                </c:pt>
                <c:pt idx="422">
                  <c:v>282091</c:v>
                </c:pt>
                <c:pt idx="423">
                  <c:v>283887</c:v>
                </c:pt>
                <c:pt idx="424">
                  <c:v>285273</c:v>
                </c:pt>
                <c:pt idx="425">
                  <c:v>286701</c:v>
                </c:pt>
                <c:pt idx="426">
                  <c:v>286902</c:v>
                </c:pt>
                <c:pt idx="427">
                  <c:v>287014</c:v>
                </c:pt>
                <c:pt idx="428">
                  <c:v>290353</c:v>
                </c:pt>
                <c:pt idx="429">
                  <c:v>292163</c:v>
                </c:pt>
                <c:pt idx="430">
                  <c:v>293985</c:v>
                </c:pt>
                <c:pt idx="431">
                  <c:v>295113</c:v>
                </c:pt>
                <c:pt idx="432">
                  <c:v>295999</c:v>
                </c:pt>
                <c:pt idx="433">
                  <c:v>296309</c:v>
                </c:pt>
                <c:pt idx="434">
                  <c:v>296688</c:v>
                </c:pt>
                <c:pt idx="435">
                  <c:v>298035</c:v>
                </c:pt>
                <c:pt idx="436">
                  <c:v>299933</c:v>
                </c:pt>
                <c:pt idx="437">
                  <c:v>301523</c:v>
                </c:pt>
                <c:pt idx="438">
                  <c:v>304038</c:v>
                </c:pt>
                <c:pt idx="439">
                  <c:v>305409</c:v>
                </c:pt>
                <c:pt idx="440">
                  <c:v>305564</c:v>
                </c:pt>
                <c:pt idx="441">
                  <c:v>305665</c:v>
                </c:pt>
                <c:pt idx="442">
                  <c:v>307551</c:v>
                </c:pt>
                <c:pt idx="443">
                  <c:v>309702</c:v>
                </c:pt>
                <c:pt idx="444">
                  <c:v>311226</c:v>
                </c:pt>
                <c:pt idx="445">
                  <c:v>312904</c:v>
                </c:pt>
                <c:pt idx="446">
                  <c:v>314251</c:v>
                </c:pt>
                <c:pt idx="447">
                  <c:v>314336</c:v>
                </c:pt>
                <c:pt idx="448">
                  <c:v>314298</c:v>
                </c:pt>
                <c:pt idx="449">
                  <c:v>315803</c:v>
                </c:pt>
                <c:pt idx="450">
                  <c:v>317403</c:v>
                </c:pt>
                <c:pt idx="451">
                  <c:v>319128</c:v>
                </c:pt>
                <c:pt idx="452">
                  <c:v>320598</c:v>
                </c:pt>
                <c:pt idx="453">
                  <c:v>321044</c:v>
                </c:pt>
                <c:pt idx="454">
                  <c:v>321034</c:v>
                </c:pt>
                <c:pt idx="455">
                  <c:v>321224</c:v>
                </c:pt>
                <c:pt idx="456">
                  <c:v>321977</c:v>
                </c:pt>
                <c:pt idx="457">
                  <c:v>322564</c:v>
                </c:pt>
                <c:pt idx="458">
                  <c:v>324156</c:v>
                </c:pt>
                <c:pt idx="459">
                  <c:v>326359</c:v>
                </c:pt>
                <c:pt idx="460">
                  <c:v>327966</c:v>
                </c:pt>
                <c:pt idx="461">
                  <c:v>328167</c:v>
                </c:pt>
                <c:pt idx="462">
                  <c:v>328502</c:v>
                </c:pt>
                <c:pt idx="463">
                  <c:v>331827</c:v>
                </c:pt>
                <c:pt idx="464">
                  <c:v>334286</c:v>
                </c:pt>
                <c:pt idx="465">
                  <c:v>336012</c:v>
                </c:pt>
                <c:pt idx="466">
                  <c:v>337688</c:v>
                </c:pt>
                <c:pt idx="467">
                  <c:v>338284</c:v>
                </c:pt>
                <c:pt idx="468">
                  <c:v>338518</c:v>
                </c:pt>
                <c:pt idx="469">
                  <c:v>338768</c:v>
                </c:pt>
                <c:pt idx="470">
                  <c:v>340542</c:v>
                </c:pt>
                <c:pt idx="471">
                  <c:v>342099</c:v>
                </c:pt>
                <c:pt idx="472">
                  <c:v>344130</c:v>
                </c:pt>
                <c:pt idx="473">
                  <c:v>345492</c:v>
                </c:pt>
                <c:pt idx="474">
                  <c:v>346727</c:v>
                </c:pt>
                <c:pt idx="475">
                  <c:v>346989</c:v>
                </c:pt>
                <c:pt idx="476">
                  <c:v>347337</c:v>
                </c:pt>
                <c:pt idx="477">
                  <c:v>349474</c:v>
                </c:pt>
                <c:pt idx="478">
                  <c:v>350804</c:v>
                </c:pt>
                <c:pt idx="479">
                  <c:v>350689</c:v>
                </c:pt>
                <c:pt idx="480">
                  <c:v>349617</c:v>
                </c:pt>
                <c:pt idx="481">
                  <c:v>348550</c:v>
                </c:pt>
                <c:pt idx="482">
                  <c:v>348503</c:v>
                </c:pt>
                <c:pt idx="483">
                  <c:v>348658</c:v>
                </c:pt>
                <c:pt idx="484">
                  <c:v>350629</c:v>
                </c:pt>
                <c:pt idx="485">
                  <c:v>353122</c:v>
                </c:pt>
                <c:pt idx="486">
                  <c:v>354812</c:v>
                </c:pt>
                <c:pt idx="487">
                  <c:v>355895</c:v>
                </c:pt>
                <c:pt idx="488">
                  <c:v>356434</c:v>
                </c:pt>
                <c:pt idx="489">
                  <c:v>356438</c:v>
                </c:pt>
                <c:pt idx="490">
                  <c:v>356266</c:v>
                </c:pt>
                <c:pt idx="491">
                  <c:v>356506</c:v>
                </c:pt>
                <c:pt idx="492">
                  <c:v>357280</c:v>
                </c:pt>
                <c:pt idx="493">
                  <c:v>358531</c:v>
                </c:pt>
                <c:pt idx="494">
                  <c:v>358726</c:v>
                </c:pt>
                <c:pt idx="495">
                  <c:v>359158</c:v>
                </c:pt>
                <c:pt idx="496">
                  <c:v>358924</c:v>
                </c:pt>
                <c:pt idx="497">
                  <c:v>358813</c:v>
                </c:pt>
                <c:pt idx="498">
                  <c:v>359627</c:v>
                </c:pt>
                <c:pt idx="499">
                  <c:v>360941</c:v>
                </c:pt>
                <c:pt idx="500">
                  <c:v>361564</c:v>
                </c:pt>
                <c:pt idx="501">
                  <c:v>362222</c:v>
                </c:pt>
                <c:pt idx="502">
                  <c:v>361879</c:v>
                </c:pt>
                <c:pt idx="503">
                  <c:v>361702</c:v>
                </c:pt>
                <c:pt idx="504">
                  <c:v>361799</c:v>
                </c:pt>
                <c:pt idx="505">
                  <c:v>361940</c:v>
                </c:pt>
                <c:pt idx="506">
                  <c:v>361800</c:v>
                </c:pt>
                <c:pt idx="507">
                  <c:v>362098</c:v>
                </c:pt>
                <c:pt idx="508">
                  <c:v>362480</c:v>
                </c:pt>
                <c:pt idx="509">
                  <c:v>360603</c:v>
                </c:pt>
                <c:pt idx="510">
                  <c:v>360033</c:v>
                </c:pt>
                <c:pt idx="511">
                  <c:v>359309</c:v>
                </c:pt>
                <c:pt idx="512">
                  <c:v>353279</c:v>
                </c:pt>
                <c:pt idx="513">
                  <c:v>347440</c:v>
                </c:pt>
                <c:pt idx="514">
                  <c:v>341949</c:v>
                </c:pt>
                <c:pt idx="515">
                  <c:v>335781</c:v>
                </c:pt>
                <c:pt idx="516">
                  <c:v>329483</c:v>
                </c:pt>
                <c:pt idx="517">
                  <c:v>328582</c:v>
                </c:pt>
                <c:pt idx="518">
                  <c:v>327763</c:v>
                </c:pt>
                <c:pt idx="519">
                  <c:v>321895</c:v>
                </c:pt>
                <c:pt idx="520">
                  <c:v>320624</c:v>
                </c:pt>
                <c:pt idx="521">
                  <c:v>319474</c:v>
                </c:pt>
                <c:pt idx="522">
                  <c:v>319618</c:v>
                </c:pt>
                <c:pt idx="523">
                  <c:v>318945</c:v>
                </c:pt>
                <c:pt idx="524">
                  <c:v>318832</c:v>
                </c:pt>
                <c:pt idx="525">
                  <c:v>318803</c:v>
                </c:pt>
                <c:pt idx="526">
                  <c:v>320552</c:v>
                </c:pt>
                <c:pt idx="527">
                  <c:v>321681</c:v>
                </c:pt>
                <c:pt idx="528">
                  <c:v>322689</c:v>
                </c:pt>
                <c:pt idx="529">
                  <c:v>324128</c:v>
                </c:pt>
                <c:pt idx="530">
                  <c:v>325201</c:v>
                </c:pt>
                <c:pt idx="531">
                  <c:v>325183</c:v>
                </c:pt>
                <c:pt idx="532">
                  <c:v>325061</c:v>
                </c:pt>
                <c:pt idx="533">
                  <c:v>326264</c:v>
                </c:pt>
                <c:pt idx="534">
                  <c:v>330344</c:v>
                </c:pt>
                <c:pt idx="535">
                  <c:v>334445</c:v>
                </c:pt>
                <c:pt idx="536">
                  <c:v>339400</c:v>
                </c:pt>
                <c:pt idx="537">
                  <c:v>345898</c:v>
                </c:pt>
                <c:pt idx="538">
                  <c:v>346634</c:v>
                </c:pt>
                <c:pt idx="539">
                  <c:v>347781</c:v>
                </c:pt>
                <c:pt idx="540">
                  <c:v>357596</c:v>
                </c:pt>
                <c:pt idx="541">
                  <c:v>366487</c:v>
                </c:pt>
                <c:pt idx="542">
                  <c:v>373852</c:v>
                </c:pt>
                <c:pt idx="543">
                  <c:v>380682</c:v>
                </c:pt>
                <c:pt idx="544">
                  <c:v>382474</c:v>
                </c:pt>
                <c:pt idx="545">
                  <c:v>383392</c:v>
                </c:pt>
                <c:pt idx="546">
                  <c:v>384371</c:v>
                </c:pt>
                <c:pt idx="547">
                  <c:v>390345</c:v>
                </c:pt>
                <c:pt idx="548">
                  <c:v>395441</c:v>
                </c:pt>
                <c:pt idx="549">
                  <c:v>399812</c:v>
                </c:pt>
                <c:pt idx="550">
                  <c:v>403830</c:v>
                </c:pt>
                <c:pt idx="551">
                  <c:v>407177</c:v>
                </c:pt>
                <c:pt idx="552">
                  <c:v>407878</c:v>
                </c:pt>
                <c:pt idx="553">
                  <c:v>408424</c:v>
                </c:pt>
                <c:pt idx="554">
                  <c:v>411506</c:v>
                </c:pt>
                <c:pt idx="555">
                  <c:v>414979</c:v>
                </c:pt>
                <c:pt idx="556">
                  <c:v>417798</c:v>
                </c:pt>
                <c:pt idx="557">
                  <c:v>420645</c:v>
                </c:pt>
                <c:pt idx="558">
                  <c:v>423227</c:v>
                </c:pt>
                <c:pt idx="559">
                  <c:v>423578</c:v>
                </c:pt>
                <c:pt idx="560">
                  <c:v>424106</c:v>
                </c:pt>
                <c:pt idx="561">
                  <c:v>427944</c:v>
                </c:pt>
                <c:pt idx="562">
                  <c:v>430534</c:v>
                </c:pt>
                <c:pt idx="563">
                  <c:v>433356</c:v>
                </c:pt>
                <c:pt idx="564">
                  <c:v>435773</c:v>
                </c:pt>
                <c:pt idx="565">
                  <c:v>437598</c:v>
                </c:pt>
                <c:pt idx="566">
                  <c:v>437873</c:v>
                </c:pt>
                <c:pt idx="567">
                  <c:v>438059</c:v>
                </c:pt>
                <c:pt idx="568">
                  <c:v>439080</c:v>
                </c:pt>
                <c:pt idx="569">
                  <c:v>441456</c:v>
                </c:pt>
                <c:pt idx="570">
                  <c:v>444297</c:v>
                </c:pt>
                <c:pt idx="571">
                  <c:v>447002</c:v>
                </c:pt>
                <c:pt idx="572">
                  <c:v>453061</c:v>
                </c:pt>
                <c:pt idx="573">
                  <c:v>453380</c:v>
                </c:pt>
                <c:pt idx="574">
                  <c:v>453734</c:v>
                </c:pt>
                <c:pt idx="575">
                  <c:v>457908</c:v>
                </c:pt>
                <c:pt idx="576">
                  <c:v>459483</c:v>
                </c:pt>
                <c:pt idx="577">
                  <c:v>462033</c:v>
                </c:pt>
                <c:pt idx="578">
                  <c:v>464431</c:v>
                </c:pt>
                <c:pt idx="579">
                  <c:v>466145</c:v>
                </c:pt>
                <c:pt idx="580">
                  <c:v>466166</c:v>
                </c:pt>
                <c:pt idx="581">
                  <c:v>466389</c:v>
                </c:pt>
                <c:pt idx="582">
                  <c:v>469423</c:v>
                </c:pt>
                <c:pt idx="583">
                  <c:v>471942</c:v>
                </c:pt>
                <c:pt idx="584">
                  <c:v>474865</c:v>
                </c:pt>
                <c:pt idx="585">
                  <c:v>477360</c:v>
                </c:pt>
                <c:pt idx="586">
                  <c:v>480600</c:v>
                </c:pt>
                <c:pt idx="587">
                  <c:v>481356</c:v>
                </c:pt>
                <c:pt idx="588">
                  <c:v>481892</c:v>
                </c:pt>
                <c:pt idx="589">
                  <c:v>484998</c:v>
                </c:pt>
                <c:pt idx="590">
                  <c:v>488274</c:v>
                </c:pt>
                <c:pt idx="591">
                  <c:v>490893</c:v>
                </c:pt>
                <c:pt idx="592">
                  <c:v>493456</c:v>
                </c:pt>
                <c:pt idx="593">
                  <c:v>495025</c:v>
                </c:pt>
                <c:pt idx="594">
                  <c:v>495162</c:v>
                </c:pt>
                <c:pt idx="595">
                  <c:v>495508</c:v>
                </c:pt>
                <c:pt idx="596">
                  <c:v>499126</c:v>
                </c:pt>
                <c:pt idx="597">
                  <c:v>501931</c:v>
                </c:pt>
                <c:pt idx="598">
                  <c:v>504620</c:v>
                </c:pt>
                <c:pt idx="599">
                  <c:v>505759</c:v>
                </c:pt>
                <c:pt idx="600">
                  <c:v>507942</c:v>
                </c:pt>
                <c:pt idx="601">
                  <c:v>508076</c:v>
                </c:pt>
                <c:pt idx="602">
                  <c:v>508271</c:v>
                </c:pt>
                <c:pt idx="603">
                  <c:v>511575</c:v>
                </c:pt>
                <c:pt idx="604">
                  <c:v>515271</c:v>
                </c:pt>
                <c:pt idx="605">
                  <c:v>518122</c:v>
                </c:pt>
                <c:pt idx="606">
                  <c:v>520259</c:v>
                </c:pt>
                <c:pt idx="607">
                  <c:v>521465</c:v>
                </c:pt>
                <c:pt idx="608">
                  <c:v>521711</c:v>
                </c:pt>
                <c:pt idx="609">
                  <c:v>521721</c:v>
                </c:pt>
                <c:pt idx="610">
                  <c:v>524268</c:v>
                </c:pt>
                <c:pt idx="611">
                  <c:v>527138</c:v>
                </c:pt>
                <c:pt idx="612">
                  <c:v>530093</c:v>
                </c:pt>
                <c:pt idx="613">
                  <c:v>532688</c:v>
                </c:pt>
                <c:pt idx="614">
                  <c:v>533577</c:v>
                </c:pt>
                <c:pt idx="615">
                  <c:v>533533</c:v>
                </c:pt>
                <c:pt idx="616">
                  <c:v>533458</c:v>
                </c:pt>
                <c:pt idx="617">
                  <c:v>535719</c:v>
                </c:pt>
                <c:pt idx="618">
                  <c:v>537520</c:v>
                </c:pt>
                <c:pt idx="619">
                  <c:v>539186</c:v>
                </c:pt>
                <c:pt idx="620">
                  <c:v>538800</c:v>
                </c:pt>
                <c:pt idx="621">
                  <c:v>533940</c:v>
                </c:pt>
                <c:pt idx="622">
                  <c:v>533562</c:v>
                </c:pt>
                <c:pt idx="623">
                  <c:v>532796</c:v>
                </c:pt>
                <c:pt idx="624">
                  <c:v>530178</c:v>
                </c:pt>
                <c:pt idx="625">
                  <c:v>532324</c:v>
                </c:pt>
                <c:pt idx="626">
                  <c:v>534192</c:v>
                </c:pt>
                <c:pt idx="627">
                  <c:v>537297</c:v>
                </c:pt>
                <c:pt idx="628">
                  <c:v>537341</c:v>
                </c:pt>
                <c:pt idx="629">
                  <c:v>537312</c:v>
                </c:pt>
                <c:pt idx="630">
                  <c:v>537172</c:v>
                </c:pt>
                <c:pt idx="631">
                  <c:v>539049</c:v>
                </c:pt>
                <c:pt idx="632">
                  <c:v>540773</c:v>
                </c:pt>
                <c:pt idx="633">
                  <c:v>543088</c:v>
                </c:pt>
                <c:pt idx="634">
                  <c:v>544263</c:v>
                </c:pt>
                <c:pt idx="635">
                  <c:v>543378</c:v>
                </c:pt>
                <c:pt idx="636">
                  <c:v>542908</c:v>
                </c:pt>
                <c:pt idx="637">
                  <c:v>542550</c:v>
                </c:pt>
                <c:pt idx="638">
                  <c:v>538062</c:v>
                </c:pt>
                <c:pt idx="639">
                  <c:v>539511</c:v>
                </c:pt>
                <c:pt idx="640">
                  <c:v>540948</c:v>
                </c:pt>
                <c:pt idx="641">
                  <c:v>542901</c:v>
                </c:pt>
                <c:pt idx="642">
                  <c:v>543503</c:v>
                </c:pt>
                <c:pt idx="643">
                  <c:v>543338</c:v>
                </c:pt>
                <c:pt idx="644">
                  <c:v>543296</c:v>
                </c:pt>
                <c:pt idx="645">
                  <c:v>545468</c:v>
                </c:pt>
                <c:pt idx="646">
                  <c:v>548088</c:v>
                </c:pt>
                <c:pt idx="647">
                  <c:v>550099</c:v>
                </c:pt>
                <c:pt idx="648">
                  <c:v>553479</c:v>
                </c:pt>
                <c:pt idx="649">
                  <c:v>560161</c:v>
                </c:pt>
                <c:pt idx="650">
                  <c:v>560514</c:v>
                </c:pt>
                <c:pt idx="651">
                  <c:v>560834</c:v>
                </c:pt>
                <c:pt idx="652">
                  <c:v>567086</c:v>
                </c:pt>
                <c:pt idx="653">
                  <c:v>569619</c:v>
                </c:pt>
                <c:pt idx="654">
                  <c:v>571679</c:v>
                </c:pt>
                <c:pt idx="655">
                  <c:v>573678</c:v>
                </c:pt>
                <c:pt idx="656">
                  <c:v>574824</c:v>
                </c:pt>
                <c:pt idx="657">
                  <c:v>574539</c:v>
                </c:pt>
                <c:pt idx="658">
                  <c:v>574490</c:v>
                </c:pt>
                <c:pt idx="659">
                  <c:v>576771</c:v>
                </c:pt>
                <c:pt idx="660">
                  <c:v>579760</c:v>
                </c:pt>
                <c:pt idx="661">
                  <c:v>582286</c:v>
                </c:pt>
                <c:pt idx="662">
                  <c:v>582410</c:v>
                </c:pt>
                <c:pt idx="663">
                  <c:v>582848</c:v>
                </c:pt>
                <c:pt idx="664">
                  <c:v>582752</c:v>
                </c:pt>
                <c:pt idx="665">
                  <c:v>582533</c:v>
                </c:pt>
                <c:pt idx="666">
                  <c:v>584930</c:v>
                </c:pt>
                <c:pt idx="667">
                  <c:v>587053</c:v>
                </c:pt>
                <c:pt idx="668">
                  <c:v>589348</c:v>
                </c:pt>
                <c:pt idx="669">
                  <c:v>591064</c:v>
                </c:pt>
                <c:pt idx="670">
                  <c:v>592754</c:v>
                </c:pt>
                <c:pt idx="671">
                  <c:v>592493</c:v>
                </c:pt>
                <c:pt idx="672">
                  <c:v>592396</c:v>
                </c:pt>
                <c:pt idx="673">
                  <c:v>593255</c:v>
                </c:pt>
                <c:pt idx="674">
                  <c:v>595367</c:v>
                </c:pt>
                <c:pt idx="675">
                  <c:v>597657</c:v>
                </c:pt>
                <c:pt idx="676">
                  <c:v>599590</c:v>
                </c:pt>
                <c:pt idx="677">
                  <c:v>601113</c:v>
                </c:pt>
                <c:pt idx="678">
                  <c:v>600901</c:v>
                </c:pt>
                <c:pt idx="679">
                  <c:v>601036</c:v>
                </c:pt>
                <c:pt idx="680">
                  <c:v>603606</c:v>
                </c:pt>
                <c:pt idx="681">
                  <c:v>606409</c:v>
                </c:pt>
                <c:pt idx="682">
                  <c:v>608555</c:v>
                </c:pt>
                <c:pt idx="683">
                  <c:v>609296</c:v>
                </c:pt>
                <c:pt idx="684">
                  <c:v>609818</c:v>
                </c:pt>
                <c:pt idx="685">
                  <c:v>609704</c:v>
                </c:pt>
                <c:pt idx="686">
                  <c:v>609413</c:v>
                </c:pt>
                <c:pt idx="687">
                  <c:v>611360</c:v>
                </c:pt>
                <c:pt idx="688">
                  <c:v>613269</c:v>
                </c:pt>
                <c:pt idx="689">
                  <c:v>614344</c:v>
                </c:pt>
                <c:pt idx="690">
                  <c:v>617356</c:v>
                </c:pt>
                <c:pt idx="691">
                  <c:v>619053</c:v>
                </c:pt>
                <c:pt idx="692">
                  <c:v>619018</c:v>
                </c:pt>
                <c:pt idx="693">
                  <c:v>618956</c:v>
                </c:pt>
                <c:pt idx="694">
                  <c:v>621458</c:v>
                </c:pt>
                <c:pt idx="695">
                  <c:v>620403</c:v>
                </c:pt>
                <c:pt idx="696">
                  <c:v>618039</c:v>
                </c:pt>
                <c:pt idx="697">
                  <c:v>614273</c:v>
                </c:pt>
                <c:pt idx="698">
                  <c:v>610003</c:v>
                </c:pt>
                <c:pt idx="699">
                  <c:v>609577</c:v>
                </c:pt>
                <c:pt idx="700">
                  <c:v>609005</c:v>
                </c:pt>
                <c:pt idx="701">
                  <c:v>605462</c:v>
                </c:pt>
                <c:pt idx="702">
                  <c:v>598888</c:v>
                </c:pt>
                <c:pt idx="703">
                  <c:v>594742</c:v>
                </c:pt>
                <c:pt idx="704">
                  <c:v>590775</c:v>
                </c:pt>
                <c:pt idx="705">
                  <c:v>586294</c:v>
                </c:pt>
                <c:pt idx="706">
                  <c:v>585734</c:v>
                </c:pt>
                <c:pt idx="707">
                  <c:v>585245</c:v>
                </c:pt>
                <c:pt idx="708">
                  <c:v>582423</c:v>
                </c:pt>
                <c:pt idx="709">
                  <c:v>578985</c:v>
                </c:pt>
                <c:pt idx="710">
                  <c:v>575184</c:v>
                </c:pt>
                <c:pt idx="711">
                  <c:v>571581</c:v>
                </c:pt>
                <c:pt idx="712">
                  <c:v>567264</c:v>
                </c:pt>
                <c:pt idx="713">
                  <c:v>566395</c:v>
                </c:pt>
                <c:pt idx="714">
                  <c:v>565715</c:v>
                </c:pt>
                <c:pt idx="715">
                  <c:v>561130</c:v>
                </c:pt>
                <c:pt idx="716">
                  <c:v>554891</c:v>
                </c:pt>
                <c:pt idx="717">
                  <c:v>547625</c:v>
                </c:pt>
                <c:pt idx="718">
                  <c:v>538465</c:v>
                </c:pt>
                <c:pt idx="719">
                  <c:v>524690</c:v>
                </c:pt>
                <c:pt idx="720">
                  <c:v>522096</c:v>
                </c:pt>
                <c:pt idx="721">
                  <c:v>516900</c:v>
                </c:pt>
                <c:pt idx="722">
                  <c:v>518013</c:v>
                </c:pt>
                <c:pt idx="723">
                  <c:v>518719</c:v>
                </c:pt>
                <c:pt idx="724">
                  <c:v>519090</c:v>
                </c:pt>
                <c:pt idx="725">
                  <c:v>519153</c:v>
                </c:pt>
                <c:pt idx="726">
                  <c:v>517712</c:v>
                </c:pt>
                <c:pt idx="727">
                  <c:v>517211</c:v>
                </c:pt>
                <c:pt idx="728">
                  <c:v>517117</c:v>
                </c:pt>
                <c:pt idx="729">
                  <c:v>520342</c:v>
                </c:pt>
                <c:pt idx="730">
                  <c:v>524744</c:v>
                </c:pt>
                <c:pt idx="731">
                  <c:v>526728</c:v>
                </c:pt>
                <c:pt idx="732">
                  <c:v>528163</c:v>
                </c:pt>
                <c:pt idx="733">
                  <c:v>528076</c:v>
                </c:pt>
                <c:pt idx="734">
                  <c:v>527737</c:v>
                </c:pt>
                <c:pt idx="735">
                  <c:v>527396</c:v>
                </c:pt>
                <c:pt idx="736">
                  <c:v>528574</c:v>
                </c:pt>
                <c:pt idx="737">
                  <c:v>529479</c:v>
                </c:pt>
                <c:pt idx="738">
                  <c:v>528689</c:v>
                </c:pt>
                <c:pt idx="739">
                  <c:v>528528</c:v>
                </c:pt>
                <c:pt idx="740">
                  <c:v>528996</c:v>
                </c:pt>
                <c:pt idx="741">
                  <c:v>528748</c:v>
                </c:pt>
                <c:pt idx="742">
                  <c:v>528614</c:v>
                </c:pt>
                <c:pt idx="743">
                  <c:v>530355</c:v>
                </c:pt>
                <c:pt idx="744">
                  <c:v>530789</c:v>
                </c:pt>
                <c:pt idx="745">
                  <c:v>532787</c:v>
                </c:pt>
                <c:pt idx="746">
                  <c:v>534548</c:v>
                </c:pt>
                <c:pt idx="747">
                  <c:v>535419</c:v>
                </c:pt>
                <c:pt idx="748">
                  <c:v>535473</c:v>
                </c:pt>
                <c:pt idx="749">
                  <c:v>535608</c:v>
                </c:pt>
                <c:pt idx="750">
                  <c:v>537585</c:v>
                </c:pt>
                <c:pt idx="751">
                  <c:v>539487</c:v>
                </c:pt>
                <c:pt idx="752">
                  <c:v>541175</c:v>
                </c:pt>
                <c:pt idx="753">
                  <c:v>542549</c:v>
                </c:pt>
                <c:pt idx="754">
                  <c:v>543034</c:v>
                </c:pt>
                <c:pt idx="755">
                  <c:v>542960</c:v>
                </c:pt>
                <c:pt idx="756">
                  <c:v>542949</c:v>
                </c:pt>
                <c:pt idx="757">
                  <c:v>544545</c:v>
                </c:pt>
                <c:pt idx="758">
                  <c:v>546227</c:v>
                </c:pt>
                <c:pt idx="759">
                  <c:v>547446</c:v>
                </c:pt>
                <c:pt idx="760">
                  <c:v>548620</c:v>
                </c:pt>
                <c:pt idx="761">
                  <c:v>548802</c:v>
                </c:pt>
                <c:pt idx="762">
                  <c:v>548850</c:v>
                </c:pt>
                <c:pt idx="763">
                  <c:v>548836</c:v>
                </c:pt>
                <c:pt idx="764">
                  <c:v>547651</c:v>
                </c:pt>
                <c:pt idx="765">
                  <c:v>550157</c:v>
                </c:pt>
                <c:pt idx="766">
                  <c:v>552811</c:v>
                </c:pt>
                <c:pt idx="767">
                  <c:v>554300</c:v>
                </c:pt>
                <c:pt idx="768">
                  <c:v>555457</c:v>
                </c:pt>
                <c:pt idx="769">
                  <c:v>555512</c:v>
                </c:pt>
                <c:pt idx="770">
                  <c:v>555761</c:v>
                </c:pt>
                <c:pt idx="771">
                  <c:v>558985</c:v>
                </c:pt>
                <c:pt idx="772">
                  <c:v>563021</c:v>
                </c:pt>
                <c:pt idx="773">
                  <c:v>565983</c:v>
                </c:pt>
                <c:pt idx="774">
                  <c:v>567915</c:v>
                </c:pt>
                <c:pt idx="775">
                  <c:v>568878</c:v>
                </c:pt>
                <c:pt idx="776">
                  <c:v>568760</c:v>
                </c:pt>
                <c:pt idx="777">
                  <c:v>568879</c:v>
                </c:pt>
                <c:pt idx="778">
                  <c:v>571882</c:v>
                </c:pt>
                <c:pt idx="779">
                  <c:v>573557</c:v>
                </c:pt>
                <c:pt idx="780">
                  <c:v>575992</c:v>
                </c:pt>
                <c:pt idx="781">
                  <c:v>577842</c:v>
                </c:pt>
                <c:pt idx="782">
                  <c:v>579470</c:v>
                </c:pt>
                <c:pt idx="783">
                  <c:v>579555</c:v>
                </c:pt>
                <c:pt idx="784">
                  <c:v>579819</c:v>
                </c:pt>
                <c:pt idx="785">
                  <c:v>583115</c:v>
                </c:pt>
                <c:pt idx="786">
                  <c:v>585880</c:v>
                </c:pt>
                <c:pt idx="787">
                  <c:v>588212</c:v>
                </c:pt>
                <c:pt idx="788">
                  <c:v>590015</c:v>
                </c:pt>
                <c:pt idx="789">
                  <c:v>591319</c:v>
                </c:pt>
                <c:pt idx="790">
                  <c:v>591439</c:v>
                </c:pt>
                <c:pt idx="791">
                  <c:v>591725</c:v>
                </c:pt>
                <c:pt idx="792">
                  <c:v>596374</c:v>
                </c:pt>
                <c:pt idx="793">
                  <c:v>597841</c:v>
                </c:pt>
                <c:pt idx="794">
                  <c:v>599678</c:v>
                </c:pt>
                <c:pt idx="795">
                  <c:v>602586</c:v>
                </c:pt>
                <c:pt idx="796">
                  <c:v>604034</c:v>
                </c:pt>
                <c:pt idx="797">
                  <c:v>604353</c:v>
                </c:pt>
                <c:pt idx="798">
                  <c:v>604613</c:v>
                </c:pt>
                <c:pt idx="799">
                  <c:v>605914</c:v>
                </c:pt>
                <c:pt idx="800">
                  <c:v>608251</c:v>
                </c:pt>
                <c:pt idx="801">
                  <c:v>609873</c:v>
                </c:pt>
                <c:pt idx="802">
                  <c:v>610537</c:v>
                </c:pt>
                <c:pt idx="803">
                  <c:v>611230</c:v>
                </c:pt>
                <c:pt idx="804">
                  <c:v>611371</c:v>
                </c:pt>
                <c:pt idx="805">
                  <c:v>611728</c:v>
                </c:pt>
                <c:pt idx="806">
                  <c:v>613901</c:v>
                </c:pt>
                <c:pt idx="807">
                  <c:v>617104</c:v>
                </c:pt>
                <c:pt idx="808">
                  <c:v>618983</c:v>
                </c:pt>
                <c:pt idx="809">
                  <c:v>620694</c:v>
                </c:pt>
                <c:pt idx="810">
                  <c:v>622011</c:v>
                </c:pt>
                <c:pt idx="811">
                  <c:v>622246</c:v>
                </c:pt>
                <c:pt idx="812">
                  <c:v>622555</c:v>
                </c:pt>
                <c:pt idx="813">
                  <c:v>625352</c:v>
                </c:pt>
                <c:pt idx="814">
                  <c:v>627806</c:v>
                </c:pt>
                <c:pt idx="815">
                  <c:v>630229</c:v>
                </c:pt>
                <c:pt idx="816">
                  <c:v>631772</c:v>
                </c:pt>
                <c:pt idx="817">
                  <c:v>633366</c:v>
                </c:pt>
                <c:pt idx="818">
                  <c:v>633375</c:v>
                </c:pt>
                <c:pt idx="819">
                  <c:v>633894</c:v>
                </c:pt>
                <c:pt idx="820">
                  <c:v>637796</c:v>
                </c:pt>
                <c:pt idx="821">
                  <c:v>640224</c:v>
                </c:pt>
                <c:pt idx="822">
                  <c:v>641870</c:v>
                </c:pt>
                <c:pt idx="823">
                  <c:v>643000</c:v>
                </c:pt>
                <c:pt idx="824">
                  <c:v>644714</c:v>
                </c:pt>
                <c:pt idx="825">
                  <c:v>645049</c:v>
                </c:pt>
                <c:pt idx="826">
                  <c:v>645525</c:v>
                </c:pt>
                <c:pt idx="827">
                  <c:v>649276</c:v>
                </c:pt>
                <c:pt idx="828">
                  <c:v>653076</c:v>
                </c:pt>
                <c:pt idx="829">
                  <c:v>656629</c:v>
                </c:pt>
                <c:pt idx="830">
                  <c:v>660155</c:v>
                </c:pt>
                <c:pt idx="831">
                  <c:v>662497</c:v>
                </c:pt>
                <c:pt idx="832">
                  <c:v>662859</c:v>
                </c:pt>
                <c:pt idx="833">
                  <c:v>663337</c:v>
                </c:pt>
                <c:pt idx="834">
                  <c:v>667179</c:v>
                </c:pt>
                <c:pt idx="835">
                  <c:v>670725</c:v>
                </c:pt>
                <c:pt idx="836">
                  <c:v>673963</c:v>
                </c:pt>
                <c:pt idx="837">
                  <c:v>677907</c:v>
                </c:pt>
                <c:pt idx="838">
                  <c:v>680562</c:v>
                </c:pt>
                <c:pt idx="839">
                  <c:v>681071</c:v>
                </c:pt>
                <c:pt idx="840">
                  <c:v>681573</c:v>
                </c:pt>
                <c:pt idx="841">
                  <c:v>684066</c:v>
                </c:pt>
                <c:pt idx="842">
                  <c:v>686525</c:v>
                </c:pt>
                <c:pt idx="843">
                  <c:v>687253</c:v>
                </c:pt>
                <c:pt idx="844">
                  <c:v>685795</c:v>
                </c:pt>
                <c:pt idx="845">
                  <c:v>683265</c:v>
                </c:pt>
                <c:pt idx="846">
                  <c:v>683415</c:v>
                </c:pt>
                <c:pt idx="847">
                  <c:v>683631</c:v>
                </c:pt>
                <c:pt idx="848">
                  <c:v>686153</c:v>
                </c:pt>
                <c:pt idx="849">
                  <c:v>689598</c:v>
                </c:pt>
                <c:pt idx="850">
                  <c:v>693624</c:v>
                </c:pt>
                <c:pt idx="851">
                  <c:v>696204</c:v>
                </c:pt>
                <c:pt idx="852">
                  <c:v>697196</c:v>
                </c:pt>
                <c:pt idx="853">
                  <c:v>697463</c:v>
                </c:pt>
                <c:pt idx="854">
                  <c:v>697722</c:v>
                </c:pt>
                <c:pt idx="855">
                  <c:v>700244</c:v>
                </c:pt>
                <c:pt idx="856">
                  <c:v>701690</c:v>
                </c:pt>
                <c:pt idx="857">
                  <c:v>702381</c:v>
                </c:pt>
                <c:pt idx="858">
                  <c:v>703366</c:v>
                </c:pt>
                <c:pt idx="859">
                  <c:v>703089</c:v>
                </c:pt>
                <c:pt idx="860">
                  <c:v>703048</c:v>
                </c:pt>
                <c:pt idx="861">
                  <c:v>702916</c:v>
                </c:pt>
                <c:pt idx="862">
                  <c:v>703927</c:v>
                </c:pt>
                <c:pt idx="863">
                  <c:v>704656</c:v>
                </c:pt>
                <c:pt idx="864">
                  <c:v>705946</c:v>
                </c:pt>
                <c:pt idx="865">
                  <c:v>705818</c:v>
                </c:pt>
                <c:pt idx="866">
                  <c:v>705011</c:v>
                </c:pt>
                <c:pt idx="867">
                  <c:v>704828</c:v>
                </c:pt>
                <c:pt idx="868">
                  <c:v>704709</c:v>
                </c:pt>
                <c:pt idx="869">
                  <c:v>705877</c:v>
                </c:pt>
                <c:pt idx="870">
                  <c:v>705415</c:v>
                </c:pt>
                <c:pt idx="871">
                  <c:v>705837</c:v>
                </c:pt>
                <c:pt idx="872">
                  <c:v>707473</c:v>
                </c:pt>
                <c:pt idx="873">
                  <c:v>705933</c:v>
                </c:pt>
                <c:pt idx="874">
                  <c:v>705376</c:v>
                </c:pt>
                <c:pt idx="875">
                  <c:v>704155</c:v>
                </c:pt>
                <c:pt idx="876">
                  <c:v>690397</c:v>
                </c:pt>
                <c:pt idx="877">
                  <c:v>677812</c:v>
                </c:pt>
                <c:pt idx="878">
                  <c:v>667122</c:v>
                </c:pt>
                <c:pt idx="879">
                  <c:v>656631</c:v>
                </c:pt>
                <c:pt idx="880">
                  <c:v>646077</c:v>
                </c:pt>
                <c:pt idx="881">
                  <c:v>644753</c:v>
                </c:pt>
                <c:pt idx="882">
                  <c:v>677082</c:v>
                </c:pt>
                <c:pt idx="883">
                  <c:v>671684</c:v>
                </c:pt>
                <c:pt idx="884">
                  <c:v>763433</c:v>
                </c:pt>
                <c:pt idx="885">
                  <c:v>815075</c:v>
                </c:pt>
                <c:pt idx="886">
                  <c:v>847605</c:v>
                </c:pt>
                <c:pt idx="887">
                  <c:v>869940</c:v>
                </c:pt>
                <c:pt idx="888">
                  <c:v>872402</c:v>
                </c:pt>
                <c:pt idx="889">
                  <c:v>876581</c:v>
                </c:pt>
                <c:pt idx="890">
                  <c:v>906805</c:v>
                </c:pt>
                <c:pt idx="891">
                  <c:v>930133</c:v>
                </c:pt>
                <c:pt idx="892">
                  <c:v>944371</c:v>
                </c:pt>
                <c:pt idx="893">
                  <c:v>953062</c:v>
                </c:pt>
                <c:pt idx="894">
                  <c:v>958020</c:v>
                </c:pt>
                <c:pt idx="895">
                  <c:v>958699</c:v>
                </c:pt>
                <c:pt idx="896">
                  <c:v>959671</c:v>
                </c:pt>
                <c:pt idx="897">
                  <c:v>959691</c:v>
                </c:pt>
                <c:pt idx="898">
                  <c:v>958640</c:v>
                </c:pt>
                <c:pt idx="899">
                  <c:v>953693</c:v>
                </c:pt>
                <c:pt idx="900">
                  <c:v>944996</c:v>
                </c:pt>
                <c:pt idx="901">
                  <c:v>939387</c:v>
                </c:pt>
                <c:pt idx="902">
                  <c:v>939852</c:v>
                </c:pt>
                <c:pt idx="903">
                  <c:v>941278</c:v>
                </c:pt>
                <c:pt idx="904">
                  <c:v>966252</c:v>
                </c:pt>
                <c:pt idx="905">
                  <c:v>983369</c:v>
                </c:pt>
                <c:pt idx="906">
                  <c:v>987761</c:v>
                </c:pt>
                <c:pt idx="907">
                  <c:v>983631</c:v>
                </c:pt>
                <c:pt idx="908">
                  <c:v>966292</c:v>
                </c:pt>
                <c:pt idx="909">
                  <c:v>956100</c:v>
                </c:pt>
                <c:pt idx="910">
                  <c:v>958100</c:v>
                </c:pt>
                <c:pt idx="911">
                  <c:v>981949</c:v>
                </c:pt>
                <c:pt idx="912">
                  <c:v>994831</c:v>
                </c:pt>
                <c:pt idx="913">
                  <c:v>1004072</c:v>
                </c:pt>
                <c:pt idx="914">
                  <c:v>1013337</c:v>
                </c:pt>
                <c:pt idx="915">
                  <c:v>1020145</c:v>
                </c:pt>
                <c:pt idx="916">
                  <c:v>1021127</c:v>
                </c:pt>
                <c:pt idx="917">
                  <c:v>1022140</c:v>
                </c:pt>
                <c:pt idx="918">
                  <c:v>1029552</c:v>
                </c:pt>
                <c:pt idx="919">
                  <c:v>1036118</c:v>
                </c:pt>
                <c:pt idx="920">
                  <c:v>1042271</c:v>
                </c:pt>
                <c:pt idx="921">
                  <c:v>1048645</c:v>
                </c:pt>
                <c:pt idx="922">
                  <c:v>1052522</c:v>
                </c:pt>
                <c:pt idx="923">
                  <c:v>1052754</c:v>
                </c:pt>
                <c:pt idx="924">
                  <c:v>1053575</c:v>
                </c:pt>
                <c:pt idx="925">
                  <c:v>1060485</c:v>
                </c:pt>
                <c:pt idx="926">
                  <c:v>1065492</c:v>
                </c:pt>
                <c:pt idx="927">
                  <c:v>1175221</c:v>
                </c:pt>
                <c:pt idx="928">
                  <c:v>1219747</c:v>
                </c:pt>
                <c:pt idx="929">
                  <c:v>1242636</c:v>
                </c:pt>
                <c:pt idx="930">
                  <c:v>1244046</c:v>
                </c:pt>
                <c:pt idx="931">
                  <c:v>1168197</c:v>
                </c:pt>
                <c:pt idx="932">
                  <c:v>1266109</c:v>
                </c:pt>
                <c:pt idx="933">
                  <c:v>1283839</c:v>
                </c:pt>
                <c:pt idx="934">
                  <c:v>1295443</c:v>
                </c:pt>
                <c:pt idx="935">
                  <c:v>1302158</c:v>
                </c:pt>
                <c:pt idx="936">
                  <c:v>1306041</c:v>
                </c:pt>
                <c:pt idx="937">
                  <c:v>1305868</c:v>
                </c:pt>
                <c:pt idx="938">
                  <c:v>1305876</c:v>
                </c:pt>
                <c:pt idx="939">
                  <c:v>1311036</c:v>
                </c:pt>
                <c:pt idx="940">
                  <c:v>1311633</c:v>
                </c:pt>
                <c:pt idx="941">
                  <c:v>1307757</c:v>
                </c:pt>
                <c:pt idx="942">
                  <c:v>1298787</c:v>
                </c:pt>
                <c:pt idx="943">
                  <c:v>1286445</c:v>
                </c:pt>
                <c:pt idx="944">
                  <c:v>1284186</c:v>
                </c:pt>
                <c:pt idx="945">
                  <c:v>1282187</c:v>
                </c:pt>
                <c:pt idx="946">
                  <c:v>1270518</c:v>
                </c:pt>
                <c:pt idx="947">
                  <c:v>1252560</c:v>
                </c:pt>
                <c:pt idx="948">
                  <c:v>1228277</c:v>
                </c:pt>
                <c:pt idx="949">
                  <c:v>1194403</c:v>
                </c:pt>
                <c:pt idx="950">
                  <c:v>1148641</c:v>
                </c:pt>
                <c:pt idx="951">
                  <c:v>1104086</c:v>
                </c:pt>
                <c:pt idx="952">
                  <c:v>1133990</c:v>
                </c:pt>
                <c:pt idx="953">
                  <c:v>1075277</c:v>
                </c:pt>
                <c:pt idx="954">
                  <c:v>877334</c:v>
                </c:pt>
                <c:pt idx="955">
                  <c:v>881508</c:v>
                </c:pt>
                <c:pt idx="956">
                  <c:v>884838</c:v>
                </c:pt>
                <c:pt idx="957">
                  <c:v>887841</c:v>
                </c:pt>
                <c:pt idx="958">
                  <c:v>888328</c:v>
                </c:pt>
                <c:pt idx="959">
                  <c:v>888813</c:v>
                </c:pt>
                <c:pt idx="960">
                  <c:v>895113</c:v>
                </c:pt>
                <c:pt idx="961">
                  <c:v>899857</c:v>
                </c:pt>
                <c:pt idx="962">
                  <c:v>904061</c:v>
                </c:pt>
                <c:pt idx="963">
                  <c:v>907729</c:v>
                </c:pt>
                <c:pt idx="964">
                  <c:v>909597</c:v>
                </c:pt>
                <c:pt idx="965">
                  <c:v>909548</c:v>
                </c:pt>
                <c:pt idx="966">
                  <c:v>909747</c:v>
                </c:pt>
                <c:pt idx="967">
                  <c:v>912464</c:v>
                </c:pt>
                <c:pt idx="968">
                  <c:v>915777</c:v>
                </c:pt>
                <c:pt idx="969">
                  <c:v>918104</c:v>
                </c:pt>
                <c:pt idx="970">
                  <c:v>917152</c:v>
                </c:pt>
                <c:pt idx="971">
                  <c:v>910690</c:v>
                </c:pt>
                <c:pt idx="972">
                  <c:v>910118</c:v>
                </c:pt>
                <c:pt idx="973">
                  <c:v>909206</c:v>
                </c:pt>
                <c:pt idx="974">
                  <c:v>904323</c:v>
                </c:pt>
                <c:pt idx="975">
                  <c:v>907084</c:v>
                </c:pt>
                <c:pt idx="976">
                  <c:v>909686</c:v>
                </c:pt>
                <c:pt idx="977">
                  <c:v>912317</c:v>
                </c:pt>
                <c:pt idx="978">
                  <c:v>912927</c:v>
                </c:pt>
                <c:pt idx="979">
                  <c:v>912728</c:v>
                </c:pt>
                <c:pt idx="980">
                  <c:v>912990</c:v>
                </c:pt>
                <c:pt idx="981">
                  <c:v>917110</c:v>
                </c:pt>
                <c:pt idx="982">
                  <c:v>921787</c:v>
                </c:pt>
                <c:pt idx="983">
                  <c:v>924974</c:v>
                </c:pt>
                <c:pt idx="984">
                  <c:v>928192</c:v>
                </c:pt>
                <c:pt idx="985">
                  <c:v>930077</c:v>
                </c:pt>
                <c:pt idx="986">
                  <c:v>929883</c:v>
                </c:pt>
                <c:pt idx="987">
                  <c:v>929809</c:v>
                </c:pt>
                <c:pt idx="988">
                  <c:v>933468</c:v>
                </c:pt>
                <c:pt idx="989">
                  <c:v>936893</c:v>
                </c:pt>
                <c:pt idx="990">
                  <c:v>939936</c:v>
                </c:pt>
                <c:pt idx="991">
                  <c:v>942291</c:v>
                </c:pt>
                <c:pt idx="992">
                  <c:v>944052</c:v>
                </c:pt>
                <c:pt idx="993">
                  <c:v>944023</c:v>
                </c:pt>
                <c:pt idx="994">
                  <c:v>943906</c:v>
                </c:pt>
                <c:pt idx="995">
                  <c:v>947751</c:v>
                </c:pt>
                <c:pt idx="996">
                  <c:v>950645</c:v>
                </c:pt>
                <c:pt idx="997">
                  <c:v>952587</c:v>
                </c:pt>
                <c:pt idx="998">
                  <c:v>957496</c:v>
                </c:pt>
                <c:pt idx="999">
                  <c:v>965730</c:v>
                </c:pt>
                <c:pt idx="1000">
                  <c:v>966228</c:v>
                </c:pt>
                <c:pt idx="1001">
                  <c:v>966751</c:v>
                </c:pt>
                <c:pt idx="1002">
                  <c:v>971834</c:v>
                </c:pt>
                <c:pt idx="1003">
                  <c:v>967548</c:v>
                </c:pt>
                <c:pt idx="1004">
                  <c:v>949041</c:v>
                </c:pt>
                <c:pt idx="1005">
                  <c:v>956021</c:v>
                </c:pt>
                <c:pt idx="1006">
                  <c:v>959577</c:v>
                </c:pt>
                <c:pt idx="1007">
                  <c:v>959898</c:v>
                </c:pt>
                <c:pt idx="1008">
                  <c:v>959853</c:v>
                </c:pt>
                <c:pt idx="1009">
                  <c:v>961611</c:v>
                </c:pt>
                <c:pt idx="1010">
                  <c:v>942095</c:v>
                </c:pt>
                <c:pt idx="1011">
                  <c:v>948851</c:v>
                </c:pt>
                <c:pt idx="1012">
                  <c:v>949013</c:v>
                </c:pt>
                <c:pt idx="1013">
                  <c:v>949781</c:v>
                </c:pt>
                <c:pt idx="1014">
                  <c:v>950075</c:v>
                </c:pt>
                <c:pt idx="1015">
                  <c:v>950076</c:v>
                </c:pt>
                <c:pt idx="1016">
                  <c:v>954192</c:v>
                </c:pt>
                <c:pt idx="1017">
                  <c:v>958172</c:v>
                </c:pt>
                <c:pt idx="1018">
                  <c:v>961584</c:v>
                </c:pt>
                <c:pt idx="1019">
                  <c:v>965137</c:v>
                </c:pt>
                <c:pt idx="1020">
                  <c:v>966219</c:v>
                </c:pt>
                <c:pt idx="1021">
                  <c:v>966074</c:v>
                </c:pt>
                <c:pt idx="1022">
                  <c:v>965756</c:v>
                </c:pt>
                <c:pt idx="1023">
                  <c:v>965099</c:v>
                </c:pt>
                <c:pt idx="1024">
                  <c:v>968441</c:v>
                </c:pt>
                <c:pt idx="1025">
                  <c:v>972606</c:v>
                </c:pt>
                <c:pt idx="1026">
                  <c:v>974891</c:v>
                </c:pt>
                <c:pt idx="1027">
                  <c:v>975111</c:v>
                </c:pt>
                <c:pt idx="1028">
                  <c:v>974606</c:v>
                </c:pt>
                <c:pt idx="1029">
                  <c:v>974446</c:v>
                </c:pt>
                <c:pt idx="1030">
                  <c:v>971580</c:v>
                </c:pt>
                <c:pt idx="1031">
                  <c:v>978510</c:v>
                </c:pt>
                <c:pt idx="1032">
                  <c:v>1002788</c:v>
                </c:pt>
                <c:pt idx="1033">
                  <c:v>1003677</c:v>
                </c:pt>
                <c:pt idx="1034">
                  <c:v>1004466</c:v>
                </c:pt>
                <c:pt idx="1035">
                  <c:v>1004381</c:v>
                </c:pt>
                <c:pt idx="1036">
                  <c:v>1004349</c:v>
                </c:pt>
                <c:pt idx="1037">
                  <c:v>1008217</c:v>
                </c:pt>
                <c:pt idx="1038">
                  <c:v>1033527</c:v>
                </c:pt>
                <c:pt idx="1039">
                  <c:v>1037643</c:v>
                </c:pt>
                <c:pt idx="1040">
                  <c:v>1044190</c:v>
                </c:pt>
                <c:pt idx="1041">
                  <c:v>1047778</c:v>
                </c:pt>
                <c:pt idx="1042">
                  <c:v>1047901</c:v>
                </c:pt>
                <c:pt idx="1043">
                  <c:v>1048001</c:v>
                </c:pt>
                <c:pt idx="1044">
                  <c:v>1050726</c:v>
                </c:pt>
                <c:pt idx="1045">
                  <c:v>1054134</c:v>
                </c:pt>
                <c:pt idx="1046">
                  <c:v>1056683</c:v>
                </c:pt>
                <c:pt idx="1047">
                  <c:v>1058565</c:v>
                </c:pt>
                <c:pt idx="1048">
                  <c:v>1059159</c:v>
                </c:pt>
                <c:pt idx="1049">
                  <c:v>1059154</c:v>
                </c:pt>
                <c:pt idx="1050">
                  <c:v>1059139</c:v>
                </c:pt>
                <c:pt idx="1051">
                  <c:v>1065163</c:v>
                </c:pt>
                <c:pt idx="1052">
                  <c:v>1068920</c:v>
                </c:pt>
                <c:pt idx="1053">
                  <c:v>1071612</c:v>
                </c:pt>
                <c:pt idx="1054">
                  <c:v>1074188</c:v>
                </c:pt>
                <c:pt idx="1055">
                  <c:v>1076615</c:v>
                </c:pt>
                <c:pt idx="1056">
                  <c:v>1076707</c:v>
                </c:pt>
                <c:pt idx="1057">
                  <c:v>1076911</c:v>
                </c:pt>
                <c:pt idx="1058">
                  <c:v>1087786</c:v>
                </c:pt>
                <c:pt idx="1059">
                  <c:v>1092490</c:v>
                </c:pt>
                <c:pt idx="1060">
                  <c:v>1092948</c:v>
                </c:pt>
                <c:pt idx="1061">
                  <c:v>1095561</c:v>
                </c:pt>
                <c:pt idx="1062">
                  <c:v>1095964</c:v>
                </c:pt>
                <c:pt idx="1063">
                  <c:v>1095824</c:v>
                </c:pt>
                <c:pt idx="1064">
                  <c:v>1095709</c:v>
                </c:pt>
                <c:pt idx="1065">
                  <c:v>1095781</c:v>
                </c:pt>
                <c:pt idx="1066">
                  <c:v>1095019</c:v>
                </c:pt>
                <c:pt idx="1067">
                  <c:v>1089958</c:v>
                </c:pt>
                <c:pt idx="1068">
                  <c:v>1089513</c:v>
                </c:pt>
                <c:pt idx="1069">
                  <c:v>1088085</c:v>
                </c:pt>
                <c:pt idx="1070">
                  <c:v>1087560</c:v>
                </c:pt>
                <c:pt idx="1071">
                  <c:v>1087574</c:v>
                </c:pt>
                <c:pt idx="1072">
                  <c:v>1090289</c:v>
                </c:pt>
                <c:pt idx="1073">
                  <c:v>1092549</c:v>
                </c:pt>
                <c:pt idx="1074">
                  <c:v>1094046</c:v>
                </c:pt>
                <c:pt idx="1075">
                  <c:v>1096335</c:v>
                </c:pt>
                <c:pt idx="1076">
                  <c:v>1097497</c:v>
                </c:pt>
                <c:pt idx="1077">
                  <c:v>1097425</c:v>
                </c:pt>
                <c:pt idx="1078">
                  <c:v>1097471</c:v>
                </c:pt>
                <c:pt idx="1079">
                  <c:v>1099604</c:v>
                </c:pt>
                <c:pt idx="1080">
                  <c:v>1101384</c:v>
                </c:pt>
                <c:pt idx="1081">
                  <c:v>1102108</c:v>
                </c:pt>
                <c:pt idx="1082">
                  <c:v>1102509</c:v>
                </c:pt>
                <c:pt idx="1083">
                  <c:v>1102178</c:v>
                </c:pt>
                <c:pt idx="1084">
                  <c:v>1102065</c:v>
                </c:pt>
                <c:pt idx="1085">
                  <c:v>1081602</c:v>
                </c:pt>
                <c:pt idx="1086">
                  <c:v>1085129</c:v>
                </c:pt>
                <c:pt idx="1087">
                  <c:v>1085647</c:v>
                </c:pt>
                <c:pt idx="1088">
                  <c:v>1084743</c:v>
                </c:pt>
                <c:pt idx="1089">
                  <c:v>1084477</c:v>
                </c:pt>
                <c:pt idx="1090">
                  <c:v>1084422</c:v>
                </c:pt>
                <c:pt idx="1091">
                  <c:v>1088648</c:v>
                </c:pt>
                <c:pt idx="1092">
                  <c:v>1092647</c:v>
                </c:pt>
                <c:pt idx="1093">
                  <c:v>1101035</c:v>
                </c:pt>
                <c:pt idx="1094">
                  <c:v>1104390</c:v>
                </c:pt>
                <c:pt idx="1095">
                  <c:v>1105358</c:v>
                </c:pt>
                <c:pt idx="1096">
                  <c:v>1105445</c:v>
                </c:pt>
                <c:pt idx="1097">
                  <c:v>1105855</c:v>
                </c:pt>
                <c:pt idx="1098">
                  <c:v>1109909</c:v>
                </c:pt>
                <c:pt idx="1099">
                  <c:v>1114051</c:v>
                </c:pt>
                <c:pt idx="1100">
                  <c:v>1117208</c:v>
                </c:pt>
                <c:pt idx="1101">
                  <c:v>1119187</c:v>
                </c:pt>
                <c:pt idx="1102">
                  <c:v>1119499</c:v>
                </c:pt>
                <c:pt idx="1103">
                  <c:v>1119935</c:v>
                </c:pt>
                <c:pt idx="1104">
                  <c:v>1120301</c:v>
                </c:pt>
                <c:pt idx="1105">
                  <c:v>1126502</c:v>
                </c:pt>
                <c:pt idx="1106">
                  <c:v>1130998</c:v>
                </c:pt>
                <c:pt idx="1107">
                  <c:v>1131927</c:v>
                </c:pt>
                <c:pt idx="1108">
                  <c:v>1133697</c:v>
                </c:pt>
                <c:pt idx="1109">
                  <c:v>1133278</c:v>
                </c:pt>
                <c:pt idx="1110">
                  <c:v>1132706</c:v>
                </c:pt>
                <c:pt idx="1111">
                  <c:v>1136003</c:v>
                </c:pt>
                <c:pt idx="1112">
                  <c:v>1164310</c:v>
                </c:pt>
                <c:pt idx="1113">
                  <c:v>1167597</c:v>
                </c:pt>
                <c:pt idx="1114">
                  <c:v>1172366</c:v>
                </c:pt>
                <c:pt idx="1115">
                  <c:v>1177546</c:v>
                </c:pt>
                <c:pt idx="1116">
                  <c:v>1180913</c:v>
                </c:pt>
                <c:pt idx="1117">
                  <c:v>1181217</c:v>
                </c:pt>
                <c:pt idx="1118">
                  <c:v>1181636</c:v>
                </c:pt>
                <c:pt idx="1119">
                  <c:v>1186635</c:v>
                </c:pt>
                <c:pt idx="1120">
                  <c:v>1193513</c:v>
                </c:pt>
                <c:pt idx="1121">
                  <c:v>1198655</c:v>
                </c:pt>
                <c:pt idx="1122">
                  <c:v>1202646</c:v>
                </c:pt>
                <c:pt idx="1123">
                  <c:v>1204323</c:v>
                </c:pt>
                <c:pt idx="1124">
                  <c:v>1204876</c:v>
                </c:pt>
                <c:pt idx="1125">
                  <c:v>1205032</c:v>
                </c:pt>
                <c:pt idx="1126">
                  <c:v>1204130</c:v>
                </c:pt>
                <c:pt idx="1127">
                  <c:v>1210099</c:v>
                </c:pt>
                <c:pt idx="1128">
                  <c:v>1210612</c:v>
                </c:pt>
                <c:pt idx="1129">
                  <c:v>1218290</c:v>
                </c:pt>
                <c:pt idx="1130">
                  <c:v>1223106</c:v>
                </c:pt>
                <c:pt idx="1131">
                  <c:v>1223689</c:v>
                </c:pt>
                <c:pt idx="1132">
                  <c:v>1224331</c:v>
                </c:pt>
                <c:pt idx="1133">
                  <c:v>1232677</c:v>
                </c:pt>
                <c:pt idx="1134">
                  <c:v>1239533</c:v>
                </c:pt>
                <c:pt idx="1135">
                  <c:v>1248411</c:v>
                </c:pt>
                <c:pt idx="1136">
                  <c:v>1254982</c:v>
                </c:pt>
                <c:pt idx="1137">
                  <c:v>1260694</c:v>
                </c:pt>
                <c:pt idx="1138">
                  <c:v>1261186</c:v>
                </c:pt>
                <c:pt idx="1139">
                  <c:v>1261934</c:v>
                </c:pt>
                <c:pt idx="1140">
                  <c:v>1269459</c:v>
                </c:pt>
                <c:pt idx="1141">
                  <c:v>1278307</c:v>
                </c:pt>
                <c:pt idx="1142">
                  <c:v>1283710</c:v>
                </c:pt>
                <c:pt idx="1143">
                  <c:v>1285438</c:v>
                </c:pt>
                <c:pt idx="1144">
                  <c:v>1290941</c:v>
                </c:pt>
                <c:pt idx="1145">
                  <c:v>1291560</c:v>
                </c:pt>
                <c:pt idx="1146">
                  <c:v>1292519</c:v>
                </c:pt>
                <c:pt idx="1147">
                  <c:v>1298925</c:v>
                </c:pt>
                <c:pt idx="1148">
                  <c:v>1306811</c:v>
                </c:pt>
                <c:pt idx="1149">
                  <c:v>1313034</c:v>
                </c:pt>
                <c:pt idx="1150">
                  <c:v>1319313</c:v>
                </c:pt>
                <c:pt idx="1151">
                  <c:v>1324296</c:v>
                </c:pt>
                <c:pt idx="1152">
                  <c:v>1325112</c:v>
                </c:pt>
                <c:pt idx="1153">
                  <c:v>1325617</c:v>
                </c:pt>
                <c:pt idx="1154">
                  <c:v>1336456</c:v>
                </c:pt>
                <c:pt idx="1155">
                  <c:v>1340138</c:v>
                </c:pt>
                <c:pt idx="1156">
                  <c:v>1349760</c:v>
                </c:pt>
                <c:pt idx="1157">
                  <c:v>1359762</c:v>
                </c:pt>
                <c:pt idx="1158">
                  <c:v>1365634</c:v>
                </c:pt>
                <c:pt idx="1159">
                  <c:v>1365894</c:v>
                </c:pt>
                <c:pt idx="1160">
                  <c:v>1366689</c:v>
                </c:pt>
                <c:pt idx="1161">
                  <c:v>1371938</c:v>
                </c:pt>
                <c:pt idx="1162">
                  <c:v>1381762</c:v>
                </c:pt>
                <c:pt idx="1163">
                  <c:v>1389806</c:v>
                </c:pt>
                <c:pt idx="1164">
                  <c:v>1396629</c:v>
                </c:pt>
                <c:pt idx="1165">
                  <c:v>1400041</c:v>
                </c:pt>
                <c:pt idx="1166">
                  <c:v>1400246</c:v>
                </c:pt>
                <c:pt idx="1167">
                  <c:v>1401311</c:v>
                </c:pt>
                <c:pt idx="1168">
                  <c:v>1409151</c:v>
                </c:pt>
                <c:pt idx="1169">
                  <c:v>1417481</c:v>
                </c:pt>
                <c:pt idx="1170">
                  <c:v>1425868</c:v>
                </c:pt>
                <c:pt idx="1171">
                  <c:v>1434525</c:v>
                </c:pt>
                <c:pt idx="1172">
                  <c:v>1437168</c:v>
                </c:pt>
                <c:pt idx="1173">
                  <c:v>1437258</c:v>
                </c:pt>
                <c:pt idx="1174">
                  <c:v>1437828</c:v>
                </c:pt>
                <c:pt idx="1175">
                  <c:v>1445945</c:v>
                </c:pt>
                <c:pt idx="1176">
                  <c:v>1451678</c:v>
                </c:pt>
                <c:pt idx="1177">
                  <c:v>1457201</c:v>
                </c:pt>
                <c:pt idx="1178">
                  <c:v>1463060</c:v>
                </c:pt>
                <c:pt idx="1179">
                  <c:v>1466344</c:v>
                </c:pt>
                <c:pt idx="1180">
                  <c:v>1466296</c:v>
                </c:pt>
                <c:pt idx="1181">
                  <c:v>1466706</c:v>
                </c:pt>
                <c:pt idx="1182">
                  <c:v>1474172</c:v>
                </c:pt>
                <c:pt idx="1183">
                  <c:v>1482387</c:v>
                </c:pt>
                <c:pt idx="1184">
                  <c:v>1487576</c:v>
                </c:pt>
                <c:pt idx="1185">
                  <c:v>1488136</c:v>
                </c:pt>
                <c:pt idx="1186">
                  <c:v>1487478</c:v>
                </c:pt>
                <c:pt idx="1187">
                  <c:v>1487580</c:v>
                </c:pt>
                <c:pt idx="1188">
                  <c:v>1487755</c:v>
                </c:pt>
                <c:pt idx="1189">
                  <c:v>1496765</c:v>
                </c:pt>
                <c:pt idx="1190">
                  <c:v>1501394</c:v>
                </c:pt>
                <c:pt idx="1191">
                  <c:v>1506437</c:v>
                </c:pt>
                <c:pt idx="1192">
                  <c:v>1511133</c:v>
                </c:pt>
                <c:pt idx="1193">
                  <c:v>1515892</c:v>
                </c:pt>
                <c:pt idx="1194">
                  <c:v>1516605</c:v>
                </c:pt>
                <c:pt idx="1195">
                  <c:v>1517009</c:v>
                </c:pt>
                <c:pt idx="1196">
                  <c:v>1522107</c:v>
                </c:pt>
                <c:pt idx="1197">
                  <c:v>1528232</c:v>
                </c:pt>
                <c:pt idx="1198">
                  <c:v>1534500</c:v>
                </c:pt>
                <c:pt idx="1199">
                  <c:v>1540015</c:v>
                </c:pt>
                <c:pt idx="1200">
                  <c:v>1544587</c:v>
                </c:pt>
                <c:pt idx="1201">
                  <c:v>1545280</c:v>
                </c:pt>
                <c:pt idx="1202">
                  <c:v>1545789</c:v>
                </c:pt>
                <c:pt idx="1203">
                  <c:v>1550197</c:v>
                </c:pt>
                <c:pt idx="1204">
                  <c:v>1554360</c:v>
                </c:pt>
                <c:pt idx="1205">
                  <c:v>1555746</c:v>
                </c:pt>
                <c:pt idx="1206">
                  <c:v>1551616</c:v>
                </c:pt>
                <c:pt idx="1207">
                  <c:v>1546475</c:v>
                </c:pt>
                <c:pt idx="1208">
                  <c:v>1546434</c:v>
                </c:pt>
                <c:pt idx="1209">
                  <c:v>1546726</c:v>
                </c:pt>
                <c:pt idx="1210">
                  <c:v>1553061</c:v>
                </c:pt>
                <c:pt idx="1211">
                  <c:v>1558650</c:v>
                </c:pt>
                <c:pt idx="1212">
                  <c:v>1564781</c:v>
                </c:pt>
                <c:pt idx="1213">
                  <c:v>1572618</c:v>
                </c:pt>
                <c:pt idx="1214">
                  <c:v>1578006</c:v>
                </c:pt>
                <c:pt idx="1215">
                  <c:v>1578680</c:v>
                </c:pt>
                <c:pt idx="1216">
                  <c:v>1578863</c:v>
                </c:pt>
                <c:pt idx="1217">
                  <c:v>1584321</c:v>
                </c:pt>
                <c:pt idx="1218">
                  <c:v>1590527</c:v>
                </c:pt>
                <c:pt idx="1219">
                  <c:v>1595789</c:v>
                </c:pt>
                <c:pt idx="1220">
                  <c:v>1594851</c:v>
                </c:pt>
                <c:pt idx="1221">
                  <c:v>1595663</c:v>
                </c:pt>
                <c:pt idx="1222">
                  <c:v>1595605</c:v>
                </c:pt>
                <c:pt idx="1223">
                  <c:v>1595834</c:v>
                </c:pt>
                <c:pt idx="1224">
                  <c:v>1601623</c:v>
                </c:pt>
                <c:pt idx="1225">
                  <c:v>1605276</c:v>
                </c:pt>
                <c:pt idx="1226">
                  <c:v>1608093</c:v>
                </c:pt>
                <c:pt idx="1227">
                  <c:v>1611042</c:v>
                </c:pt>
                <c:pt idx="1228">
                  <c:v>1611258</c:v>
                </c:pt>
                <c:pt idx="1229">
                  <c:v>1611126</c:v>
                </c:pt>
                <c:pt idx="1230">
                  <c:v>1610970</c:v>
                </c:pt>
                <c:pt idx="1231">
                  <c:v>1614022</c:v>
                </c:pt>
                <c:pt idx="1232">
                  <c:v>1617006</c:v>
                </c:pt>
                <c:pt idx="1233">
                  <c:v>1620840</c:v>
                </c:pt>
                <c:pt idx="1234">
                  <c:v>1626547</c:v>
                </c:pt>
                <c:pt idx="1235">
                  <c:v>1627623</c:v>
                </c:pt>
                <c:pt idx="1236">
                  <c:v>1627110</c:v>
                </c:pt>
                <c:pt idx="1237">
                  <c:v>1625507</c:v>
                </c:pt>
                <c:pt idx="1238">
                  <c:v>1600710</c:v>
                </c:pt>
                <c:pt idx="1239">
                  <c:v>1569624</c:v>
                </c:pt>
                <c:pt idx="1240">
                  <c:v>1545016</c:v>
                </c:pt>
                <c:pt idx="1241">
                  <c:v>1523749</c:v>
                </c:pt>
                <c:pt idx="1242">
                  <c:v>1505492</c:v>
                </c:pt>
                <c:pt idx="1243">
                  <c:v>1503746</c:v>
                </c:pt>
                <c:pt idx="1244">
                  <c:v>1501418</c:v>
                </c:pt>
                <c:pt idx="1245">
                  <c:v>1470993</c:v>
                </c:pt>
                <c:pt idx="1246">
                  <c:v>1432708</c:v>
                </c:pt>
                <c:pt idx="1247">
                  <c:v>1421539</c:v>
                </c:pt>
                <c:pt idx="1248">
                  <c:v>1420700</c:v>
                </c:pt>
                <c:pt idx="1249">
                  <c:v>1417163</c:v>
                </c:pt>
                <c:pt idx="1250">
                  <c:v>1416412</c:v>
                </c:pt>
                <c:pt idx="1251">
                  <c:v>1415874</c:v>
                </c:pt>
                <c:pt idx="1252">
                  <c:v>1420470</c:v>
                </c:pt>
                <c:pt idx="1253">
                  <c:v>1427314</c:v>
                </c:pt>
                <c:pt idx="1254">
                  <c:v>1433041</c:v>
                </c:pt>
                <c:pt idx="1255">
                  <c:v>1438260</c:v>
                </c:pt>
                <c:pt idx="1256">
                  <c:v>1443931</c:v>
                </c:pt>
                <c:pt idx="1257">
                  <c:v>1443985</c:v>
                </c:pt>
                <c:pt idx="1258">
                  <c:v>1444202</c:v>
                </c:pt>
                <c:pt idx="1259">
                  <c:v>1454429</c:v>
                </c:pt>
                <c:pt idx="1260">
                  <c:v>1462645</c:v>
                </c:pt>
                <c:pt idx="1261">
                  <c:v>1473210</c:v>
                </c:pt>
                <c:pt idx="1262">
                  <c:v>1484790</c:v>
                </c:pt>
                <c:pt idx="1263">
                  <c:v>1498164</c:v>
                </c:pt>
                <c:pt idx="1264">
                  <c:v>1499887</c:v>
                </c:pt>
                <c:pt idx="1265">
                  <c:v>1502679</c:v>
                </c:pt>
                <c:pt idx="1266">
                  <c:v>1536370</c:v>
                </c:pt>
                <c:pt idx="1267">
                  <c:v>1579079</c:v>
                </c:pt>
                <c:pt idx="1268">
                  <c:v>1613120</c:v>
                </c:pt>
                <c:pt idx="1269">
                  <c:v>1641161</c:v>
                </c:pt>
                <c:pt idx="1270">
                  <c:v>1663208</c:v>
                </c:pt>
                <c:pt idx="1271">
                  <c:v>1664664</c:v>
                </c:pt>
                <c:pt idx="1272">
                  <c:v>1666772</c:v>
                </c:pt>
                <c:pt idx="1273">
                  <c:v>1699613</c:v>
                </c:pt>
                <c:pt idx="1274">
                  <c:v>1736961</c:v>
                </c:pt>
                <c:pt idx="1275">
                  <c:v>1755667</c:v>
                </c:pt>
                <c:pt idx="1276">
                  <c:v>1771116</c:v>
                </c:pt>
                <c:pt idx="1277">
                  <c:v>1781854</c:v>
                </c:pt>
                <c:pt idx="1278">
                  <c:v>1783373</c:v>
                </c:pt>
                <c:pt idx="1279">
                  <c:v>1783919</c:v>
                </c:pt>
                <c:pt idx="1280">
                  <c:v>1791800</c:v>
                </c:pt>
                <c:pt idx="1281">
                  <c:v>1799709</c:v>
                </c:pt>
                <c:pt idx="1282">
                  <c:v>1808120</c:v>
                </c:pt>
                <c:pt idx="1283">
                  <c:v>1815817</c:v>
                </c:pt>
                <c:pt idx="1284">
                  <c:v>1821474</c:v>
                </c:pt>
                <c:pt idx="1285">
                  <c:v>1822950</c:v>
                </c:pt>
                <c:pt idx="1286">
                  <c:v>1824368</c:v>
                </c:pt>
                <c:pt idx="1287">
                  <c:v>1835015</c:v>
                </c:pt>
                <c:pt idx="1288">
                  <c:v>1846782</c:v>
                </c:pt>
                <c:pt idx="1289">
                  <c:v>1855849</c:v>
                </c:pt>
                <c:pt idx="1290">
                  <c:v>1863912</c:v>
                </c:pt>
                <c:pt idx="1291">
                  <c:v>1870160</c:v>
                </c:pt>
                <c:pt idx="1292">
                  <c:v>1870848</c:v>
                </c:pt>
                <c:pt idx="1293">
                  <c:v>1871954</c:v>
                </c:pt>
                <c:pt idx="1294">
                  <c:v>1881864</c:v>
                </c:pt>
                <c:pt idx="1295">
                  <c:v>1892205</c:v>
                </c:pt>
                <c:pt idx="1296">
                  <c:v>1901840</c:v>
                </c:pt>
                <c:pt idx="1297">
                  <c:v>1911196</c:v>
                </c:pt>
                <c:pt idx="1298">
                  <c:v>1916731</c:v>
                </c:pt>
                <c:pt idx="1299">
                  <c:v>1917903</c:v>
                </c:pt>
                <c:pt idx="1300">
                  <c:v>1919325</c:v>
                </c:pt>
                <c:pt idx="1301">
                  <c:v>1930097</c:v>
                </c:pt>
                <c:pt idx="1302">
                  <c:v>1939818</c:v>
                </c:pt>
                <c:pt idx="1303">
                  <c:v>1948158</c:v>
                </c:pt>
                <c:pt idx="1304">
                  <c:v>1953796</c:v>
                </c:pt>
                <c:pt idx="1305">
                  <c:v>1958262</c:v>
                </c:pt>
                <c:pt idx="1306">
                  <c:v>1958626</c:v>
                </c:pt>
                <c:pt idx="1307">
                  <c:v>1959612</c:v>
                </c:pt>
                <c:pt idx="1308">
                  <c:v>1967475</c:v>
                </c:pt>
                <c:pt idx="1309">
                  <c:v>1975857</c:v>
                </c:pt>
                <c:pt idx="1310">
                  <c:v>1984260</c:v>
                </c:pt>
                <c:pt idx="1311">
                  <c:v>1992283</c:v>
                </c:pt>
                <c:pt idx="1312">
                  <c:v>1996908</c:v>
                </c:pt>
                <c:pt idx="1313">
                  <c:v>1997485</c:v>
                </c:pt>
                <c:pt idx="1314">
                  <c:v>1998032</c:v>
                </c:pt>
                <c:pt idx="1315">
                  <c:v>2006037</c:v>
                </c:pt>
                <c:pt idx="1316">
                  <c:v>2014429</c:v>
                </c:pt>
                <c:pt idx="1317">
                  <c:v>2022122</c:v>
                </c:pt>
                <c:pt idx="1318">
                  <c:v>2028555</c:v>
                </c:pt>
                <c:pt idx="1319">
                  <c:v>2032705</c:v>
                </c:pt>
                <c:pt idx="1320">
                  <c:v>2033131</c:v>
                </c:pt>
                <c:pt idx="1321">
                  <c:v>2033471</c:v>
                </c:pt>
                <c:pt idx="1322">
                  <c:v>2043853</c:v>
                </c:pt>
                <c:pt idx="1323">
                  <c:v>2052878</c:v>
                </c:pt>
                <c:pt idx="1324">
                  <c:v>2059814</c:v>
                </c:pt>
                <c:pt idx="1325">
                  <c:v>2064439</c:v>
                </c:pt>
                <c:pt idx="1326">
                  <c:v>2068630</c:v>
                </c:pt>
                <c:pt idx="1327">
                  <c:v>2068475</c:v>
                </c:pt>
                <c:pt idx="1328">
                  <c:v>2068612</c:v>
                </c:pt>
                <c:pt idx="1329">
                  <c:v>2076375</c:v>
                </c:pt>
                <c:pt idx="1330">
                  <c:v>2083725</c:v>
                </c:pt>
                <c:pt idx="1331">
                  <c:v>2089504</c:v>
                </c:pt>
                <c:pt idx="1332">
                  <c:v>2095726</c:v>
                </c:pt>
                <c:pt idx="1333">
                  <c:v>2098800</c:v>
                </c:pt>
                <c:pt idx="1334">
                  <c:v>2098883</c:v>
                </c:pt>
                <c:pt idx="1335">
                  <c:v>2098998</c:v>
                </c:pt>
                <c:pt idx="1336">
                  <c:v>2110485</c:v>
                </c:pt>
                <c:pt idx="1337">
                  <c:v>2122655</c:v>
                </c:pt>
                <c:pt idx="1338">
                  <c:v>2131386</c:v>
                </c:pt>
                <c:pt idx="1339">
                  <c:v>2139594</c:v>
                </c:pt>
                <c:pt idx="1340">
                  <c:v>2144917</c:v>
                </c:pt>
                <c:pt idx="1341">
                  <c:v>2144838</c:v>
                </c:pt>
                <c:pt idx="1342">
                  <c:v>2144862</c:v>
                </c:pt>
                <c:pt idx="1343">
                  <c:v>2155442</c:v>
                </c:pt>
                <c:pt idx="1344">
                  <c:v>2164174</c:v>
                </c:pt>
                <c:pt idx="1345">
                  <c:v>2173328</c:v>
                </c:pt>
                <c:pt idx="1346">
                  <c:v>2180983</c:v>
                </c:pt>
                <c:pt idx="1347">
                  <c:v>2185672</c:v>
                </c:pt>
                <c:pt idx="1348">
                  <c:v>2185644</c:v>
                </c:pt>
                <c:pt idx="1349">
                  <c:v>2185802</c:v>
                </c:pt>
                <c:pt idx="1350">
                  <c:v>2192451</c:v>
                </c:pt>
                <c:pt idx="1351">
                  <c:v>2196831</c:v>
                </c:pt>
                <c:pt idx="1352">
                  <c:v>2200785</c:v>
                </c:pt>
                <c:pt idx="1353">
                  <c:v>2198635</c:v>
                </c:pt>
                <c:pt idx="1354">
                  <c:v>2182837</c:v>
                </c:pt>
                <c:pt idx="1355">
                  <c:v>2181573</c:v>
                </c:pt>
                <c:pt idx="1356">
                  <c:v>2179813</c:v>
                </c:pt>
                <c:pt idx="1357">
                  <c:v>2170029</c:v>
                </c:pt>
                <c:pt idx="1358">
                  <c:v>2175146</c:v>
                </c:pt>
                <c:pt idx="1359">
                  <c:v>2180814</c:v>
                </c:pt>
                <c:pt idx="1360">
                  <c:v>2183695</c:v>
                </c:pt>
                <c:pt idx="1361">
                  <c:v>2185059</c:v>
                </c:pt>
                <c:pt idx="1362">
                  <c:v>2184838</c:v>
                </c:pt>
                <c:pt idx="1363">
                  <c:v>2184909</c:v>
                </c:pt>
                <c:pt idx="1364">
                  <c:v>2188839</c:v>
                </c:pt>
                <c:pt idx="1365">
                  <c:v>2190531</c:v>
                </c:pt>
                <c:pt idx="1366">
                  <c:v>2175494</c:v>
                </c:pt>
                <c:pt idx="1367">
                  <c:v>2180857</c:v>
                </c:pt>
                <c:pt idx="1368">
                  <c:v>2183086</c:v>
                </c:pt>
                <c:pt idx="1369">
                  <c:v>2183018</c:v>
                </c:pt>
                <c:pt idx="1370">
                  <c:v>2183318</c:v>
                </c:pt>
                <c:pt idx="1371">
                  <c:v>2186114</c:v>
                </c:pt>
                <c:pt idx="1372">
                  <c:v>2190870</c:v>
                </c:pt>
                <c:pt idx="1373">
                  <c:v>2197652</c:v>
                </c:pt>
                <c:pt idx="1374">
                  <c:v>2203331</c:v>
                </c:pt>
                <c:pt idx="1375">
                  <c:v>2206736</c:v>
                </c:pt>
                <c:pt idx="1376">
                  <c:v>2206607</c:v>
                </c:pt>
                <c:pt idx="1377">
                  <c:v>2206077</c:v>
                </c:pt>
                <c:pt idx="1378">
                  <c:v>2216227</c:v>
                </c:pt>
                <c:pt idx="1379">
                  <c:v>2229351</c:v>
                </c:pt>
                <c:pt idx="1380">
                  <c:v>2239335</c:v>
                </c:pt>
                <c:pt idx="1381">
                  <c:v>2254135</c:v>
                </c:pt>
                <c:pt idx="1382">
                  <c:v>2277583</c:v>
                </c:pt>
                <c:pt idx="1383">
                  <c:v>2278694</c:v>
                </c:pt>
                <c:pt idx="1384">
                  <c:v>2280743</c:v>
                </c:pt>
                <c:pt idx="1385">
                  <c:v>2302825</c:v>
                </c:pt>
                <c:pt idx="1386">
                  <c:v>2314030</c:v>
                </c:pt>
                <c:pt idx="1387">
                  <c:v>2324029</c:v>
                </c:pt>
                <c:pt idx="1388">
                  <c:v>2333281</c:v>
                </c:pt>
                <c:pt idx="1389">
                  <c:v>2336281</c:v>
                </c:pt>
                <c:pt idx="1390">
                  <c:v>2335760</c:v>
                </c:pt>
                <c:pt idx="1391">
                  <c:v>2334877</c:v>
                </c:pt>
                <c:pt idx="1392">
                  <c:v>2325093</c:v>
                </c:pt>
                <c:pt idx="1393">
                  <c:v>2331190</c:v>
                </c:pt>
                <c:pt idx="1394">
                  <c:v>2348362</c:v>
                </c:pt>
                <c:pt idx="1395">
                  <c:v>2346958</c:v>
                </c:pt>
                <c:pt idx="1396">
                  <c:v>2345399</c:v>
                </c:pt>
                <c:pt idx="1397">
                  <c:v>2344935</c:v>
                </c:pt>
                <c:pt idx="1398">
                  <c:v>2344006</c:v>
                </c:pt>
                <c:pt idx="1399">
                  <c:v>2354390</c:v>
                </c:pt>
                <c:pt idx="1400">
                  <c:v>2360710</c:v>
                </c:pt>
                <c:pt idx="1401">
                  <c:v>2366422</c:v>
                </c:pt>
                <c:pt idx="1402">
                  <c:v>2370915</c:v>
                </c:pt>
                <c:pt idx="1403">
                  <c:v>2372154</c:v>
                </c:pt>
                <c:pt idx="1404">
                  <c:v>2372173</c:v>
                </c:pt>
                <c:pt idx="1405">
                  <c:v>2372489</c:v>
                </c:pt>
                <c:pt idx="1406">
                  <c:v>2372337</c:v>
                </c:pt>
                <c:pt idx="1407">
                  <c:v>2379330</c:v>
                </c:pt>
                <c:pt idx="1408">
                  <c:v>2386776</c:v>
                </c:pt>
                <c:pt idx="1409">
                  <c:v>2392607</c:v>
                </c:pt>
                <c:pt idx="1410">
                  <c:v>2396014</c:v>
                </c:pt>
                <c:pt idx="1411">
                  <c:v>2396181</c:v>
                </c:pt>
                <c:pt idx="1412">
                  <c:v>2396177</c:v>
                </c:pt>
                <c:pt idx="1413">
                  <c:v>2406109</c:v>
                </c:pt>
                <c:pt idx="1414">
                  <c:v>2414833</c:v>
                </c:pt>
                <c:pt idx="1415">
                  <c:v>2419122</c:v>
                </c:pt>
                <c:pt idx="1416">
                  <c:v>2420797</c:v>
                </c:pt>
                <c:pt idx="1417">
                  <c:v>2421624</c:v>
                </c:pt>
                <c:pt idx="1418">
                  <c:v>2421395</c:v>
                </c:pt>
                <c:pt idx="1419">
                  <c:v>2421947</c:v>
                </c:pt>
                <c:pt idx="1420">
                  <c:v>2443309</c:v>
                </c:pt>
                <c:pt idx="1421">
                  <c:v>2450465</c:v>
                </c:pt>
                <c:pt idx="1422">
                  <c:v>2457852</c:v>
                </c:pt>
                <c:pt idx="1423">
                  <c:v>2469935</c:v>
                </c:pt>
                <c:pt idx="1424">
                  <c:v>2474214</c:v>
                </c:pt>
                <c:pt idx="1425">
                  <c:v>2474447</c:v>
                </c:pt>
                <c:pt idx="1426">
                  <c:v>2474963</c:v>
                </c:pt>
                <c:pt idx="1427">
                  <c:v>2480730</c:v>
                </c:pt>
                <c:pt idx="1428">
                  <c:v>2479539</c:v>
                </c:pt>
                <c:pt idx="1429">
                  <c:v>2487645</c:v>
                </c:pt>
                <c:pt idx="1430">
                  <c:v>2480374</c:v>
                </c:pt>
                <c:pt idx="1431">
                  <c:v>2475879</c:v>
                </c:pt>
                <c:pt idx="1432">
                  <c:v>2475662</c:v>
                </c:pt>
                <c:pt idx="1433">
                  <c:v>2475940</c:v>
                </c:pt>
                <c:pt idx="1434">
                  <c:v>2488543</c:v>
                </c:pt>
                <c:pt idx="1435">
                  <c:v>2494275</c:v>
                </c:pt>
                <c:pt idx="1436">
                  <c:v>2499124</c:v>
                </c:pt>
                <c:pt idx="1437">
                  <c:v>2501746</c:v>
                </c:pt>
                <c:pt idx="1438">
                  <c:v>2502736</c:v>
                </c:pt>
                <c:pt idx="1439">
                  <c:v>2502260</c:v>
                </c:pt>
                <c:pt idx="1440">
                  <c:v>2502129</c:v>
                </c:pt>
                <c:pt idx="1441">
                  <c:v>2505292</c:v>
                </c:pt>
                <c:pt idx="1442">
                  <c:v>2508675</c:v>
                </c:pt>
                <c:pt idx="1443">
                  <c:v>2512960</c:v>
                </c:pt>
                <c:pt idx="1444">
                  <c:v>2517452</c:v>
                </c:pt>
                <c:pt idx="1445">
                  <c:v>2521030</c:v>
                </c:pt>
                <c:pt idx="1446">
                  <c:v>2521156</c:v>
                </c:pt>
                <c:pt idx="1447">
                  <c:v>2521311</c:v>
                </c:pt>
                <c:pt idx="1448">
                  <c:v>2527990</c:v>
                </c:pt>
                <c:pt idx="1449">
                  <c:v>2528194</c:v>
                </c:pt>
                <c:pt idx="1450">
                  <c:v>2530240</c:v>
                </c:pt>
                <c:pt idx="1451">
                  <c:v>2533077</c:v>
                </c:pt>
                <c:pt idx="1452">
                  <c:v>2529838</c:v>
                </c:pt>
                <c:pt idx="1453">
                  <c:v>2528888</c:v>
                </c:pt>
                <c:pt idx="1454">
                  <c:v>2528442</c:v>
                </c:pt>
                <c:pt idx="1455">
                  <c:v>2533148</c:v>
                </c:pt>
                <c:pt idx="1456">
                  <c:v>2539938</c:v>
                </c:pt>
                <c:pt idx="1457">
                  <c:v>2542785</c:v>
                </c:pt>
                <c:pt idx="1458">
                  <c:v>2560840</c:v>
                </c:pt>
                <c:pt idx="1459">
                  <c:v>2566987</c:v>
                </c:pt>
                <c:pt idx="1460">
                  <c:v>2567584</c:v>
                </c:pt>
                <c:pt idx="1461">
                  <c:v>2567510</c:v>
                </c:pt>
                <c:pt idx="1462">
                  <c:v>2575583</c:v>
                </c:pt>
                <c:pt idx="1463">
                  <c:v>2579028</c:v>
                </c:pt>
                <c:pt idx="1464">
                  <c:v>2587342</c:v>
                </c:pt>
                <c:pt idx="1465">
                  <c:v>2591120</c:v>
                </c:pt>
                <c:pt idx="1466">
                  <c:v>2591189</c:v>
                </c:pt>
                <c:pt idx="1467">
                  <c:v>2591327</c:v>
                </c:pt>
                <c:pt idx="1468">
                  <c:v>2590760</c:v>
                </c:pt>
                <c:pt idx="1469">
                  <c:v>2600248</c:v>
                </c:pt>
                <c:pt idx="1470">
                  <c:v>2609139</c:v>
                </c:pt>
                <c:pt idx="1471">
                  <c:v>2614155</c:v>
                </c:pt>
                <c:pt idx="1472">
                  <c:v>2612128</c:v>
                </c:pt>
                <c:pt idx="1473">
                  <c:v>2612196</c:v>
                </c:pt>
                <c:pt idx="1474">
                  <c:v>2612266</c:v>
                </c:pt>
                <c:pt idx="1475">
                  <c:v>2612744</c:v>
                </c:pt>
                <c:pt idx="1476">
                  <c:v>2625861</c:v>
                </c:pt>
                <c:pt idx="1477">
                  <c:v>2635957</c:v>
                </c:pt>
                <c:pt idx="1478">
                  <c:v>2645875</c:v>
                </c:pt>
                <c:pt idx="1479">
                  <c:v>2654654</c:v>
                </c:pt>
                <c:pt idx="1480">
                  <c:v>2658992</c:v>
                </c:pt>
                <c:pt idx="1481">
                  <c:v>2659453</c:v>
                </c:pt>
                <c:pt idx="1482">
                  <c:v>2660117</c:v>
                </c:pt>
                <c:pt idx="1483">
                  <c:v>2668138</c:v>
                </c:pt>
                <c:pt idx="1484">
                  <c:v>2678607</c:v>
                </c:pt>
                <c:pt idx="1485">
                  <c:v>2684714</c:v>
                </c:pt>
                <c:pt idx="1486">
                  <c:v>2688803</c:v>
                </c:pt>
                <c:pt idx="1487">
                  <c:v>2689093</c:v>
                </c:pt>
                <c:pt idx="1488">
                  <c:v>2685747</c:v>
                </c:pt>
                <c:pt idx="1489">
                  <c:v>2689697</c:v>
                </c:pt>
                <c:pt idx="1490">
                  <c:v>2687272</c:v>
                </c:pt>
                <c:pt idx="1491">
                  <c:v>2700873</c:v>
                </c:pt>
                <c:pt idx="1492">
                  <c:v>2713909</c:v>
                </c:pt>
                <c:pt idx="1493">
                  <c:v>2724804</c:v>
                </c:pt>
                <c:pt idx="1494">
                  <c:v>2735589</c:v>
                </c:pt>
                <c:pt idx="1495">
                  <c:v>2736586</c:v>
                </c:pt>
                <c:pt idx="1496">
                  <c:v>2738622</c:v>
                </c:pt>
                <c:pt idx="1497">
                  <c:v>2758995</c:v>
                </c:pt>
                <c:pt idx="1498">
                  <c:v>2779793</c:v>
                </c:pt>
                <c:pt idx="1499">
                  <c:v>2796716</c:v>
                </c:pt>
                <c:pt idx="1500">
                  <c:v>2816990</c:v>
                </c:pt>
                <c:pt idx="1501">
                  <c:v>2828396</c:v>
                </c:pt>
                <c:pt idx="1502">
                  <c:v>2829594</c:v>
                </c:pt>
                <c:pt idx="1503">
                  <c:v>2830751</c:v>
                </c:pt>
                <c:pt idx="1504">
                  <c:v>2846498</c:v>
                </c:pt>
                <c:pt idx="1505">
                  <c:v>2862703</c:v>
                </c:pt>
                <c:pt idx="1506">
                  <c:v>2877221</c:v>
                </c:pt>
                <c:pt idx="1507">
                  <c:v>2889294</c:v>
                </c:pt>
                <c:pt idx="1508">
                  <c:v>2897026</c:v>
                </c:pt>
                <c:pt idx="1509">
                  <c:v>2897715</c:v>
                </c:pt>
                <c:pt idx="1510">
                  <c:v>2898885</c:v>
                </c:pt>
                <c:pt idx="1511">
                  <c:v>2914562</c:v>
                </c:pt>
                <c:pt idx="1512">
                  <c:v>2928653</c:v>
                </c:pt>
                <c:pt idx="1513">
                  <c:v>2941913</c:v>
                </c:pt>
                <c:pt idx="1514">
                  <c:v>2954271</c:v>
                </c:pt>
                <c:pt idx="1515">
                  <c:v>2963392</c:v>
                </c:pt>
                <c:pt idx="1516">
                  <c:v>2964664</c:v>
                </c:pt>
                <c:pt idx="1517">
                  <c:v>2966377</c:v>
                </c:pt>
                <c:pt idx="1518">
                  <c:v>2991739</c:v>
                </c:pt>
                <c:pt idx="1519">
                  <c:v>3005608</c:v>
                </c:pt>
                <c:pt idx="1520">
                  <c:v>3014864</c:v>
                </c:pt>
                <c:pt idx="1521">
                  <c:v>3023742</c:v>
                </c:pt>
                <c:pt idx="1522">
                  <c:v>3027631</c:v>
                </c:pt>
                <c:pt idx="1523">
                  <c:v>3028206</c:v>
                </c:pt>
                <c:pt idx="1524">
                  <c:v>3028969</c:v>
                </c:pt>
                <c:pt idx="1525">
                  <c:v>3037635</c:v>
                </c:pt>
                <c:pt idx="1526">
                  <c:v>3044618</c:v>
                </c:pt>
                <c:pt idx="1527">
                  <c:v>3054386</c:v>
                </c:pt>
                <c:pt idx="1528">
                  <c:v>3062747</c:v>
                </c:pt>
                <c:pt idx="1529">
                  <c:v>3068761</c:v>
                </c:pt>
                <c:pt idx="1530">
                  <c:v>3069220</c:v>
                </c:pt>
                <c:pt idx="1531">
                  <c:v>3069904</c:v>
                </c:pt>
                <c:pt idx="1532">
                  <c:v>3075939</c:v>
                </c:pt>
                <c:pt idx="1533">
                  <c:v>3086525</c:v>
                </c:pt>
                <c:pt idx="1534">
                  <c:v>3094095</c:v>
                </c:pt>
                <c:pt idx="1535">
                  <c:v>3101258</c:v>
                </c:pt>
                <c:pt idx="1536">
                  <c:v>3106763</c:v>
                </c:pt>
                <c:pt idx="1537">
                  <c:v>3107198</c:v>
                </c:pt>
                <c:pt idx="1538">
                  <c:v>3108239</c:v>
                </c:pt>
                <c:pt idx="1539">
                  <c:v>3118971</c:v>
                </c:pt>
                <c:pt idx="1540">
                  <c:v>3127445</c:v>
                </c:pt>
                <c:pt idx="1541">
                  <c:v>3137000</c:v>
                </c:pt>
                <c:pt idx="1542">
                  <c:v>3143312</c:v>
                </c:pt>
                <c:pt idx="1543">
                  <c:v>3146307</c:v>
                </c:pt>
                <c:pt idx="1544">
                  <c:v>3146190</c:v>
                </c:pt>
                <c:pt idx="1545">
                  <c:v>3145882</c:v>
                </c:pt>
                <c:pt idx="1546">
                  <c:v>3151603</c:v>
                </c:pt>
                <c:pt idx="1547">
                  <c:v>3158242</c:v>
                </c:pt>
                <c:pt idx="1548">
                  <c:v>3166821</c:v>
                </c:pt>
                <c:pt idx="1549">
                  <c:v>3169338</c:v>
                </c:pt>
                <c:pt idx="1550">
                  <c:v>3165652</c:v>
                </c:pt>
                <c:pt idx="1551">
                  <c:v>3165945</c:v>
                </c:pt>
                <c:pt idx="1552">
                  <c:v>3166668</c:v>
                </c:pt>
                <c:pt idx="1553">
                  <c:v>3176492</c:v>
                </c:pt>
                <c:pt idx="1554">
                  <c:v>3189904</c:v>
                </c:pt>
                <c:pt idx="1555">
                  <c:v>3200203</c:v>
                </c:pt>
                <c:pt idx="1556">
                  <c:v>3208416</c:v>
                </c:pt>
                <c:pt idx="1557">
                  <c:v>3214351</c:v>
                </c:pt>
                <c:pt idx="1558">
                  <c:v>3214982</c:v>
                </c:pt>
                <c:pt idx="1559">
                  <c:v>3215173</c:v>
                </c:pt>
                <c:pt idx="1560">
                  <c:v>3221891</c:v>
                </c:pt>
                <c:pt idx="1561">
                  <c:v>3232396</c:v>
                </c:pt>
                <c:pt idx="1562">
                  <c:v>3243998</c:v>
                </c:pt>
                <c:pt idx="1563">
                  <c:v>3251460</c:v>
                </c:pt>
                <c:pt idx="1564">
                  <c:v>3253941</c:v>
                </c:pt>
                <c:pt idx="1565">
                  <c:v>3254513</c:v>
                </c:pt>
                <c:pt idx="1566">
                  <c:v>3255092</c:v>
                </c:pt>
                <c:pt idx="1567">
                  <c:v>3266744</c:v>
                </c:pt>
                <c:pt idx="1568">
                  <c:v>3279498</c:v>
                </c:pt>
                <c:pt idx="1569">
                  <c:v>3287291</c:v>
                </c:pt>
                <c:pt idx="1570">
                  <c:v>3296451</c:v>
                </c:pt>
                <c:pt idx="1571">
                  <c:v>3302286</c:v>
                </c:pt>
                <c:pt idx="1572">
                  <c:v>3303390</c:v>
                </c:pt>
                <c:pt idx="1573">
                  <c:v>3304538</c:v>
                </c:pt>
                <c:pt idx="1574">
                  <c:v>3312244</c:v>
                </c:pt>
                <c:pt idx="1575">
                  <c:v>3316794</c:v>
                </c:pt>
                <c:pt idx="1576">
                  <c:v>3313294</c:v>
                </c:pt>
                <c:pt idx="1577">
                  <c:v>3299311</c:v>
                </c:pt>
                <c:pt idx="1578">
                  <c:v>3292740</c:v>
                </c:pt>
                <c:pt idx="1579">
                  <c:v>3292444</c:v>
                </c:pt>
                <c:pt idx="1580">
                  <c:v>3291806</c:v>
                </c:pt>
                <c:pt idx="1581">
                  <c:v>3297746</c:v>
                </c:pt>
                <c:pt idx="1582">
                  <c:v>3301064</c:v>
                </c:pt>
                <c:pt idx="1583">
                  <c:v>3306061</c:v>
                </c:pt>
                <c:pt idx="1584">
                  <c:v>3308575</c:v>
                </c:pt>
                <c:pt idx="1585">
                  <c:v>3307233</c:v>
                </c:pt>
                <c:pt idx="1586">
                  <c:v>3306876</c:v>
                </c:pt>
                <c:pt idx="1587">
                  <c:v>3307266</c:v>
                </c:pt>
                <c:pt idx="1588">
                  <c:v>3322624</c:v>
                </c:pt>
                <c:pt idx="1589">
                  <c:v>3330970</c:v>
                </c:pt>
                <c:pt idx="1590">
                  <c:v>3326930</c:v>
                </c:pt>
                <c:pt idx="1591">
                  <c:v>3329545</c:v>
                </c:pt>
                <c:pt idx="1592">
                  <c:v>3328381</c:v>
                </c:pt>
                <c:pt idx="1593">
                  <c:v>3327747</c:v>
                </c:pt>
                <c:pt idx="1594">
                  <c:v>3326798</c:v>
                </c:pt>
                <c:pt idx="1595">
                  <c:v>3330774</c:v>
                </c:pt>
                <c:pt idx="1596">
                  <c:v>3330314</c:v>
                </c:pt>
                <c:pt idx="1597">
                  <c:v>3333667</c:v>
                </c:pt>
                <c:pt idx="1598">
                  <c:v>3330698</c:v>
                </c:pt>
                <c:pt idx="1599">
                  <c:v>3322417</c:v>
                </c:pt>
                <c:pt idx="1600">
                  <c:v>3321238</c:v>
                </c:pt>
                <c:pt idx="1601">
                  <c:v>3317616</c:v>
                </c:pt>
                <c:pt idx="1602">
                  <c:v>3290225</c:v>
                </c:pt>
                <c:pt idx="1603">
                  <c:v>3243133</c:v>
                </c:pt>
                <c:pt idx="1604">
                  <c:v>3191389</c:v>
                </c:pt>
                <c:pt idx="1605">
                  <c:v>3165913</c:v>
                </c:pt>
                <c:pt idx="1606">
                  <c:v>3146930</c:v>
                </c:pt>
                <c:pt idx="1607">
                  <c:v>3144446</c:v>
                </c:pt>
                <c:pt idx="1608">
                  <c:v>3140844</c:v>
                </c:pt>
                <c:pt idx="1609">
                  <c:v>3099910</c:v>
                </c:pt>
                <c:pt idx="1610">
                  <c:v>3043462</c:v>
                </c:pt>
                <c:pt idx="1611">
                  <c:v>2961850</c:v>
                </c:pt>
                <c:pt idx="1612">
                  <c:v>2903901</c:v>
                </c:pt>
                <c:pt idx="1613">
                  <c:v>2891760</c:v>
                </c:pt>
                <c:pt idx="1614">
                  <c:v>2890693</c:v>
                </c:pt>
                <c:pt idx="1615">
                  <c:v>2889529</c:v>
                </c:pt>
                <c:pt idx="1616">
                  <c:v>2893393</c:v>
                </c:pt>
                <c:pt idx="1617">
                  <c:v>2902953</c:v>
                </c:pt>
                <c:pt idx="1618">
                  <c:v>2924564</c:v>
                </c:pt>
                <c:pt idx="1619">
                  <c:v>2936224</c:v>
                </c:pt>
                <c:pt idx="1620">
                  <c:v>2951052</c:v>
                </c:pt>
                <c:pt idx="1621">
                  <c:v>2951366</c:v>
                </c:pt>
                <c:pt idx="1622">
                  <c:v>2952240</c:v>
                </c:pt>
                <c:pt idx="1623">
                  <c:v>2967890</c:v>
                </c:pt>
                <c:pt idx="1624">
                  <c:v>2984615</c:v>
                </c:pt>
                <c:pt idx="1625">
                  <c:v>2996599</c:v>
                </c:pt>
                <c:pt idx="1626">
                  <c:v>3011911</c:v>
                </c:pt>
                <c:pt idx="1627">
                  <c:v>3026300</c:v>
                </c:pt>
                <c:pt idx="1628">
                  <c:v>3027480</c:v>
                </c:pt>
                <c:pt idx="1629">
                  <c:v>3032595</c:v>
                </c:pt>
                <c:pt idx="1630">
                  <c:v>3078930</c:v>
                </c:pt>
                <c:pt idx="1631">
                  <c:v>3152224</c:v>
                </c:pt>
                <c:pt idx="1632">
                  <c:v>3231130</c:v>
                </c:pt>
                <c:pt idx="1633">
                  <c:v>3292517</c:v>
                </c:pt>
                <c:pt idx="1634">
                  <c:v>3329043</c:v>
                </c:pt>
                <c:pt idx="1635">
                  <c:v>3332039</c:v>
                </c:pt>
                <c:pt idx="1636">
                  <c:v>3337981</c:v>
                </c:pt>
                <c:pt idx="1637">
                  <c:v>3384708</c:v>
                </c:pt>
                <c:pt idx="1638">
                  <c:v>3452042</c:v>
                </c:pt>
                <c:pt idx="1639">
                  <c:v>3522636</c:v>
                </c:pt>
                <c:pt idx="1640">
                  <c:v>3578787</c:v>
                </c:pt>
                <c:pt idx="1641">
                  <c:v>3601431</c:v>
                </c:pt>
                <c:pt idx="1642">
                  <c:v>3603568</c:v>
                </c:pt>
                <c:pt idx="1643">
                  <c:v>3605969</c:v>
                </c:pt>
                <c:pt idx="1644">
                  <c:v>3627404</c:v>
                </c:pt>
                <c:pt idx="1645">
                  <c:v>3645884</c:v>
                </c:pt>
                <c:pt idx="1646">
                  <c:v>3658997</c:v>
                </c:pt>
                <c:pt idx="1647">
                  <c:v>3671081</c:v>
                </c:pt>
                <c:pt idx="1648">
                  <c:v>3679364</c:v>
                </c:pt>
                <c:pt idx="1649">
                  <c:v>3680787</c:v>
                </c:pt>
                <c:pt idx="1650">
                  <c:v>3683705</c:v>
                </c:pt>
                <c:pt idx="1651">
                  <c:v>3699457</c:v>
                </c:pt>
                <c:pt idx="1652">
                  <c:v>3717730</c:v>
                </c:pt>
                <c:pt idx="1653">
                  <c:v>3734602</c:v>
                </c:pt>
                <c:pt idx="1654">
                  <c:v>3747270</c:v>
                </c:pt>
                <c:pt idx="1655">
                  <c:v>3753905</c:v>
                </c:pt>
                <c:pt idx="1656">
                  <c:v>3755445</c:v>
                </c:pt>
                <c:pt idx="1657">
                  <c:v>3756870</c:v>
                </c:pt>
                <c:pt idx="1658">
                  <c:v>3770094</c:v>
                </c:pt>
                <c:pt idx="1659">
                  <c:v>3787115</c:v>
                </c:pt>
                <c:pt idx="1660">
                  <c:v>3808807</c:v>
                </c:pt>
                <c:pt idx="1661">
                  <c:v>3825215</c:v>
                </c:pt>
                <c:pt idx="1662">
                  <c:v>3835606</c:v>
                </c:pt>
                <c:pt idx="1663">
                  <c:v>3836954</c:v>
                </c:pt>
                <c:pt idx="1664">
                  <c:v>3839283</c:v>
                </c:pt>
                <c:pt idx="1665">
                  <c:v>3854425</c:v>
                </c:pt>
                <c:pt idx="1666">
                  <c:v>3896476</c:v>
                </c:pt>
                <c:pt idx="1667">
                  <c:v>3964315</c:v>
                </c:pt>
                <c:pt idx="1668">
                  <c:v>4017020</c:v>
                </c:pt>
                <c:pt idx="1669">
                  <c:v>4050164</c:v>
                </c:pt>
                <c:pt idx="1670">
                  <c:v>4055395</c:v>
                </c:pt>
                <c:pt idx="1671">
                  <c:v>4061526</c:v>
                </c:pt>
                <c:pt idx="1672">
                  <c:v>4082886</c:v>
                </c:pt>
                <c:pt idx="1673">
                  <c:v>4102767</c:v>
                </c:pt>
                <c:pt idx="1674">
                  <c:v>4135746</c:v>
                </c:pt>
                <c:pt idx="1675">
                  <c:v>4163328</c:v>
                </c:pt>
                <c:pt idx="1676">
                  <c:v>4180221</c:v>
                </c:pt>
                <c:pt idx="1677">
                  <c:v>4182433</c:v>
                </c:pt>
                <c:pt idx="1678">
                  <c:v>4183997</c:v>
                </c:pt>
                <c:pt idx="1679">
                  <c:v>4210171</c:v>
                </c:pt>
                <c:pt idx="1680">
                  <c:v>4234112</c:v>
                </c:pt>
                <c:pt idx="1681">
                  <c:v>4256333</c:v>
                </c:pt>
                <c:pt idx="1682">
                  <c:v>4268499</c:v>
                </c:pt>
                <c:pt idx="1683">
                  <c:v>4272663</c:v>
                </c:pt>
                <c:pt idx="1684">
                  <c:v>4274106</c:v>
                </c:pt>
                <c:pt idx="1685">
                  <c:v>4276626</c:v>
                </c:pt>
                <c:pt idx="1686">
                  <c:v>4287709</c:v>
                </c:pt>
                <c:pt idx="1687">
                  <c:v>4288942</c:v>
                </c:pt>
                <c:pt idx="1688">
                  <c:v>4286786</c:v>
                </c:pt>
                <c:pt idx="1689">
                  <c:v>4286011</c:v>
                </c:pt>
                <c:pt idx="1690">
                  <c:v>4285615</c:v>
                </c:pt>
                <c:pt idx="1691">
                  <c:v>4287589</c:v>
                </c:pt>
                <c:pt idx="1692">
                  <c:v>4290112</c:v>
                </c:pt>
                <c:pt idx="1693">
                  <c:v>4294785</c:v>
                </c:pt>
                <c:pt idx="1694">
                  <c:v>4271713</c:v>
                </c:pt>
                <c:pt idx="1695">
                  <c:v>4224346</c:v>
                </c:pt>
                <c:pt idx="1696">
                  <c:v>4188699</c:v>
                </c:pt>
                <c:pt idx="1697">
                  <c:v>4174562</c:v>
                </c:pt>
                <c:pt idx="1698">
                  <c:v>4173425</c:v>
                </c:pt>
                <c:pt idx="1699">
                  <c:v>4174149</c:v>
                </c:pt>
                <c:pt idx="1700">
                  <c:v>4177732</c:v>
                </c:pt>
                <c:pt idx="1701">
                  <c:v>4179450</c:v>
                </c:pt>
                <c:pt idx="1702">
                  <c:v>4166594</c:v>
                </c:pt>
                <c:pt idx="1703">
                  <c:v>4145432</c:v>
                </c:pt>
                <c:pt idx="1704">
                  <c:v>4130768</c:v>
                </c:pt>
                <c:pt idx="1705">
                  <c:v>4129954</c:v>
                </c:pt>
                <c:pt idx="1706">
                  <c:v>4128666</c:v>
                </c:pt>
                <c:pt idx="1707">
                  <c:v>4115439</c:v>
                </c:pt>
                <c:pt idx="1708">
                  <c:v>4093958</c:v>
                </c:pt>
                <c:pt idx="1709">
                  <c:v>4066298</c:v>
                </c:pt>
                <c:pt idx="1710">
                  <c:v>4033609</c:v>
                </c:pt>
                <c:pt idx="1711">
                  <c:v>3988983</c:v>
                </c:pt>
                <c:pt idx="1712">
                  <c:v>3984349</c:v>
                </c:pt>
                <c:pt idx="1713">
                  <c:v>3977390</c:v>
                </c:pt>
                <c:pt idx="1714">
                  <c:v>3946396</c:v>
                </c:pt>
                <c:pt idx="1715">
                  <c:v>3951911</c:v>
                </c:pt>
                <c:pt idx="1716">
                  <c:v>3956490</c:v>
                </c:pt>
                <c:pt idx="1717">
                  <c:v>3961578</c:v>
                </c:pt>
                <c:pt idx="1718">
                  <c:v>3964151</c:v>
                </c:pt>
                <c:pt idx="1719">
                  <c:v>3962885</c:v>
                </c:pt>
                <c:pt idx="1720">
                  <c:v>3959047</c:v>
                </c:pt>
                <c:pt idx="1721">
                  <c:v>3969729</c:v>
                </c:pt>
                <c:pt idx="1722">
                  <c:v>3975767</c:v>
                </c:pt>
                <c:pt idx="1723">
                  <c:v>3985273</c:v>
                </c:pt>
                <c:pt idx="1724">
                  <c:v>3987058</c:v>
                </c:pt>
                <c:pt idx="1725">
                  <c:v>3977581</c:v>
                </c:pt>
                <c:pt idx="1726">
                  <c:v>3974489</c:v>
                </c:pt>
                <c:pt idx="1727">
                  <c:v>3970044</c:v>
                </c:pt>
                <c:pt idx="1728">
                  <c:v>3962129</c:v>
                </c:pt>
                <c:pt idx="1729">
                  <c:v>3950551</c:v>
                </c:pt>
                <c:pt idx="1730">
                  <c:v>3947096</c:v>
                </c:pt>
                <c:pt idx="1731">
                  <c:v>3949841</c:v>
                </c:pt>
                <c:pt idx="1732">
                  <c:v>3928523</c:v>
                </c:pt>
                <c:pt idx="1733">
                  <c:v>3928476</c:v>
                </c:pt>
                <c:pt idx="1734">
                  <c:v>3928614</c:v>
                </c:pt>
                <c:pt idx="1735">
                  <c:v>3939855</c:v>
                </c:pt>
                <c:pt idx="1736">
                  <c:v>3950182</c:v>
                </c:pt>
                <c:pt idx="1737">
                  <c:v>3964671</c:v>
                </c:pt>
                <c:pt idx="1738">
                  <c:v>3984084</c:v>
                </c:pt>
                <c:pt idx="1739">
                  <c:v>4014651</c:v>
                </c:pt>
                <c:pt idx="1740">
                  <c:v>4017079</c:v>
                </c:pt>
                <c:pt idx="1741">
                  <c:v>4019295</c:v>
                </c:pt>
                <c:pt idx="1742">
                  <c:v>4059437</c:v>
                </c:pt>
                <c:pt idx="1743">
                  <c:v>4079221</c:v>
                </c:pt>
                <c:pt idx="1744">
                  <c:v>4096728</c:v>
                </c:pt>
                <c:pt idx="1745">
                  <c:v>4110541</c:v>
                </c:pt>
                <c:pt idx="1746">
                  <c:v>4116741</c:v>
                </c:pt>
                <c:pt idx="1747">
                  <c:v>4117168</c:v>
                </c:pt>
                <c:pt idx="1748">
                  <c:v>4117603</c:v>
                </c:pt>
                <c:pt idx="1749">
                  <c:v>4133569</c:v>
                </c:pt>
                <c:pt idx="1750">
                  <c:v>4151473</c:v>
                </c:pt>
                <c:pt idx="1751">
                  <c:v>4162719</c:v>
                </c:pt>
                <c:pt idx="1752">
                  <c:v>4161627</c:v>
                </c:pt>
                <c:pt idx="1753">
                  <c:v>4155812</c:v>
                </c:pt>
                <c:pt idx="1754">
                  <c:v>4155720</c:v>
                </c:pt>
                <c:pt idx="1755">
                  <c:v>4154097</c:v>
                </c:pt>
                <c:pt idx="1756">
                  <c:v>4135483</c:v>
                </c:pt>
                <c:pt idx="1757">
                  <c:v>4143762</c:v>
                </c:pt>
                <c:pt idx="1758">
                  <c:v>4155458</c:v>
                </c:pt>
                <c:pt idx="1759">
                  <c:v>4167394</c:v>
                </c:pt>
                <c:pt idx="1760">
                  <c:v>4193815</c:v>
                </c:pt>
                <c:pt idx="1761">
                  <c:v>4194537</c:v>
                </c:pt>
                <c:pt idx="1762">
                  <c:v>4195200</c:v>
                </c:pt>
                <c:pt idx="1763">
                  <c:v>4197097</c:v>
                </c:pt>
                <c:pt idx="1764">
                  <c:v>4215106</c:v>
                </c:pt>
                <c:pt idx="1765">
                  <c:v>4229194</c:v>
                </c:pt>
                <c:pt idx="1766">
                  <c:v>4242138</c:v>
                </c:pt>
                <c:pt idx="1767">
                  <c:v>4256047</c:v>
                </c:pt>
                <c:pt idx="1768">
                  <c:v>4255981</c:v>
                </c:pt>
                <c:pt idx="1769">
                  <c:v>4256782</c:v>
                </c:pt>
                <c:pt idx="1770">
                  <c:v>4269894</c:v>
                </c:pt>
                <c:pt idx="1771">
                  <c:v>4282414</c:v>
                </c:pt>
                <c:pt idx="1772">
                  <c:v>4292947</c:v>
                </c:pt>
                <c:pt idx="1773">
                  <c:v>4295219</c:v>
                </c:pt>
                <c:pt idx="1774">
                  <c:v>4297010</c:v>
                </c:pt>
                <c:pt idx="1775">
                  <c:v>4296552</c:v>
                </c:pt>
                <c:pt idx="1776">
                  <c:v>4296359</c:v>
                </c:pt>
                <c:pt idx="1777">
                  <c:v>4309284</c:v>
                </c:pt>
                <c:pt idx="1778">
                  <c:v>4322113</c:v>
                </c:pt>
                <c:pt idx="1779">
                  <c:v>4332918</c:v>
                </c:pt>
                <c:pt idx="1780">
                  <c:v>4354505</c:v>
                </c:pt>
                <c:pt idx="1781">
                  <c:v>4366280</c:v>
                </c:pt>
                <c:pt idx="1782">
                  <c:v>4366333</c:v>
                </c:pt>
                <c:pt idx="1783">
                  <c:v>4366895</c:v>
                </c:pt>
                <c:pt idx="1784">
                  <c:v>4408060</c:v>
                </c:pt>
                <c:pt idx="1785">
                  <c:v>4423062</c:v>
                </c:pt>
                <c:pt idx="1786">
                  <c:v>4428701</c:v>
                </c:pt>
                <c:pt idx="1787">
                  <c:v>4430477</c:v>
                </c:pt>
                <c:pt idx="1788">
                  <c:v>4426890</c:v>
                </c:pt>
                <c:pt idx="1789">
                  <c:v>4426154</c:v>
                </c:pt>
                <c:pt idx="1790">
                  <c:v>4425802</c:v>
                </c:pt>
                <c:pt idx="1791">
                  <c:v>4440410</c:v>
                </c:pt>
                <c:pt idx="1792">
                  <c:v>4445807</c:v>
                </c:pt>
                <c:pt idx="1793">
                  <c:v>4450530</c:v>
                </c:pt>
                <c:pt idx="1794">
                  <c:v>4450195</c:v>
                </c:pt>
                <c:pt idx="1795">
                  <c:v>4434505</c:v>
                </c:pt>
                <c:pt idx="1796">
                  <c:v>4433102</c:v>
                </c:pt>
                <c:pt idx="1797">
                  <c:v>4432043</c:v>
                </c:pt>
                <c:pt idx="1798">
                  <c:v>4437400</c:v>
                </c:pt>
                <c:pt idx="1799">
                  <c:v>4444434</c:v>
                </c:pt>
                <c:pt idx="1800">
                  <c:v>4448435</c:v>
                </c:pt>
                <c:pt idx="1801">
                  <c:v>4456418</c:v>
                </c:pt>
                <c:pt idx="1802">
                  <c:v>4458814</c:v>
                </c:pt>
                <c:pt idx="1803">
                  <c:v>4458348</c:v>
                </c:pt>
                <c:pt idx="1804">
                  <c:v>4459875</c:v>
                </c:pt>
                <c:pt idx="1805">
                  <c:v>4464331</c:v>
                </c:pt>
                <c:pt idx="1806">
                  <c:v>4467172</c:v>
                </c:pt>
                <c:pt idx="1807">
                  <c:v>4470827</c:v>
                </c:pt>
                <c:pt idx="1808">
                  <c:v>4470444</c:v>
                </c:pt>
                <c:pt idx="1809">
                  <c:v>4472291</c:v>
                </c:pt>
                <c:pt idx="1810">
                  <c:v>4472053</c:v>
                </c:pt>
                <c:pt idx="1811">
                  <c:v>4472387</c:v>
                </c:pt>
                <c:pt idx="1812">
                  <c:v>4478142</c:v>
                </c:pt>
                <c:pt idx="1813">
                  <c:v>4477017</c:v>
                </c:pt>
                <c:pt idx="1814">
                  <c:v>4481412</c:v>
                </c:pt>
                <c:pt idx="1815">
                  <c:v>4480025</c:v>
                </c:pt>
                <c:pt idx="1816">
                  <c:v>4475484</c:v>
                </c:pt>
                <c:pt idx="1817">
                  <c:v>4473660</c:v>
                </c:pt>
                <c:pt idx="1818">
                  <c:v>4471363</c:v>
                </c:pt>
                <c:pt idx="1819">
                  <c:v>4468491</c:v>
                </c:pt>
                <c:pt idx="1820">
                  <c:v>4459094</c:v>
                </c:pt>
                <c:pt idx="1821">
                  <c:v>4448795</c:v>
                </c:pt>
                <c:pt idx="1822">
                  <c:v>4436991</c:v>
                </c:pt>
                <c:pt idx="1823">
                  <c:v>4431210</c:v>
                </c:pt>
                <c:pt idx="1824">
                  <c:v>4430691</c:v>
                </c:pt>
                <c:pt idx="1825">
                  <c:v>4428762</c:v>
                </c:pt>
                <c:pt idx="1826">
                  <c:v>4431183</c:v>
                </c:pt>
                <c:pt idx="1827">
                  <c:v>4427367</c:v>
                </c:pt>
                <c:pt idx="1828">
                  <c:v>4417955</c:v>
                </c:pt>
                <c:pt idx="1829">
                  <c:v>4406688</c:v>
                </c:pt>
                <c:pt idx="1830">
                  <c:v>4391058</c:v>
                </c:pt>
                <c:pt idx="1831">
                  <c:v>4389615</c:v>
                </c:pt>
                <c:pt idx="1832">
                  <c:v>4387775</c:v>
                </c:pt>
                <c:pt idx="1833">
                  <c:v>4388956</c:v>
                </c:pt>
                <c:pt idx="1834">
                  <c:v>4387881</c:v>
                </c:pt>
                <c:pt idx="1835">
                  <c:v>4379762</c:v>
                </c:pt>
                <c:pt idx="1836">
                  <c:v>4369215</c:v>
                </c:pt>
                <c:pt idx="1837">
                  <c:v>4354565</c:v>
                </c:pt>
                <c:pt idx="1838">
                  <c:v>4353029</c:v>
                </c:pt>
                <c:pt idx="1839">
                  <c:v>4351371</c:v>
                </c:pt>
                <c:pt idx="1840">
                  <c:v>4350647</c:v>
                </c:pt>
                <c:pt idx="1841">
                  <c:v>4353116</c:v>
                </c:pt>
                <c:pt idx="1842">
                  <c:v>4346306</c:v>
                </c:pt>
                <c:pt idx="1843">
                  <c:v>4334398</c:v>
                </c:pt>
                <c:pt idx="1844">
                  <c:v>4312893</c:v>
                </c:pt>
                <c:pt idx="1845">
                  <c:v>4312370</c:v>
                </c:pt>
                <c:pt idx="1846">
                  <c:v>4312747</c:v>
                </c:pt>
                <c:pt idx="1847">
                  <c:v>4332281</c:v>
                </c:pt>
                <c:pt idx="1848">
                  <c:v>4353462</c:v>
                </c:pt>
                <c:pt idx="1849">
                  <c:v>4369564</c:v>
                </c:pt>
                <c:pt idx="1850">
                  <c:v>4418372</c:v>
                </c:pt>
                <c:pt idx="1851">
                  <c:v>4442547</c:v>
                </c:pt>
                <c:pt idx="1852">
                  <c:v>4444241</c:v>
                </c:pt>
                <c:pt idx="1853">
                  <c:v>4448134</c:v>
                </c:pt>
                <c:pt idx="1854">
                  <c:v>4480934</c:v>
                </c:pt>
                <c:pt idx="1855">
                  <c:v>4519516</c:v>
                </c:pt>
                <c:pt idx="1856">
                  <c:v>4556437</c:v>
                </c:pt>
                <c:pt idx="1857">
                  <c:v>4588383</c:v>
                </c:pt>
                <c:pt idx="1858">
                  <c:v>4607737</c:v>
                </c:pt>
                <c:pt idx="1859">
                  <c:v>4609107</c:v>
                </c:pt>
                <c:pt idx="1860">
                  <c:v>4610873</c:v>
                </c:pt>
                <c:pt idx="1861">
                  <c:v>4612541</c:v>
                </c:pt>
                <c:pt idx="1862">
                  <c:v>4648496</c:v>
                </c:pt>
                <c:pt idx="1863">
                  <c:v>4684688</c:v>
                </c:pt>
                <c:pt idx="1864">
                  <c:v>4715675</c:v>
                </c:pt>
                <c:pt idx="1865">
                  <c:v>4737878</c:v>
                </c:pt>
                <c:pt idx="1866">
                  <c:v>4739873</c:v>
                </c:pt>
                <c:pt idx="1867">
                  <c:v>4742330</c:v>
                </c:pt>
                <c:pt idx="1868">
                  <c:v>4777932</c:v>
                </c:pt>
                <c:pt idx="1869">
                  <c:v>4809367</c:v>
                </c:pt>
                <c:pt idx="1870">
                  <c:v>4838059</c:v>
                </c:pt>
                <c:pt idx="1871">
                  <c:v>4867093</c:v>
                </c:pt>
                <c:pt idx="1872">
                  <c:v>4887716</c:v>
                </c:pt>
                <c:pt idx="1873">
                  <c:v>4889543</c:v>
                </c:pt>
                <c:pt idx="1874">
                  <c:v>4891642</c:v>
                </c:pt>
                <c:pt idx="1875">
                  <c:v>4921047</c:v>
                </c:pt>
                <c:pt idx="1876">
                  <c:v>4945947</c:v>
                </c:pt>
                <c:pt idx="1877">
                  <c:v>4969070</c:v>
                </c:pt>
                <c:pt idx="1878">
                  <c:v>4984058</c:v>
                </c:pt>
                <c:pt idx="1879">
                  <c:v>4995508</c:v>
                </c:pt>
                <c:pt idx="1880">
                  <c:v>4996350</c:v>
                </c:pt>
                <c:pt idx="1881">
                  <c:v>4997907</c:v>
                </c:pt>
                <c:pt idx="1882">
                  <c:v>5013182</c:v>
                </c:pt>
                <c:pt idx="1883">
                  <c:v>5029566</c:v>
                </c:pt>
                <c:pt idx="1884">
                  <c:v>5041293</c:v>
                </c:pt>
                <c:pt idx="1885">
                  <c:v>5055616</c:v>
                </c:pt>
                <c:pt idx="1886">
                  <c:v>5063948</c:v>
                </c:pt>
                <c:pt idx="1887">
                  <c:v>5065300</c:v>
                </c:pt>
                <c:pt idx="1888">
                  <c:v>5066793</c:v>
                </c:pt>
                <c:pt idx="1889">
                  <c:v>5110500</c:v>
                </c:pt>
                <c:pt idx="1890">
                  <c:v>5127874</c:v>
                </c:pt>
                <c:pt idx="1891">
                  <c:v>5139021</c:v>
                </c:pt>
                <c:pt idx="1892">
                  <c:v>5147161</c:v>
                </c:pt>
                <c:pt idx="1893">
                  <c:v>5152377</c:v>
                </c:pt>
                <c:pt idx="1894">
                  <c:v>5154400</c:v>
                </c:pt>
                <c:pt idx="1895">
                  <c:v>5156049</c:v>
                </c:pt>
                <c:pt idx="1896">
                  <c:v>5158463</c:v>
                </c:pt>
                <c:pt idx="1897">
                  <c:v>5175088</c:v>
                </c:pt>
                <c:pt idx="1898">
                  <c:v>5191419</c:v>
                </c:pt>
                <c:pt idx="1899">
                  <c:v>5205117</c:v>
                </c:pt>
                <c:pt idx="1900">
                  <c:v>5214886</c:v>
                </c:pt>
                <c:pt idx="1901">
                  <c:v>5217936</c:v>
                </c:pt>
                <c:pt idx="1902">
                  <c:v>5221706</c:v>
                </c:pt>
                <c:pt idx="1903">
                  <c:v>5242111</c:v>
                </c:pt>
                <c:pt idx="1904">
                  <c:v>5262464</c:v>
                </c:pt>
                <c:pt idx="1905">
                  <c:v>5277149</c:v>
                </c:pt>
                <c:pt idx="1906">
                  <c:v>5286644</c:v>
                </c:pt>
                <c:pt idx="1907">
                  <c:v>5290896</c:v>
                </c:pt>
                <c:pt idx="1908">
                  <c:v>5291291</c:v>
                </c:pt>
                <c:pt idx="1909">
                  <c:v>5291701</c:v>
                </c:pt>
                <c:pt idx="1910">
                  <c:v>5304331</c:v>
                </c:pt>
                <c:pt idx="1911">
                  <c:v>5312887</c:v>
                </c:pt>
                <c:pt idx="1912">
                  <c:v>5317385</c:v>
                </c:pt>
                <c:pt idx="1913">
                  <c:v>5319247</c:v>
                </c:pt>
                <c:pt idx="1914">
                  <c:v>5322339</c:v>
                </c:pt>
                <c:pt idx="1915">
                  <c:v>5322895</c:v>
                </c:pt>
                <c:pt idx="1916">
                  <c:v>5325191</c:v>
                </c:pt>
                <c:pt idx="1917">
                  <c:v>5333373</c:v>
                </c:pt>
                <c:pt idx="1918">
                  <c:v>5342891</c:v>
                </c:pt>
                <c:pt idx="1919">
                  <c:v>5354058</c:v>
                </c:pt>
                <c:pt idx="1920">
                  <c:v>5369209</c:v>
                </c:pt>
                <c:pt idx="1921">
                  <c:v>5381829</c:v>
                </c:pt>
                <c:pt idx="1922">
                  <c:v>5382210</c:v>
                </c:pt>
                <c:pt idx="1923">
                  <c:v>5383928</c:v>
                </c:pt>
                <c:pt idx="1924">
                  <c:v>5416011</c:v>
                </c:pt>
                <c:pt idx="1925">
                  <c:v>5438873</c:v>
                </c:pt>
                <c:pt idx="1926">
                  <c:v>5450001</c:v>
                </c:pt>
                <c:pt idx="1927">
                  <c:v>5468375</c:v>
                </c:pt>
                <c:pt idx="1928">
                  <c:v>5478008</c:v>
                </c:pt>
                <c:pt idx="1929">
                  <c:v>5477808</c:v>
                </c:pt>
                <c:pt idx="1930">
                  <c:v>5478222</c:v>
                </c:pt>
                <c:pt idx="1931">
                  <c:v>5494781</c:v>
                </c:pt>
                <c:pt idx="1932">
                  <c:v>5514991</c:v>
                </c:pt>
                <c:pt idx="1933">
                  <c:v>5534996</c:v>
                </c:pt>
                <c:pt idx="1934">
                  <c:v>5556740</c:v>
                </c:pt>
                <c:pt idx="1935">
                  <c:v>5561087</c:v>
                </c:pt>
                <c:pt idx="1936">
                  <c:v>5562914</c:v>
                </c:pt>
                <c:pt idx="1937">
                  <c:v>5564714</c:v>
                </c:pt>
                <c:pt idx="1938">
                  <c:v>5580719</c:v>
                </c:pt>
                <c:pt idx="1939">
                  <c:v>5590123</c:v>
                </c:pt>
                <c:pt idx="1940">
                  <c:v>5591172</c:v>
                </c:pt>
                <c:pt idx="1941">
                  <c:v>5577711</c:v>
                </c:pt>
                <c:pt idx="1942">
                  <c:v>5564579</c:v>
                </c:pt>
                <c:pt idx="1943">
                  <c:v>5563735</c:v>
                </c:pt>
                <c:pt idx="1944">
                  <c:v>5563254</c:v>
                </c:pt>
                <c:pt idx="1945">
                  <c:v>5578793</c:v>
                </c:pt>
                <c:pt idx="1946">
                  <c:v>5600531</c:v>
                </c:pt>
                <c:pt idx="1947">
                  <c:v>5619159</c:v>
                </c:pt>
                <c:pt idx="1948">
                  <c:v>5632802</c:v>
                </c:pt>
                <c:pt idx="1949">
                  <c:v>5639300</c:v>
                </c:pt>
                <c:pt idx="1950">
                  <c:v>5640484</c:v>
                </c:pt>
                <c:pt idx="1951">
                  <c:v>5641770</c:v>
                </c:pt>
                <c:pt idx="1952">
                  <c:v>5654784</c:v>
                </c:pt>
                <c:pt idx="1953">
                  <c:v>5650137</c:v>
                </c:pt>
                <c:pt idx="1954">
                  <c:v>5667904</c:v>
                </c:pt>
                <c:pt idx="1955">
                  <c:v>5676979</c:v>
                </c:pt>
                <c:pt idx="1956">
                  <c:v>5680435</c:v>
                </c:pt>
                <c:pt idx="1957">
                  <c:v>5681519</c:v>
                </c:pt>
                <c:pt idx="1958">
                  <c:v>5681983</c:v>
                </c:pt>
                <c:pt idx="1959">
                  <c:v>5692833</c:v>
                </c:pt>
                <c:pt idx="1960">
                  <c:v>5695473</c:v>
                </c:pt>
                <c:pt idx="1961">
                  <c:v>5694494</c:v>
                </c:pt>
                <c:pt idx="1962">
                  <c:v>5688477</c:v>
                </c:pt>
                <c:pt idx="1963">
                  <c:v>5680898</c:v>
                </c:pt>
                <c:pt idx="1964">
                  <c:v>5680640</c:v>
                </c:pt>
                <c:pt idx="1965">
                  <c:v>5678879</c:v>
                </c:pt>
                <c:pt idx="1966">
                  <c:v>5659774</c:v>
                </c:pt>
                <c:pt idx="1967">
                  <c:v>5632171</c:v>
                </c:pt>
                <c:pt idx="1968">
                  <c:v>5595925</c:v>
                </c:pt>
                <c:pt idx="1969">
                  <c:v>5542098</c:v>
                </c:pt>
                <c:pt idx="1970">
                  <c:v>5481281</c:v>
                </c:pt>
                <c:pt idx="1971">
                  <c:v>5475200</c:v>
                </c:pt>
                <c:pt idx="1972">
                  <c:v>5468291</c:v>
                </c:pt>
                <c:pt idx="1973">
                  <c:v>5401967</c:v>
                </c:pt>
                <c:pt idx="1974">
                  <c:v>5325328</c:v>
                </c:pt>
                <c:pt idx="1975">
                  <c:v>5242126</c:v>
                </c:pt>
                <c:pt idx="1976">
                  <c:v>5137087</c:v>
                </c:pt>
                <c:pt idx="1977">
                  <c:v>5023987</c:v>
                </c:pt>
                <c:pt idx="1978">
                  <c:v>5018006</c:v>
                </c:pt>
                <c:pt idx="1979">
                  <c:v>5013685</c:v>
                </c:pt>
                <c:pt idx="1980">
                  <c:v>5014206</c:v>
                </c:pt>
                <c:pt idx="1981">
                  <c:v>5014698</c:v>
                </c:pt>
                <c:pt idx="1982">
                  <c:v>4996346</c:v>
                </c:pt>
                <c:pt idx="1983">
                  <c:v>4987962</c:v>
                </c:pt>
                <c:pt idx="1984">
                  <c:v>4990498</c:v>
                </c:pt>
                <c:pt idx="1985">
                  <c:v>4988786</c:v>
                </c:pt>
                <c:pt idx="1986">
                  <c:v>4987590</c:v>
                </c:pt>
                <c:pt idx="1987">
                  <c:v>5010795</c:v>
                </c:pt>
                <c:pt idx="1988">
                  <c:v>5032503</c:v>
                </c:pt>
                <c:pt idx="1989">
                  <c:v>5051699</c:v>
                </c:pt>
                <c:pt idx="1990">
                  <c:v>5070689</c:v>
                </c:pt>
                <c:pt idx="1991">
                  <c:v>5091355</c:v>
                </c:pt>
                <c:pt idx="1992">
                  <c:v>5091861</c:v>
                </c:pt>
                <c:pt idx="1993">
                  <c:v>5095346</c:v>
                </c:pt>
                <c:pt idx="1994">
                  <c:v>5142027</c:v>
                </c:pt>
                <c:pt idx="1995">
                  <c:v>5213819</c:v>
                </c:pt>
                <c:pt idx="1996">
                  <c:v>5296838</c:v>
                </c:pt>
                <c:pt idx="1997">
                  <c:v>5410050</c:v>
                </c:pt>
                <c:pt idx="1998">
                  <c:v>5515617</c:v>
                </c:pt>
                <c:pt idx="1999">
                  <c:v>5523084</c:v>
                </c:pt>
                <c:pt idx="2000">
                  <c:v>5530347</c:v>
                </c:pt>
                <c:pt idx="2001">
                  <c:v>5617335</c:v>
                </c:pt>
                <c:pt idx="2002">
                  <c:v>5699612</c:v>
                </c:pt>
                <c:pt idx="2003">
                  <c:v>5787471</c:v>
                </c:pt>
                <c:pt idx="2004">
                  <c:v>5887256</c:v>
                </c:pt>
                <c:pt idx="2005">
                  <c:v>5984591</c:v>
                </c:pt>
                <c:pt idx="2006">
                  <c:v>5990888</c:v>
                </c:pt>
                <c:pt idx="2007">
                  <c:v>5995934</c:v>
                </c:pt>
                <c:pt idx="2008">
                  <c:v>6034386</c:v>
                </c:pt>
                <c:pt idx="2009">
                  <c:v>6076448</c:v>
                </c:pt>
                <c:pt idx="2010">
                  <c:v>6119533</c:v>
                </c:pt>
                <c:pt idx="2011">
                  <c:v>6151301</c:v>
                </c:pt>
                <c:pt idx="2012">
                  <c:v>6174391</c:v>
                </c:pt>
                <c:pt idx="2013">
                  <c:v>6176891</c:v>
                </c:pt>
                <c:pt idx="2014">
                  <c:v>6181124</c:v>
                </c:pt>
                <c:pt idx="2015">
                  <c:v>6204961</c:v>
                </c:pt>
                <c:pt idx="2016">
                  <c:v>6234315</c:v>
                </c:pt>
                <c:pt idx="2017">
                  <c:v>6262323</c:v>
                </c:pt>
                <c:pt idx="2018">
                  <c:v>6280724</c:v>
                </c:pt>
                <c:pt idx="2019">
                  <c:v>6289559</c:v>
                </c:pt>
                <c:pt idx="2020">
                  <c:v>6291171</c:v>
                </c:pt>
                <c:pt idx="2021">
                  <c:v>6292720</c:v>
                </c:pt>
                <c:pt idx="2022">
                  <c:v>6304295</c:v>
                </c:pt>
                <c:pt idx="2023">
                  <c:v>6315841</c:v>
                </c:pt>
                <c:pt idx="2024">
                  <c:v>6332221</c:v>
                </c:pt>
                <c:pt idx="2025">
                  <c:v>6349167</c:v>
                </c:pt>
                <c:pt idx="2026">
                  <c:v>6360465</c:v>
                </c:pt>
                <c:pt idx="2027">
                  <c:v>6363781</c:v>
                </c:pt>
                <c:pt idx="2028">
                  <c:v>6366010</c:v>
                </c:pt>
                <c:pt idx="2029">
                  <c:v>6390643</c:v>
                </c:pt>
                <c:pt idx="2030">
                  <c:v>6416201</c:v>
                </c:pt>
                <c:pt idx="2031">
                  <c:v>6433358</c:v>
                </c:pt>
                <c:pt idx="2032">
                  <c:v>6444197</c:v>
                </c:pt>
                <c:pt idx="2033">
                  <c:v>6448311</c:v>
                </c:pt>
                <c:pt idx="2034">
                  <c:v>6448544</c:v>
                </c:pt>
                <c:pt idx="2035">
                  <c:v>6450190</c:v>
                </c:pt>
                <c:pt idx="2036">
                  <c:v>6476519</c:v>
                </c:pt>
                <c:pt idx="2037">
                  <c:v>6500685</c:v>
                </c:pt>
                <c:pt idx="2038">
                  <c:v>6520010</c:v>
                </c:pt>
                <c:pt idx="2039">
                  <c:v>6538280</c:v>
                </c:pt>
                <c:pt idx="2040">
                  <c:v>6548319</c:v>
                </c:pt>
                <c:pt idx="2041">
                  <c:v>6549740</c:v>
                </c:pt>
                <c:pt idx="2042">
                  <c:v>6549552</c:v>
                </c:pt>
                <c:pt idx="2043">
                  <c:v>6567005</c:v>
                </c:pt>
                <c:pt idx="2044">
                  <c:v>6586636</c:v>
                </c:pt>
                <c:pt idx="2045">
                  <c:v>6605374</c:v>
                </c:pt>
                <c:pt idx="2046">
                  <c:v>6623849</c:v>
                </c:pt>
                <c:pt idx="2047">
                  <c:v>6637097</c:v>
                </c:pt>
                <c:pt idx="2048">
                  <c:v>6638452</c:v>
                </c:pt>
                <c:pt idx="2049">
                  <c:v>6641638</c:v>
                </c:pt>
                <c:pt idx="2050">
                  <c:v>6671259</c:v>
                </c:pt>
                <c:pt idx="2051">
                  <c:v>6704872</c:v>
                </c:pt>
                <c:pt idx="2052">
                  <c:v>6726110</c:v>
                </c:pt>
                <c:pt idx="2053">
                  <c:v>6740492</c:v>
                </c:pt>
                <c:pt idx="2054">
                  <c:v>6745768</c:v>
                </c:pt>
                <c:pt idx="2055">
                  <c:v>6744959</c:v>
                </c:pt>
                <c:pt idx="2056">
                  <c:v>6747110</c:v>
                </c:pt>
                <c:pt idx="2057">
                  <c:v>6771620</c:v>
                </c:pt>
                <c:pt idx="2058">
                  <c:v>6806393</c:v>
                </c:pt>
                <c:pt idx="2059">
                  <c:v>6834332</c:v>
                </c:pt>
                <c:pt idx="2060">
                  <c:v>6850126</c:v>
                </c:pt>
                <c:pt idx="2061">
                  <c:v>6858425</c:v>
                </c:pt>
                <c:pt idx="2062">
                  <c:v>6857398</c:v>
                </c:pt>
                <c:pt idx="2063">
                  <c:v>6855652</c:v>
                </c:pt>
                <c:pt idx="2064">
                  <c:v>6865523</c:v>
                </c:pt>
                <c:pt idx="2065">
                  <c:v>6872098</c:v>
                </c:pt>
                <c:pt idx="2066">
                  <c:v>6869087</c:v>
                </c:pt>
                <c:pt idx="2067">
                  <c:v>6858968</c:v>
                </c:pt>
                <c:pt idx="2068">
                  <c:v>6804582</c:v>
                </c:pt>
                <c:pt idx="2069">
                  <c:v>6800618</c:v>
                </c:pt>
                <c:pt idx="2070">
                  <c:v>6795137</c:v>
                </c:pt>
                <c:pt idx="2071">
                  <c:v>6760503</c:v>
                </c:pt>
                <c:pt idx="2072">
                  <c:v>6776546</c:v>
                </c:pt>
                <c:pt idx="2073">
                  <c:v>6796487</c:v>
                </c:pt>
                <c:pt idx="2074">
                  <c:v>6810486</c:v>
                </c:pt>
                <c:pt idx="2075">
                  <c:v>6822062</c:v>
                </c:pt>
                <c:pt idx="2076">
                  <c:v>6822214</c:v>
                </c:pt>
                <c:pt idx="2077">
                  <c:v>6819754</c:v>
                </c:pt>
                <c:pt idx="2078">
                  <c:v>6848529</c:v>
                </c:pt>
                <c:pt idx="2079">
                  <c:v>6863765</c:v>
                </c:pt>
                <c:pt idx="2080">
                  <c:v>6884454</c:v>
                </c:pt>
                <c:pt idx="2081">
                  <c:v>6903584</c:v>
                </c:pt>
                <c:pt idx="2082">
                  <c:v>6921797</c:v>
                </c:pt>
                <c:pt idx="2083">
                  <c:v>6922902</c:v>
                </c:pt>
                <c:pt idx="2084">
                  <c:v>6922956</c:v>
                </c:pt>
                <c:pt idx="2085">
                  <c:v>6951673</c:v>
                </c:pt>
                <c:pt idx="2086">
                  <c:v>6967258</c:v>
                </c:pt>
                <c:pt idx="2087">
                  <c:v>6973793</c:v>
                </c:pt>
                <c:pt idx="2088">
                  <c:v>6990498</c:v>
                </c:pt>
                <c:pt idx="2089">
                  <c:v>6997456</c:v>
                </c:pt>
                <c:pt idx="2090">
                  <c:v>6997515</c:v>
                </c:pt>
                <c:pt idx="2091">
                  <c:v>6997980</c:v>
                </c:pt>
                <c:pt idx="2092">
                  <c:v>7013807</c:v>
                </c:pt>
                <c:pt idx="2093">
                  <c:v>7026396</c:v>
                </c:pt>
                <c:pt idx="2094">
                  <c:v>7050663</c:v>
                </c:pt>
                <c:pt idx="2095">
                  <c:v>7074859</c:v>
                </c:pt>
                <c:pt idx="2096">
                  <c:v>7131184</c:v>
                </c:pt>
                <c:pt idx="2097">
                  <c:v>7133498</c:v>
                </c:pt>
                <c:pt idx="2098">
                  <c:v>7137096</c:v>
                </c:pt>
                <c:pt idx="2099">
                  <c:v>7180459</c:v>
                </c:pt>
                <c:pt idx="2100">
                  <c:v>7199121</c:v>
                </c:pt>
                <c:pt idx="2101">
                  <c:v>7209708</c:v>
                </c:pt>
                <c:pt idx="2102">
                  <c:v>7225357</c:v>
                </c:pt>
                <c:pt idx="2103">
                  <c:v>7239901</c:v>
                </c:pt>
                <c:pt idx="2104">
                  <c:v>7242526</c:v>
                </c:pt>
                <c:pt idx="2105">
                  <c:v>7241987</c:v>
                </c:pt>
                <c:pt idx="2106">
                  <c:v>7266911</c:v>
                </c:pt>
                <c:pt idx="2107">
                  <c:v>7295623</c:v>
                </c:pt>
                <c:pt idx="2108">
                  <c:v>7312918</c:v>
                </c:pt>
                <c:pt idx="2109">
                  <c:v>7297029</c:v>
                </c:pt>
                <c:pt idx="2110">
                  <c:v>7286545</c:v>
                </c:pt>
                <c:pt idx="2111">
                  <c:v>7286728</c:v>
                </c:pt>
                <c:pt idx="2112">
                  <c:v>7286370</c:v>
                </c:pt>
                <c:pt idx="2113">
                  <c:v>7301562</c:v>
                </c:pt>
                <c:pt idx="2114">
                  <c:v>7321473</c:v>
                </c:pt>
                <c:pt idx="2115">
                  <c:v>7344884</c:v>
                </c:pt>
                <c:pt idx="2116">
                  <c:v>7355357</c:v>
                </c:pt>
                <c:pt idx="2117">
                  <c:v>7359281</c:v>
                </c:pt>
                <c:pt idx="2118">
                  <c:v>7359428</c:v>
                </c:pt>
                <c:pt idx="2119">
                  <c:v>7358949</c:v>
                </c:pt>
                <c:pt idx="2120">
                  <c:v>7351867</c:v>
                </c:pt>
                <c:pt idx="2121">
                  <c:v>7376251</c:v>
                </c:pt>
                <c:pt idx="2122">
                  <c:v>7386962</c:v>
                </c:pt>
                <c:pt idx="2123">
                  <c:v>7394593</c:v>
                </c:pt>
                <c:pt idx="2124">
                  <c:v>7390593</c:v>
                </c:pt>
                <c:pt idx="2125">
                  <c:v>7389991</c:v>
                </c:pt>
                <c:pt idx="2126">
                  <c:v>7390741</c:v>
                </c:pt>
                <c:pt idx="2127">
                  <c:v>7376183</c:v>
                </c:pt>
                <c:pt idx="2128">
                  <c:v>7390726</c:v>
                </c:pt>
                <c:pt idx="2129">
                  <c:v>7404919</c:v>
                </c:pt>
                <c:pt idx="2130">
                  <c:v>7398080</c:v>
                </c:pt>
                <c:pt idx="2131">
                  <c:v>7388962</c:v>
                </c:pt>
                <c:pt idx="2132">
                  <c:v>7390307</c:v>
                </c:pt>
                <c:pt idx="2133">
                  <c:v>7391704</c:v>
                </c:pt>
                <c:pt idx="2134">
                  <c:v>7401623</c:v>
                </c:pt>
                <c:pt idx="2135">
                  <c:v>7409299</c:v>
                </c:pt>
                <c:pt idx="2136">
                  <c:v>7421779</c:v>
                </c:pt>
                <c:pt idx="2137">
                  <c:v>7464383</c:v>
                </c:pt>
                <c:pt idx="2138">
                  <c:v>7486420</c:v>
                </c:pt>
                <c:pt idx="2139">
                  <c:v>7485721</c:v>
                </c:pt>
                <c:pt idx="2140">
                  <c:v>7487672</c:v>
                </c:pt>
                <c:pt idx="2141">
                  <c:v>7495036</c:v>
                </c:pt>
                <c:pt idx="2142">
                  <c:v>7505079</c:v>
                </c:pt>
                <c:pt idx="2143">
                  <c:v>7510136</c:v>
                </c:pt>
                <c:pt idx="2144">
                  <c:v>7515660</c:v>
                </c:pt>
                <c:pt idx="2145">
                  <c:v>7514541</c:v>
                </c:pt>
                <c:pt idx="2146">
                  <c:v>7513835</c:v>
                </c:pt>
                <c:pt idx="2147">
                  <c:v>7513920</c:v>
                </c:pt>
                <c:pt idx="2148">
                  <c:v>7547771</c:v>
                </c:pt>
                <c:pt idx="2149">
                  <c:v>7553034</c:v>
                </c:pt>
                <c:pt idx="2150">
                  <c:v>7561251</c:v>
                </c:pt>
                <c:pt idx="2151">
                  <c:v>7559114</c:v>
                </c:pt>
                <c:pt idx="2152">
                  <c:v>7559095</c:v>
                </c:pt>
                <c:pt idx="2153">
                  <c:v>7558624</c:v>
                </c:pt>
                <c:pt idx="2154">
                  <c:v>7559258</c:v>
                </c:pt>
                <c:pt idx="2155">
                  <c:v>7608379</c:v>
                </c:pt>
                <c:pt idx="2156">
                  <c:v>7619205</c:v>
                </c:pt>
                <c:pt idx="2157">
                  <c:v>7640823</c:v>
                </c:pt>
                <c:pt idx="2158">
                  <c:v>7666015</c:v>
                </c:pt>
                <c:pt idx="2159">
                  <c:v>7669931</c:v>
                </c:pt>
                <c:pt idx="2160">
                  <c:v>7669683</c:v>
                </c:pt>
                <c:pt idx="2161">
                  <c:v>7669624</c:v>
                </c:pt>
                <c:pt idx="2162">
                  <c:v>7636903</c:v>
                </c:pt>
                <c:pt idx="2163">
                  <c:v>7656345</c:v>
                </c:pt>
                <c:pt idx="2164">
                  <c:v>7662896</c:v>
                </c:pt>
                <c:pt idx="2165">
                  <c:v>7661505</c:v>
                </c:pt>
                <c:pt idx="2166">
                  <c:v>7651529</c:v>
                </c:pt>
                <c:pt idx="2167">
                  <c:v>7651499</c:v>
                </c:pt>
                <c:pt idx="2168">
                  <c:v>7652089</c:v>
                </c:pt>
                <c:pt idx="2169">
                  <c:v>7680755</c:v>
                </c:pt>
                <c:pt idx="2170">
                  <c:v>7699363</c:v>
                </c:pt>
                <c:pt idx="2171">
                  <c:v>7705640</c:v>
                </c:pt>
                <c:pt idx="2172">
                  <c:v>7709212</c:v>
                </c:pt>
                <c:pt idx="2173">
                  <c:v>7706337</c:v>
                </c:pt>
                <c:pt idx="2174">
                  <c:v>7706822</c:v>
                </c:pt>
                <c:pt idx="2175">
                  <c:v>7705342</c:v>
                </c:pt>
                <c:pt idx="2176">
                  <c:v>7708761</c:v>
                </c:pt>
                <c:pt idx="2177">
                  <c:v>7695522</c:v>
                </c:pt>
                <c:pt idx="2178">
                  <c:v>7682375</c:v>
                </c:pt>
                <c:pt idx="2179">
                  <c:v>7667974</c:v>
                </c:pt>
                <c:pt idx="2180">
                  <c:v>7654287</c:v>
                </c:pt>
                <c:pt idx="2181">
                  <c:v>7652289</c:v>
                </c:pt>
                <c:pt idx="2182">
                  <c:v>7650618</c:v>
                </c:pt>
                <c:pt idx="2183">
                  <c:v>7647009</c:v>
                </c:pt>
                <c:pt idx="2184">
                  <c:v>7637310</c:v>
                </c:pt>
                <c:pt idx="2185">
                  <c:v>7612691</c:v>
                </c:pt>
                <c:pt idx="2186">
                  <c:v>7600436</c:v>
                </c:pt>
                <c:pt idx="2187">
                  <c:v>7588278</c:v>
                </c:pt>
                <c:pt idx="2188">
                  <c:v>7588996</c:v>
                </c:pt>
                <c:pt idx="2189">
                  <c:v>7590613</c:v>
                </c:pt>
                <c:pt idx="2190">
                  <c:v>7631282</c:v>
                </c:pt>
                <c:pt idx="2191">
                  <c:v>7646419</c:v>
                </c:pt>
                <c:pt idx="2192">
                  <c:v>7646996</c:v>
                </c:pt>
                <c:pt idx="2193">
                  <c:v>7625987</c:v>
                </c:pt>
                <c:pt idx="2194">
                  <c:v>7616685</c:v>
                </c:pt>
                <c:pt idx="2195">
                  <c:v>7621116</c:v>
                </c:pt>
                <c:pt idx="2196">
                  <c:v>7622716</c:v>
                </c:pt>
                <c:pt idx="2197">
                  <c:v>7633844</c:v>
                </c:pt>
                <c:pt idx="2198">
                  <c:v>7634097</c:v>
                </c:pt>
                <c:pt idx="2199">
                  <c:v>7640587</c:v>
                </c:pt>
                <c:pt idx="2200">
                  <c:v>7635967</c:v>
                </c:pt>
                <c:pt idx="2201">
                  <c:v>7628308</c:v>
                </c:pt>
                <c:pt idx="2202">
                  <c:v>7626921</c:v>
                </c:pt>
                <c:pt idx="2203">
                  <c:v>7628342</c:v>
                </c:pt>
                <c:pt idx="2204">
                  <c:v>7655031</c:v>
                </c:pt>
                <c:pt idx="2205">
                  <c:v>7687400</c:v>
                </c:pt>
                <c:pt idx="2206">
                  <c:v>7700112</c:v>
                </c:pt>
                <c:pt idx="2207">
                  <c:v>7701627</c:v>
                </c:pt>
                <c:pt idx="2208">
                  <c:v>7704580</c:v>
                </c:pt>
                <c:pt idx="2209">
                  <c:v>7705328</c:v>
                </c:pt>
                <c:pt idx="2210">
                  <c:v>7706359</c:v>
                </c:pt>
                <c:pt idx="2211">
                  <c:v>7735341</c:v>
                </c:pt>
                <c:pt idx="2212">
                  <c:v>7756623</c:v>
                </c:pt>
                <c:pt idx="2213">
                  <c:v>7778959</c:v>
                </c:pt>
                <c:pt idx="2214">
                  <c:v>7788518</c:v>
                </c:pt>
                <c:pt idx="2215">
                  <c:v>7785464</c:v>
                </c:pt>
                <c:pt idx="2216">
                  <c:v>7783640</c:v>
                </c:pt>
                <c:pt idx="2217">
                  <c:v>7782455</c:v>
                </c:pt>
                <c:pt idx="2218">
                  <c:v>7796983</c:v>
                </c:pt>
                <c:pt idx="2219">
                  <c:v>7814764</c:v>
                </c:pt>
                <c:pt idx="2220">
                  <c:v>7851672</c:v>
                </c:pt>
                <c:pt idx="2221">
                  <c:v>7880649</c:v>
                </c:pt>
                <c:pt idx="2222">
                  <c:v>7888642</c:v>
                </c:pt>
                <c:pt idx="2223">
                  <c:v>7888773</c:v>
                </c:pt>
                <c:pt idx="2224">
                  <c:v>7889237</c:v>
                </c:pt>
                <c:pt idx="2225">
                  <c:v>7873952</c:v>
                </c:pt>
                <c:pt idx="2226">
                  <c:v>7900322</c:v>
                </c:pt>
                <c:pt idx="2227">
                  <c:v>7947408</c:v>
                </c:pt>
                <c:pt idx="2228">
                  <c:v>7982093</c:v>
                </c:pt>
                <c:pt idx="2229">
                  <c:v>8004276</c:v>
                </c:pt>
                <c:pt idx="2230">
                  <c:v>8006762</c:v>
                </c:pt>
                <c:pt idx="2231">
                  <c:v>8010030</c:v>
                </c:pt>
                <c:pt idx="2232">
                  <c:v>8050409</c:v>
                </c:pt>
                <c:pt idx="2233">
                  <c:v>8088254</c:v>
                </c:pt>
                <c:pt idx="2234">
                  <c:v>8130047</c:v>
                </c:pt>
                <c:pt idx="2235">
                  <c:v>8177125</c:v>
                </c:pt>
                <c:pt idx="2236">
                  <c:v>8205378</c:v>
                </c:pt>
                <c:pt idx="2237">
                  <c:v>8208825</c:v>
                </c:pt>
                <c:pt idx="2238">
                  <c:v>8211305</c:v>
                </c:pt>
                <c:pt idx="2239">
                  <c:v>8244764</c:v>
                </c:pt>
                <c:pt idx="2240">
                  <c:v>8279696</c:v>
                </c:pt>
                <c:pt idx="2241">
                  <c:v>8307892</c:v>
                </c:pt>
                <c:pt idx="2242">
                  <c:v>8326916</c:v>
                </c:pt>
              </c:numCache>
            </c:numRef>
          </c:val>
          <c:smooth val="0"/>
          <c:extLst>
            <c:ext xmlns:c16="http://schemas.microsoft.com/office/drawing/2014/chart" uri="{C3380CC4-5D6E-409C-BE32-E72D297353CC}">
              <c16:uniqueId val="{00000000-DEC4-9945-B9EA-E1B870A2E924}"/>
            </c:ext>
          </c:extLst>
        </c:ser>
        <c:dLbls>
          <c:showLegendKey val="0"/>
          <c:showVal val="0"/>
          <c:showCatName val="0"/>
          <c:showSerName val="0"/>
          <c:showPercent val="0"/>
          <c:showBubbleSize val="0"/>
        </c:dLbls>
        <c:smooth val="0"/>
        <c:axId val="1753482304"/>
        <c:axId val="1753485632"/>
      </c:lineChart>
      <c:dateAx>
        <c:axId val="1753482304"/>
        <c:scaling>
          <c:orientation val="minMax"/>
        </c:scaling>
        <c:delete val="1"/>
        <c:axPos val="b"/>
        <c:numFmt formatCode="m/d/yyyy" sourceLinked="1"/>
        <c:majorTickMark val="out"/>
        <c:minorTickMark val="none"/>
        <c:tickLblPos val="nextTo"/>
        <c:crossAx val="1753485632"/>
        <c:crosses val="autoZero"/>
        <c:auto val="1"/>
        <c:lblOffset val="100"/>
        <c:baseTimeUnit val="days"/>
      </c:dateAx>
      <c:valAx>
        <c:axId val="1753485632"/>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75348230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cap="rnd">
      <a:noFill/>
      <a:prstDash val="lgDash"/>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65.svg"/><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image" Target="../media/image159.svg"/><Relationship Id="rId1" Type="http://schemas.openxmlformats.org/officeDocument/2006/relationships/image" Target="../media/image158.png"/><Relationship Id="rId6" Type="http://schemas.openxmlformats.org/officeDocument/2006/relationships/image" Target="../media/image163.svg"/><Relationship Id="rId5" Type="http://schemas.openxmlformats.org/officeDocument/2006/relationships/image" Target="../media/image162.png"/><Relationship Id="rId4" Type="http://schemas.openxmlformats.org/officeDocument/2006/relationships/image" Target="../media/image161.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65.svg"/><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image" Target="../media/image159.svg"/><Relationship Id="rId1" Type="http://schemas.openxmlformats.org/officeDocument/2006/relationships/image" Target="../media/image158.png"/><Relationship Id="rId6" Type="http://schemas.openxmlformats.org/officeDocument/2006/relationships/image" Target="../media/image163.svg"/><Relationship Id="rId5" Type="http://schemas.openxmlformats.org/officeDocument/2006/relationships/image" Target="../media/image162.png"/><Relationship Id="rId4" Type="http://schemas.openxmlformats.org/officeDocument/2006/relationships/image" Target="../media/image16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6D0A2261-801C-42D8-91A7-2C997EDD487C}">
      <dgm:prSet phldrT="[Text]" custT="1"/>
      <dgm:spPr>
        <a:solidFill>
          <a:schemeClr val="tx1">
            <a:lumMod val="75000"/>
            <a:lumOff val="25000"/>
          </a:schemeClr>
        </a:solidFill>
      </dgm:spPr>
      <dgm:t>
        <a:bodyPr tIns="274320" anchor="t"/>
        <a:lstStyle/>
        <a:p>
          <a:pPr algn="ctr"/>
          <a:r>
            <a:rPr lang="en-US" sz="2000" b="1" dirty="0">
              <a:solidFill>
                <a:schemeClr val="bg1"/>
              </a:solidFill>
              <a:latin typeface="+mj-lt"/>
              <a:cs typeface="Leelawadee" panose="020B0502040204020203" pitchFamily="34" charset="-34"/>
            </a:rPr>
            <a:t>TRANSFORMATIONS</a:t>
          </a:r>
          <a:endParaRPr lang="en-US" sz="2800" b="1" dirty="0">
            <a:solidFill>
              <a:schemeClr val="bg1"/>
            </a:solidFill>
            <a:latin typeface="+mj-lt"/>
            <a:cs typeface="Leelawadee" panose="020B0502040204020203" pitchFamily="34" charset="-34"/>
          </a:endParaRP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dirty="0">
              <a:solidFill>
                <a:schemeClr val="bg1"/>
              </a:solidFill>
              <a:latin typeface="Segoe UI Semibold" panose="020B0702040204020203" pitchFamily="34" charset="0"/>
              <a:cs typeface="Segoe UI Semibold" panose="020B0702040204020203" pitchFamily="34" charset="0"/>
            </a:rPr>
            <a:t>FILTER | SELECT </a:t>
          </a:r>
          <a:r>
            <a:rPr lang="en-US" sz="4400" b="1" dirty="0">
              <a:solidFill>
                <a:schemeClr val="bg1"/>
              </a:solidFill>
              <a:latin typeface="+mj-lt"/>
              <a:cs typeface="Leelawadee" panose="020B0502040204020203" pitchFamily="34" charset="-34"/>
            </a:rPr>
            <a:t>JOINS</a:t>
          </a:r>
          <a:endParaRPr lang="en-US" sz="4400" b="1" dirty="0">
            <a:solidFill>
              <a:schemeClr val="bg1"/>
            </a:solidFill>
            <a:latin typeface="Segoe UI Semibold" panose="020B0702040204020203" pitchFamily="34" charset="0"/>
            <a:cs typeface="Segoe UI Semibold" panose="020B0702040204020203" pitchFamily="34" charset="0"/>
          </a:endParaRP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2">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1" presStyleCnt="2">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1" destOrd="0" parTransId="{DA5ECBCD-81B7-4DEA-AD0F-7038E2360B09}" sibTransId="{3A15FDD4-6CDE-47C3-806C-5EABE354AFB9}"/>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B7CEF5EB-D0E5-4723-B299-CED8675B1F31}" type="presParOf" srcId="{F6CB21B8-B641-4004-8232-3D37DD689D6D}" destId="{9CC71D40-1D49-4FFC-8725-867081C07A41}" srcOrd="1"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7BA211-35F0-457D-8907-52965C5CF5C6}" type="doc">
      <dgm:prSet loTypeId="urn:microsoft.com/office/officeart/2005/8/layout/pyramid3" loCatId="pyramid" qsTypeId="urn:microsoft.com/office/officeart/2005/8/quickstyle/simple1" qsCatId="simple" csTypeId="urn:microsoft.com/office/officeart/2005/8/colors/accent1_2" csCatId="accent1" phldr="1"/>
      <dgm:spPr/>
    </dgm:pt>
    <dgm:pt modelId="{7F1B0F29-6E39-4266-AE10-FD0117BD0607}">
      <dgm:prSet phldrT="[Text]"/>
      <dgm:spPr>
        <a:solidFill>
          <a:schemeClr val="tx1">
            <a:lumMod val="50000"/>
            <a:lumOff val="50000"/>
          </a:schemeClr>
        </a:solidFill>
      </dgm:spPr>
      <dgm:t>
        <a:bodyPr/>
        <a:lstStyle/>
        <a:p>
          <a:r>
            <a:rPr lang="en-US" b="1">
              <a:solidFill>
                <a:schemeClr val="tx1">
                  <a:lumMod val="50000"/>
                  <a:lumOff val="50000"/>
                </a:schemeClr>
              </a:solidFill>
              <a:latin typeface="+mj-lt"/>
              <a:cs typeface="Leelawadee" panose="020B0502040204020203" pitchFamily="34" charset="-34"/>
            </a:rPr>
            <a:t>.</a:t>
          </a:r>
        </a:p>
      </dgm:t>
    </dgm:pt>
    <dgm:pt modelId="{720A22CF-54D2-4BEC-BD4F-86FEB90DEC2E}" type="parTrans" cxnId="{050472DF-847A-44F4-8ED2-6FB399EB1B72}">
      <dgm:prSet/>
      <dgm:spPr/>
      <dgm:t>
        <a:bodyPr/>
        <a:lstStyle/>
        <a:p>
          <a:endParaRPr lang="en-US"/>
        </a:p>
      </dgm:t>
    </dgm:pt>
    <dgm:pt modelId="{ED5AC77C-5B6B-49A1-80CE-9CC3E00218FC}" type="sibTrans" cxnId="{050472DF-847A-44F4-8ED2-6FB399EB1B72}">
      <dgm:prSet/>
      <dgm:spPr/>
      <dgm:t>
        <a:bodyPr/>
        <a:lstStyle/>
        <a:p>
          <a:endParaRPr lang="en-US"/>
        </a:p>
      </dgm:t>
    </dgm:pt>
    <dgm:pt modelId="{6D0A2261-801C-42D8-91A7-2C997EDD487C}">
      <dgm:prSet phldrT="[Text]" custT="1"/>
      <dgm:spPr>
        <a:solidFill>
          <a:schemeClr val="tx1">
            <a:lumMod val="75000"/>
            <a:lumOff val="25000"/>
          </a:schemeClr>
        </a:solidFill>
      </dgm:spPr>
      <dgm:t>
        <a:bodyPr tIns="274320" anchor="t"/>
        <a:lstStyle/>
        <a:p>
          <a:pPr algn="ctr"/>
          <a:r>
            <a:rPr lang="en-US" sz="1600" b="1">
              <a:solidFill>
                <a:schemeClr val="tx1">
                  <a:lumMod val="75000"/>
                  <a:lumOff val="25000"/>
                </a:schemeClr>
              </a:solidFill>
              <a:latin typeface="+mj-lt"/>
              <a:cs typeface="Leelawadee" panose="020B0502040204020203" pitchFamily="34" charset="-34"/>
            </a:rPr>
            <a:t>.</a:t>
          </a:r>
        </a:p>
      </dgm:t>
    </dgm:pt>
    <dgm:pt modelId="{DA5ECBCD-81B7-4DEA-AD0F-7038E2360B09}" type="parTrans" cxnId="{D06161D6-69FE-42E7-84A4-537C35E660B5}">
      <dgm:prSet/>
      <dgm:spPr/>
      <dgm:t>
        <a:bodyPr/>
        <a:lstStyle/>
        <a:p>
          <a:endParaRPr lang="en-US"/>
        </a:p>
      </dgm:t>
    </dgm:pt>
    <dgm:pt modelId="{3A15FDD4-6CDE-47C3-806C-5EABE354AFB9}" type="sibTrans" cxnId="{D06161D6-69FE-42E7-84A4-537C35E660B5}">
      <dgm:prSet/>
      <dgm:spPr/>
      <dgm:t>
        <a:bodyPr/>
        <a:lstStyle/>
        <a:p>
          <a:endParaRPr lang="en-US"/>
        </a:p>
      </dgm:t>
    </dgm:pt>
    <dgm:pt modelId="{96266317-0820-4D15-A9E0-E4100F5D03D6}">
      <dgm:prSet phldrT="[Text]" custT="1"/>
      <dgm:spPr>
        <a:solidFill>
          <a:schemeClr val="bg1">
            <a:lumMod val="75000"/>
          </a:schemeClr>
        </a:solidFill>
      </dgm:spPr>
      <dgm:t>
        <a:bodyPr/>
        <a:lstStyle/>
        <a:p>
          <a:r>
            <a:rPr lang="en-US" sz="4400" b="1">
              <a:solidFill>
                <a:schemeClr val="bg1"/>
              </a:solidFill>
              <a:latin typeface="Segoe UI Semibold" panose="020B0702040204020203" pitchFamily="34" charset="0"/>
              <a:cs typeface="Segoe UI Semibold" panose="020B0702040204020203" pitchFamily="34" charset="0"/>
            </a:rPr>
            <a:t>Data you have.</a:t>
          </a:r>
        </a:p>
      </dgm:t>
    </dgm:pt>
    <dgm:pt modelId="{95C0DEF4-E74E-481D-8682-99C256241B05}" type="sibTrans" cxnId="{423E5F98-833A-49C7-9F6C-B8C86E83BA88}">
      <dgm:prSet/>
      <dgm:spPr/>
      <dgm:t>
        <a:bodyPr/>
        <a:lstStyle/>
        <a:p>
          <a:endParaRPr lang="en-US"/>
        </a:p>
      </dgm:t>
    </dgm:pt>
    <dgm:pt modelId="{0D4DCD13-9C5B-4F68-B3EB-1DD21C3C7E6D}" type="parTrans" cxnId="{423E5F98-833A-49C7-9F6C-B8C86E83BA88}">
      <dgm:prSet/>
      <dgm:spPr/>
      <dgm:t>
        <a:bodyPr/>
        <a:lstStyle/>
        <a:p>
          <a:endParaRPr lang="en-US"/>
        </a:p>
      </dgm:t>
    </dgm:pt>
    <dgm:pt modelId="{F6CB21B8-B641-4004-8232-3D37DD689D6D}" type="pres">
      <dgm:prSet presAssocID="{187BA211-35F0-457D-8907-52965C5CF5C6}" presName="Name0" presStyleCnt="0">
        <dgm:presLayoutVars>
          <dgm:dir/>
          <dgm:animLvl val="lvl"/>
          <dgm:resizeHandles val="exact"/>
        </dgm:presLayoutVars>
      </dgm:prSet>
      <dgm:spPr/>
    </dgm:pt>
    <dgm:pt modelId="{8AE5B34D-0BB8-4815-BFA1-EA1BA696C7E3}" type="pres">
      <dgm:prSet presAssocID="{96266317-0820-4D15-A9E0-E4100F5D03D6}" presName="Name8" presStyleCnt="0"/>
      <dgm:spPr/>
    </dgm:pt>
    <dgm:pt modelId="{07E091AE-D53F-408B-A6C6-547663D5AAC4}" type="pres">
      <dgm:prSet presAssocID="{96266317-0820-4D15-A9E0-E4100F5D03D6}" presName="level" presStyleLbl="node1" presStyleIdx="0" presStyleCnt="3">
        <dgm:presLayoutVars>
          <dgm:chMax val="1"/>
          <dgm:bulletEnabled val="1"/>
        </dgm:presLayoutVars>
      </dgm:prSet>
      <dgm:spPr/>
    </dgm:pt>
    <dgm:pt modelId="{69867BA3-B7BD-4302-AD61-E9C853280C09}" type="pres">
      <dgm:prSet presAssocID="{96266317-0820-4D15-A9E0-E4100F5D03D6}" presName="levelTx" presStyleLbl="revTx" presStyleIdx="0" presStyleCnt="0">
        <dgm:presLayoutVars>
          <dgm:chMax val="1"/>
          <dgm:bulletEnabled val="1"/>
        </dgm:presLayoutVars>
      </dgm:prSet>
      <dgm:spPr/>
    </dgm:pt>
    <dgm:pt modelId="{7DEFD483-9801-45B0-915D-F458BEE72BCB}" type="pres">
      <dgm:prSet presAssocID="{7F1B0F29-6E39-4266-AE10-FD0117BD0607}" presName="Name8" presStyleCnt="0"/>
      <dgm:spPr/>
    </dgm:pt>
    <dgm:pt modelId="{0870BA61-4217-427C-8C7E-4EA239322EAC}" type="pres">
      <dgm:prSet presAssocID="{7F1B0F29-6E39-4266-AE10-FD0117BD0607}" presName="level" presStyleLbl="node1" presStyleIdx="1" presStyleCnt="3">
        <dgm:presLayoutVars>
          <dgm:chMax val="1"/>
          <dgm:bulletEnabled val="1"/>
        </dgm:presLayoutVars>
      </dgm:prSet>
      <dgm:spPr/>
    </dgm:pt>
    <dgm:pt modelId="{41A8C422-F650-45CC-B381-C0F4443102E7}" type="pres">
      <dgm:prSet presAssocID="{7F1B0F29-6E39-4266-AE10-FD0117BD0607}" presName="levelTx" presStyleLbl="revTx" presStyleIdx="0" presStyleCnt="0">
        <dgm:presLayoutVars>
          <dgm:chMax val="1"/>
          <dgm:bulletEnabled val="1"/>
        </dgm:presLayoutVars>
      </dgm:prSet>
      <dgm:spPr/>
    </dgm:pt>
    <dgm:pt modelId="{9CC71D40-1D49-4FFC-8725-867081C07A41}" type="pres">
      <dgm:prSet presAssocID="{6D0A2261-801C-42D8-91A7-2C997EDD487C}" presName="Name8" presStyleCnt="0"/>
      <dgm:spPr/>
    </dgm:pt>
    <dgm:pt modelId="{3662EC92-002E-4F1B-AE1C-6EF3EC3391A1}" type="pres">
      <dgm:prSet presAssocID="{6D0A2261-801C-42D8-91A7-2C997EDD487C}" presName="level" presStyleLbl="node1" presStyleIdx="2" presStyleCnt="3">
        <dgm:presLayoutVars>
          <dgm:chMax val="1"/>
          <dgm:bulletEnabled val="1"/>
        </dgm:presLayoutVars>
      </dgm:prSet>
      <dgm:spPr/>
    </dgm:pt>
    <dgm:pt modelId="{64A32ECC-9666-477E-9320-5B3C56D070B7}" type="pres">
      <dgm:prSet presAssocID="{6D0A2261-801C-42D8-91A7-2C997EDD487C}" presName="levelTx" presStyleLbl="revTx" presStyleIdx="0" presStyleCnt="0">
        <dgm:presLayoutVars>
          <dgm:chMax val="1"/>
          <dgm:bulletEnabled val="1"/>
        </dgm:presLayoutVars>
      </dgm:prSet>
      <dgm:spPr/>
    </dgm:pt>
  </dgm:ptLst>
  <dgm:cxnLst>
    <dgm:cxn modelId="{1D074C1D-9FCA-4D4B-B3E4-90FE5103989E}" type="presOf" srcId="{7F1B0F29-6E39-4266-AE10-FD0117BD0607}" destId="{41A8C422-F650-45CC-B381-C0F4443102E7}" srcOrd="1" destOrd="0" presId="urn:microsoft.com/office/officeart/2005/8/layout/pyramid3"/>
    <dgm:cxn modelId="{DA9FA036-F6F2-4C86-B660-479A220D425F}" type="presOf" srcId="{96266317-0820-4D15-A9E0-E4100F5D03D6}" destId="{07E091AE-D53F-408B-A6C6-547663D5AAC4}" srcOrd="0" destOrd="0" presId="urn:microsoft.com/office/officeart/2005/8/layout/pyramid3"/>
    <dgm:cxn modelId="{DC62EE5F-1F77-4FB4-9EF9-48D0A5F3D9C6}" type="presOf" srcId="{96266317-0820-4D15-A9E0-E4100F5D03D6}" destId="{69867BA3-B7BD-4302-AD61-E9C853280C09}" srcOrd="1" destOrd="0" presId="urn:microsoft.com/office/officeart/2005/8/layout/pyramid3"/>
    <dgm:cxn modelId="{6DA00860-1793-4255-8527-3EED41248DB5}" type="presOf" srcId="{6D0A2261-801C-42D8-91A7-2C997EDD487C}" destId="{3662EC92-002E-4F1B-AE1C-6EF3EC3391A1}" srcOrd="0" destOrd="0" presId="urn:microsoft.com/office/officeart/2005/8/layout/pyramid3"/>
    <dgm:cxn modelId="{6D1BFD41-4C9E-4215-B680-81CDA976CA23}" type="presOf" srcId="{187BA211-35F0-457D-8907-52965C5CF5C6}" destId="{F6CB21B8-B641-4004-8232-3D37DD689D6D}" srcOrd="0" destOrd="0" presId="urn:microsoft.com/office/officeart/2005/8/layout/pyramid3"/>
    <dgm:cxn modelId="{29005D50-2E83-4EA6-89F8-884E0FD07206}" type="presOf" srcId="{7F1B0F29-6E39-4266-AE10-FD0117BD0607}" destId="{0870BA61-4217-427C-8C7E-4EA239322EAC}" srcOrd="0" destOrd="0" presId="urn:microsoft.com/office/officeart/2005/8/layout/pyramid3"/>
    <dgm:cxn modelId="{423E5F98-833A-49C7-9F6C-B8C86E83BA88}" srcId="{187BA211-35F0-457D-8907-52965C5CF5C6}" destId="{96266317-0820-4D15-A9E0-E4100F5D03D6}" srcOrd="0" destOrd="0" parTransId="{0D4DCD13-9C5B-4F68-B3EB-1DD21C3C7E6D}" sibTransId="{95C0DEF4-E74E-481D-8682-99C256241B05}"/>
    <dgm:cxn modelId="{D06161D6-69FE-42E7-84A4-537C35E660B5}" srcId="{187BA211-35F0-457D-8907-52965C5CF5C6}" destId="{6D0A2261-801C-42D8-91A7-2C997EDD487C}" srcOrd="2" destOrd="0" parTransId="{DA5ECBCD-81B7-4DEA-AD0F-7038E2360B09}" sibTransId="{3A15FDD4-6CDE-47C3-806C-5EABE354AFB9}"/>
    <dgm:cxn modelId="{050472DF-847A-44F4-8ED2-6FB399EB1B72}" srcId="{187BA211-35F0-457D-8907-52965C5CF5C6}" destId="{7F1B0F29-6E39-4266-AE10-FD0117BD0607}" srcOrd="1" destOrd="0" parTransId="{720A22CF-54D2-4BEC-BD4F-86FEB90DEC2E}" sibTransId="{ED5AC77C-5B6B-49A1-80CE-9CC3E00218FC}"/>
    <dgm:cxn modelId="{C369B0EC-882F-41AA-87BB-BA4119BD8D07}" type="presOf" srcId="{6D0A2261-801C-42D8-91A7-2C997EDD487C}" destId="{64A32ECC-9666-477E-9320-5B3C56D070B7}" srcOrd="1" destOrd="0" presId="urn:microsoft.com/office/officeart/2005/8/layout/pyramid3"/>
    <dgm:cxn modelId="{EFD3F302-78C3-4104-AE86-6C2B72417361}" type="presParOf" srcId="{F6CB21B8-B641-4004-8232-3D37DD689D6D}" destId="{8AE5B34D-0BB8-4815-BFA1-EA1BA696C7E3}" srcOrd="0" destOrd="0" presId="urn:microsoft.com/office/officeart/2005/8/layout/pyramid3"/>
    <dgm:cxn modelId="{8901A4B1-994C-48E4-B374-12D471D4A664}" type="presParOf" srcId="{8AE5B34D-0BB8-4815-BFA1-EA1BA696C7E3}" destId="{07E091AE-D53F-408B-A6C6-547663D5AAC4}" srcOrd="0" destOrd="0" presId="urn:microsoft.com/office/officeart/2005/8/layout/pyramid3"/>
    <dgm:cxn modelId="{855A8EFF-59A8-4215-AE09-A93C3D07EB22}" type="presParOf" srcId="{8AE5B34D-0BB8-4815-BFA1-EA1BA696C7E3}" destId="{69867BA3-B7BD-4302-AD61-E9C853280C09}" srcOrd="1" destOrd="0" presId="urn:microsoft.com/office/officeart/2005/8/layout/pyramid3"/>
    <dgm:cxn modelId="{8C36F9B4-EE5D-4725-A2A9-7DE6E369CF69}" type="presParOf" srcId="{F6CB21B8-B641-4004-8232-3D37DD689D6D}" destId="{7DEFD483-9801-45B0-915D-F458BEE72BCB}" srcOrd="1" destOrd="0" presId="urn:microsoft.com/office/officeart/2005/8/layout/pyramid3"/>
    <dgm:cxn modelId="{4096AE52-4144-4F22-8CB3-488B7341A075}" type="presParOf" srcId="{7DEFD483-9801-45B0-915D-F458BEE72BCB}" destId="{0870BA61-4217-427C-8C7E-4EA239322EAC}" srcOrd="0" destOrd="0" presId="urn:microsoft.com/office/officeart/2005/8/layout/pyramid3"/>
    <dgm:cxn modelId="{DDB11AA3-8EE9-441A-AAC5-96AC05909944}" type="presParOf" srcId="{7DEFD483-9801-45B0-915D-F458BEE72BCB}" destId="{41A8C422-F650-45CC-B381-C0F4443102E7}" srcOrd="1" destOrd="0" presId="urn:microsoft.com/office/officeart/2005/8/layout/pyramid3"/>
    <dgm:cxn modelId="{B7CEF5EB-D0E5-4723-B299-CED8675B1F31}" type="presParOf" srcId="{F6CB21B8-B641-4004-8232-3D37DD689D6D}" destId="{9CC71D40-1D49-4FFC-8725-867081C07A41}" srcOrd="2" destOrd="0" presId="urn:microsoft.com/office/officeart/2005/8/layout/pyramid3"/>
    <dgm:cxn modelId="{6026EAB3-F900-4BF6-961C-645E0D14686A}" type="presParOf" srcId="{9CC71D40-1D49-4FFC-8725-867081C07A41}" destId="{3662EC92-002E-4F1B-AE1C-6EF3EC3391A1}" srcOrd="0" destOrd="0" presId="urn:microsoft.com/office/officeart/2005/8/layout/pyramid3"/>
    <dgm:cxn modelId="{6845F401-2D29-4173-8B3B-7F6D54481DCB}" type="presParOf" srcId="{9CC71D40-1D49-4FFC-8725-867081C07A41}" destId="{64A32ECC-9666-477E-9320-5B3C56D070B7}"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6AD74-280E-4915-BBBA-0130EAB508B1}" type="doc">
      <dgm:prSet loTypeId="urn:microsoft.com/office/officeart/2005/8/layout/process1" loCatId="process" qsTypeId="urn:microsoft.com/office/officeart/2005/8/quickstyle/simple1" qsCatId="simple" csTypeId="urn:microsoft.com/office/officeart/2005/8/colors/accent1_2" csCatId="accent1" phldr="1"/>
      <dgm:spPr/>
    </dgm:pt>
    <dgm:pt modelId="{8C3A6BC9-B48A-4C1D-82E7-100FA938D563}">
      <dgm:prSet phldrT="[Text]"/>
      <dgm:spPr>
        <a:solidFill>
          <a:schemeClr val="bg1">
            <a:lumMod val="65000"/>
          </a:schemeClr>
        </a:solidFill>
      </dgm:spPr>
      <dgm:t>
        <a:bodyPr/>
        <a:lstStyle/>
        <a:p>
          <a:r>
            <a:rPr lang="en-US">
              <a:latin typeface="Segoe UI"/>
              <a:cs typeface="Segoe UI"/>
            </a:rPr>
            <a:t>1M</a:t>
          </a:r>
        </a:p>
      </dgm:t>
    </dgm:pt>
    <dgm:pt modelId="{0CAB1F38-4A19-4946-AC48-6F0E6F12801A}" type="parTrans" cxnId="{FC6B056E-64D8-446B-89C3-85B151CF3B3E}">
      <dgm:prSet/>
      <dgm:spPr/>
      <dgm:t>
        <a:bodyPr/>
        <a:lstStyle/>
        <a:p>
          <a:endParaRPr lang="en-US">
            <a:latin typeface="Segoe UI" panose="020B0502040204020203" pitchFamily="34" charset="0"/>
            <a:cs typeface="Segoe UI" panose="020B0502040204020203" pitchFamily="34" charset="0"/>
          </a:endParaRPr>
        </a:p>
      </dgm:t>
    </dgm:pt>
    <dgm:pt modelId="{E18899D0-0961-4D2C-8665-051F6AB34E60}" type="sibTrans" cxnId="{FC6B056E-64D8-446B-89C3-85B151CF3B3E}">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F6F00FFE-4EAD-4B5A-B370-FF01E441954A}">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EFF52375-9BAD-450D-BA9E-43587885ABD7}" type="parTrans" cxnId="{76C0CAEA-F6BC-4E00-98F7-42B1D90C6DEC}">
      <dgm:prSet/>
      <dgm:spPr/>
      <dgm:t>
        <a:bodyPr/>
        <a:lstStyle/>
        <a:p>
          <a:endParaRPr lang="en-US">
            <a:latin typeface="Segoe UI" panose="020B0502040204020203" pitchFamily="34" charset="0"/>
            <a:cs typeface="Segoe UI" panose="020B0502040204020203" pitchFamily="34" charset="0"/>
          </a:endParaRPr>
        </a:p>
      </dgm:t>
    </dgm:pt>
    <dgm:pt modelId="{333DF442-0980-44A2-AB95-0CD082B5E325}" type="sibTrans" cxnId="{76C0CAEA-F6BC-4E00-98F7-42B1D90C6DEC}">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A53E7F9-0B95-458E-8583-EF08F5936DCD}">
      <dgm:prSet phldrT="[Text]" custT="1"/>
      <dgm:spPr>
        <a:solidFill>
          <a:schemeClr val="bg1">
            <a:lumMod val="65000"/>
          </a:schemeClr>
        </a:solidFill>
      </dgm:spPr>
      <dgm:t>
        <a:bodyPr/>
        <a:lstStyle/>
        <a:p>
          <a:r>
            <a:rPr lang="en-US" sz="3100" kern="1200">
              <a:solidFill>
                <a:prstClr val="white"/>
              </a:solidFill>
              <a:latin typeface="Segoe UI"/>
              <a:ea typeface="+mn-ea"/>
              <a:cs typeface="Segoe UI"/>
            </a:rPr>
            <a:t>1M</a:t>
          </a:r>
        </a:p>
      </dgm:t>
    </dgm:pt>
    <dgm:pt modelId="{BC9AEAAD-862F-41B7-9368-AD9586A901E1}" type="parTrans" cxnId="{C4808917-9CF3-449F-B404-0BE3D952B643}">
      <dgm:prSet/>
      <dgm:spPr/>
      <dgm:t>
        <a:bodyPr/>
        <a:lstStyle/>
        <a:p>
          <a:endParaRPr lang="en-US">
            <a:latin typeface="Segoe UI" panose="020B0502040204020203" pitchFamily="34" charset="0"/>
            <a:cs typeface="Segoe UI" panose="020B0502040204020203" pitchFamily="34" charset="0"/>
          </a:endParaRPr>
        </a:p>
      </dgm:t>
    </dgm:pt>
    <dgm:pt modelId="{35B4E646-2EE6-45BE-BA8C-5136647C7EFA}" type="sibTrans" cxnId="{C4808917-9CF3-449F-B404-0BE3D952B643}">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AF17FB4B-3D06-45AF-A943-3B641C1BB32E}">
      <dgm:prSet phldrT="[Text]"/>
      <dgm:spPr>
        <a:solidFill>
          <a:schemeClr val="bg1">
            <a:lumMod val="65000"/>
          </a:schemeClr>
        </a:solidFill>
      </dgm:spPr>
      <dgm:t>
        <a:bodyPr/>
        <a:lstStyle/>
        <a:p>
          <a:r>
            <a:rPr lang="en-US">
              <a:latin typeface="Segoe UI"/>
              <a:cs typeface="Segoe UI"/>
            </a:rPr>
            <a:t>…</a:t>
          </a:r>
        </a:p>
      </dgm:t>
    </dgm:pt>
    <dgm:pt modelId="{1BC612BA-50CE-4E94-9C4F-939F6FA65F14}" type="parTrans" cxnId="{763E3DB7-6569-4C0D-94FE-38BC284AAA8F}">
      <dgm:prSet/>
      <dgm:spPr/>
      <dgm:t>
        <a:bodyPr/>
        <a:lstStyle/>
        <a:p>
          <a:endParaRPr lang="en-US">
            <a:latin typeface="Segoe UI" panose="020B0502040204020203" pitchFamily="34" charset="0"/>
            <a:cs typeface="Segoe UI" panose="020B0502040204020203" pitchFamily="34" charset="0"/>
          </a:endParaRPr>
        </a:p>
      </dgm:t>
    </dgm:pt>
    <dgm:pt modelId="{B3AEA3DD-0F2A-42A4-A9EA-64184B838CEA}" type="sibTrans" cxnId="{763E3DB7-6569-4C0D-94FE-38BC284AAA8F}">
      <dgm:prSet/>
      <dgm:spPr>
        <a:solidFill>
          <a:schemeClr val="tx1"/>
        </a:solidFill>
      </dgm:spPr>
      <dgm:t>
        <a:bodyPr/>
        <a:lstStyle/>
        <a:p>
          <a:endParaRPr lang="en-US">
            <a:latin typeface="Segoe UI" panose="020B0502040204020203" pitchFamily="34" charset="0"/>
            <a:cs typeface="Segoe UI" panose="020B0502040204020203" pitchFamily="34" charset="0"/>
          </a:endParaRPr>
        </a:p>
      </dgm:t>
    </dgm:pt>
    <dgm:pt modelId="{067D8D75-32C1-43C1-838E-300A16AE07B8}">
      <dgm:prSet phldrT="[Text]"/>
      <dgm:spPr>
        <a:solidFill>
          <a:schemeClr val="bg1">
            <a:lumMod val="65000"/>
          </a:schemeClr>
        </a:solidFill>
      </dgm:spPr>
      <dgm:t>
        <a:bodyPr/>
        <a:lstStyle/>
        <a:p>
          <a:r>
            <a:rPr lang="en-US">
              <a:latin typeface="Segoe UI"/>
              <a:cs typeface="Segoe UI"/>
            </a:rPr>
            <a:t>Model</a:t>
          </a:r>
        </a:p>
      </dgm:t>
    </dgm:pt>
    <dgm:pt modelId="{9D2F820B-59E0-448B-832C-45E3339EF6DB}" type="par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26CF408D-0AED-438A-84AC-85CFD07706DE}" type="sibTrans" cxnId="{CA20F9F1-10BF-4829-9148-24FD0E403786}">
      <dgm:prSet/>
      <dgm:spPr/>
      <dgm:t>
        <a:bodyPr/>
        <a:lstStyle/>
        <a:p>
          <a:endParaRPr lang="en-US">
            <a:latin typeface="Segoe UI" panose="020B0502040204020203" pitchFamily="34" charset="0"/>
            <a:cs typeface="Segoe UI" panose="020B0502040204020203" pitchFamily="34" charset="0"/>
          </a:endParaRPr>
        </a:p>
      </dgm:t>
    </dgm:pt>
    <dgm:pt modelId="{36D2F89F-5172-44E9-B2DC-14A957605A5F}" type="pres">
      <dgm:prSet presAssocID="{FAB6AD74-280E-4915-BBBA-0130EAB508B1}" presName="Name0" presStyleCnt="0">
        <dgm:presLayoutVars>
          <dgm:dir/>
          <dgm:resizeHandles val="exact"/>
        </dgm:presLayoutVars>
      </dgm:prSet>
      <dgm:spPr/>
    </dgm:pt>
    <dgm:pt modelId="{29150B59-0B90-46E8-9768-9BA30A6D62E4}" type="pres">
      <dgm:prSet presAssocID="{8C3A6BC9-B48A-4C1D-82E7-100FA938D563}" presName="node" presStyleLbl="node1" presStyleIdx="0" presStyleCnt="5">
        <dgm:presLayoutVars>
          <dgm:bulletEnabled val="1"/>
        </dgm:presLayoutVars>
      </dgm:prSet>
      <dgm:spPr/>
    </dgm:pt>
    <dgm:pt modelId="{7E6DE381-6BBD-430C-83B5-6C15F09BCF6A}" type="pres">
      <dgm:prSet presAssocID="{E18899D0-0961-4D2C-8665-051F6AB34E60}" presName="sibTrans" presStyleLbl="sibTrans2D1" presStyleIdx="0" presStyleCnt="4"/>
      <dgm:spPr/>
    </dgm:pt>
    <dgm:pt modelId="{EE90C5C1-BB5A-4B8F-A635-7FFF9CB1F190}" type="pres">
      <dgm:prSet presAssocID="{E18899D0-0961-4D2C-8665-051F6AB34E60}" presName="connectorText" presStyleLbl="sibTrans2D1" presStyleIdx="0" presStyleCnt="4"/>
      <dgm:spPr/>
    </dgm:pt>
    <dgm:pt modelId="{F38B7CE1-A879-48CC-9DD9-4D17D0D7999C}" type="pres">
      <dgm:prSet presAssocID="{F6F00FFE-4EAD-4B5A-B370-FF01E441954A}" presName="node" presStyleLbl="node1" presStyleIdx="1" presStyleCnt="5">
        <dgm:presLayoutVars>
          <dgm:bulletEnabled val="1"/>
        </dgm:presLayoutVars>
      </dgm:prSet>
      <dgm:spPr/>
    </dgm:pt>
    <dgm:pt modelId="{554C59A2-F510-474B-944F-4FEE21DB775D}" type="pres">
      <dgm:prSet presAssocID="{333DF442-0980-44A2-AB95-0CD082B5E325}" presName="sibTrans" presStyleLbl="sibTrans2D1" presStyleIdx="1" presStyleCnt="4"/>
      <dgm:spPr/>
    </dgm:pt>
    <dgm:pt modelId="{C50A1F00-5251-487D-9E6F-81DF14491499}" type="pres">
      <dgm:prSet presAssocID="{333DF442-0980-44A2-AB95-0CD082B5E325}" presName="connectorText" presStyleLbl="sibTrans2D1" presStyleIdx="1" presStyleCnt="4"/>
      <dgm:spPr/>
    </dgm:pt>
    <dgm:pt modelId="{1D3EE6CD-3321-4358-9040-E1B47919D934}" type="pres">
      <dgm:prSet presAssocID="{AA53E7F9-0B95-458E-8583-EF08F5936DCD}" presName="node" presStyleLbl="node1" presStyleIdx="2" presStyleCnt="5">
        <dgm:presLayoutVars>
          <dgm:bulletEnabled val="1"/>
        </dgm:presLayoutVars>
      </dgm:prSet>
      <dgm:spPr/>
    </dgm:pt>
    <dgm:pt modelId="{28F8CDC0-E374-4543-A5AB-985BAA86A247}" type="pres">
      <dgm:prSet presAssocID="{35B4E646-2EE6-45BE-BA8C-5136647C7EFA}" presName="sibTrans" presStyleLbl="sibTrans2D1" presStyleIdx="2" presStyleCnt="4"/>
      <dgm:spPr/>
    </dgm:pt>
    <dgm:pt modelId="{06F263B8-9D57-4EBA-9F6D-2C9747BDDD37}" type="pres">
      <dgm:prSet presAssocID="{35B4E646-2EE6-45BE-BA8C-5136647C7EFA}" presName="connectorText" presStyleLbl="sibTrans2D1" presStyleIdx="2" presStyleCnt="4"/>
      <dgm:spPr/>
    </dgm:pt>
    <dgm:pt modelId="{248275CA-6548-4D0B-A163-56AE036BAF82}" type="pres">
      <dgm:prSet presAssocID="{AF17FB4B-3D06-45AF-A943-3B641C1BB32E}" presName="node" presStyleLbl="node1" presStyleIdx="3" presStyleCnt="5">
        <dgm:presLayoutVars>
          <dgm:bulletEnabled val="1"/>
        </dgm:presLayoutVars>
      </dgm:prSet>
      <dgm:spPr/>
    </dgm:pt>
    <dgm:pt modelId="{D2D26390-4359-4FE4-AE8A-1AB2F8EFE066}" type="pres">
      <dgm:prSet presAssocID="{B3AEA3DD-0F2A-42A4-A9EA-64184B838CEA}" presName="sibTrans" presStyleLbl="sibTrans2D1" presStyleIdx="3" presStyleCnt="4"/>
      <dgm:spPr/>
    </dgm:pt>
    <dgm:pt modelId="{D644487E-B33D-4DCD-A72A-66DD0CC16FE5}" type="pres">
      <dgm:prSet presAssocID="{B3AEA3DD-0F2A-42A4-A9EA-64184B838CEA}" presName="connectorText" presStyleLbl="sibTrans2D1" presStyleIdx="3" presStyleCnt="4"/>
      <dgm:spPr/>
    </dgm:pt>
    <dgm:pt modelId="{A0B9D9DB-49C0-47E4-A88B-FE8D78B470C6}" type="pres">
      <dgm:prSet presAssocID="{067D8D75-32C1-43C1-838E-300A16AE07B8}" presName="node" presStyleLbl="node1" presStyleIdx="4" presStyleCnt="5">
        <dgm:presLayoutVars>
          <dgm:bulletEnabled val="1"/>
        </dgm:presLayoutVars>
      </dgm:prSet>
      <dgm:spPr/>
    </dgm:pt>
  </dgm:ptLst>
  <dgm:cxnLst>
    <dgm:cxn modelId="{CB6F1B02-1E21-4656-8A00-0FE5DC68EE4B}" type="presOf" srcId="{E18899D0-0961-4D2C-8665-051F6AB34E60}" destId="{EE90C5C1-BB5A-4B8F-A635-7FFF9CB1F190}" srcOrd="1" destOrd="0" presId="urn:microsoft.com/office/officeart/2005/8/layout/process1"/>
    <dgm:cxn modelId="{E9A0FB0C-4263-49F8-9C28-556830AA612C}" type="presOf" srcId="{067D8D75-32C1-43C1-838E-300A16AE07B8}" destId="{A0B9D9DB-49C0-47E4-A88B-FE8D78B470C6}" srcOrd="0" destOrd="0" presId="urn:microsoft.com/office/officeart/2005/8/layout/process1"/>
    <dgm:cxn modelId="{C4808917-9CF3-449F-B404-0BE3D952B643}" srcId="{FAB6AD74-280E-4915-BBBA-0130EAB508B1}" destId="{AA53E7F9-0B95-458E-8583-EF08F5936DCD}" srcOrd="2" destOrd="0" parTransId="{BC9AEAAD-862F-41B7-9368-AD9586A901E1}" sibTransId="{35B4E646-2EE6-45BE-BA8C-5136647C7EFA}"/>
    <dgm:cxn modelId="{A65F3428-3E10-48BE-AD3F-BAC5C5BF1746}" type="presOf" srcId="{FAB6AD74-280E-4915-BBBA-0130EAB508B1}" destId="{36D2F89F-5172-44E9-B2DC-14A957605A5F}" srcOrd="0" destOrd="0" presId="urn:microsoft.com/office/officeart/2005/8/layout/process1"/>
    <dgm:cxn modelId="{3247AA2C-A3A5-45CC-ACCA-CEF481440941}" type="presOf" srcId="{35B4E646-2EE6-45BE-BA8C-5136647C7EFA}" destId="{28F8CDC0-E374-4543-A5AB-985BAA86A247}" srcOrd="0" destOrd="0" presId="urn:microsoft.com/office/officeart/2005/8/layout/process1"/>
    <dgm:cxn modelId="{497CF733-46D9-437A-803D-47CA3F224E61}" type="presOf" srcId="{B3AEA3DD-0F2A-42A4-A9EA-64184B838CEA}" destId="{D644487E-B33D-4DCD-A72A-66DD0CC16FE5}" srcOrd="1" destOrd="0" presId="urn:microsoft.com/office/officeart/2005/8/layout/process1"/>
    <dgm:cxn modelId="{00FAB247-344A-455B-99EF-D2875D26421F}" type="presOf" srcId="{333DF442-0980-44A2-AB95-0CD082B5E325}" destId="{554C59A2-F510-474B-944F-4FEE21DB775D}" srcOrd="0" destOrd="0" presId="urn:microsoft.com/office/officeart/2005/8/layout/process1"/>
    <dgm:cxn modelId="{FC6B056E-64D8-446B-89C3-85B151CF3B3E}" srcId="{FAB6AD74-280E-4915-BBBA-0130EAB508B1}" destId="{8C3A6BC9-B48A-4C1D-82E7-100FA938D563}" srcOrd="0" destOrd="0" parTransId="{0CAB1F38-4A19-4946-AC48-6F0E6F12801A}" sibTransId="{E18899D0-0961-4D2C-8665-051F6AB34E60}"/>
    <dgm:cxn modelId="{FE791F8B-0CE3-45E3-B38D-63293099A3D6}" type="presOf" srcId="{E18899D0-0961-4D2C-8665-051F6AB34E60}" destId="{7E6DE381-6BBD-430C-83B5-6C15F09BCF6A}" srcOrd="0" destOrd="0" presId="urn:microsoft.com/office/officeart/2005/8/layout/process1"/>
    <dgm:cxn modelId="{E8BD5DB1-EA7C-41EC-9F22-8558A5109A30}" type="presOf" srcId="{AF17FB4B-3D06-45AF-A943-3B641C1BB32E}" destId="{248275CA-6548-4D0B-A163-56AE036BAF82}" srcOrd="0" destOrd="0" presId="urn:microsoft.com/office/officeart/2005/8/layout/process1"/>
    <dgm:cxn modelId="{763E3DB7-6569-4C0D-94FE-38BC284AAA8F}" srcId="{FAB6AD74-280E-4915-BBBA-0130EAB508B1}" destId="{AF17FB4B-3D06-45AF-A943-3B641C1BB32E}" srcOrd="3" destOrd="0" parTransId="{1BC612BA-50CE-4E94-9C4F-939F6FA65F14}" sibTransId="{B3AEA3DD-0F2A-42A4-A9EA-64184B838CEA}"/>
    <dgm:cxn modelId="{7729D3B8-08B5-4F38-B794-9608C508087D}" type="presOf" srcId="{333DF442-0980-44A2-AB95-0CD082B5E325}" destId="{C50A1F00-5251-487D-9E6F-81DF14491499}" srcOrd="1" destOrd="0" presId="urn:microsoft.com/office/officeart/2005/8/layout/process1"/>
    <dgm:cxn modelId="{9A276DC6-8F97-4D9F-A017-B51D42B8AE46}" type="presOf" srcId="{35B4E646-2EE6-45BE-BA8C-5136647C7EFA}" destId="{06F263B8-9D57-4EBA-9F6D-2C9747BDDD37}" srcOrd="1" destOrd="0" presId="urn:microsoft.com/office/officeart/2005/8/layout/process1"/>
    <dgm:cxn modelId="{D10CE6CD-0D10-4A96-B16C-9B8AC499D08D}" type="presOf" srcId="{8C3A6BC9-B48A-4C1D-82E7-100FA938D563}" destId="{29150B59-0B90-46E8-9768-9BA30A6D62E4}" srcOrd="0" destOrd="0" presId="urn:microsoft.com/office/officeart/2005/8/layout/process1"/>
    <dgm:cxn modelId="{84D52DDA-BB9C-4620-8F00-06F4EFAA2765}" type="presOf" srcId="{B3AEA3DD-0F2A-42A4-A9EA-64184B838CEA}" destId="{D2D26390-4359-4FE4-AE8A-1AB2F8EFE066}" srcOrd="0" destOrd="0" presId="urn:microsoft.com/office/officeart/2005/8/layout/process1"/>
    <dgm:cxn modelId="{76C0CAEA-F6BC-4E00-98F7-42B1D90C6DEC}" srcId="{FAB6AD74-280E-4915-BBBA-0130EAB508B1}" destId="{F6F00FFE-4EAD-4B5A-B370-FF01E441954A}" srcOrd="1" destOrd="0" parTransId="{EFF52375-9BAD-450D-BA9E-43587885ABD7}" sibTransId="{333DF442-0980-44A2-AB95-0CD082B5E325}"/>
    <dgm:cxn modelId="{CA20F9F1-10BF-4829-9148-24FD0E403786}" srcId="{FAB6AD74-280E-4915-BBBA-0130EAB508B1}" destId="{067D8D75-32C1-43C1-838E-300A16AE07B8}" srcOrd="4" destOrd="0" parTransId="{9D2F820B-59E0-448B-832C-45E3339EF6DB}" sibTransId="{26CF408D-0AED-438A-84AC-85CFD07706DE}"/>
    <dgm:cxn modelId="{A682ECF2-A99D-42F6-B432-A9163F6D6998}" type="presOf" srcId="{AA53E7F9-0B95-458E-8583-EF08F5936DCD}" destId="{1D3EE6CD-3321-4358-9040-E1B47919D934}" srcOrd="0" destOrd="0" presId="urn:microsoft.com/office/officeart/2005/8/layout/process1"/>
    <dgm:cxn modelId="{A471DDF9-3305-47F2-BBA8-1DFD2DEEFDEE}" type="presOf" srcId="{F6F00FFE-4EAD-4B5A-B370-FF01E441954A}" destId="{F38B7CE1-A879-48CC-9DD9-4D17D0D7999C}" srcOrd="0" destOrd="0" presId="urn:microsoft.com/office/officeart/2005/8/layout/process1"/>
    <dgm:cxn modelId="{124806EF-68D9-4681-8C25-220CF76BF87C}" type="presParOf" srcId="{36D2F89F-5172-44E9-B2DC-14A957605A5F}" destId="{29150B59-0B90-46E8-9768-9BA30A6D62E4}" srcOrd="0" destOrd="0" presId="urn:microsoft.com/office/officeart/2005/8/layout/process1"/>
    <dgm:cxn modelId="{D98C4D31-6B92-44CA-BE29-17408248A4C4}" type="presParOf" srcId="{36D2F89F-5172-44E9-B2DC-14A957605A5F}" destId="{7E6DE381-6BBD-430C-83B5-6C15F09BCF6A}" srcOrd="1" destOrd="0" presId="urn:microsoft.com/office/officeart/2005/8/layout/process1"/>
    <dgm:cxn modelId="{84931AE2-4482-4640-AE5F-4D95DC057994}" type="presParOf" srcId="{7E6DE381-6BBD-430C-83B5-6C15F09BCF6A}" destId="{EE90C5C1-BB5A-4B8F-A635-7FFF9CB1F190}" srcOrd="0" destOrd="0" presId="urn:microsoft.com/office/officeart/2005/8/layout/process1"/>
    <dgm:cxn modelId="{2B5CBBA9-6084-4DF8-AAB2-BACF94046219}" type="presParOf" srcId="{36D2F89F-5172-44E9-B2DC-14A957605A5F}" destId="{F38B7CE1-A879-48CC-9DD9-4D17D0D7999C}" srcOrd="2" destOrd="0" presId="urn:microsoft.com/office/officeart/2005/8/layout/process1"/>
    <dgm:cxn modelId="{33776D5D-C80C-4E64-87FB-ECDF1752995B}" type="presParOf" srcId="{36D2F89F-5172-44E9-B2DC-14A957605A5F}" destId="{554C59A2-F510-474B-944F-4FEE21DB775D}" srcOrd="3" destOrd="0" presId="urn:microsoft.com/office/officeart/2005/8/layout/process1"/>
    <dgm:cxn modelId="{18F4FC6E-663E-4D5C-A051-45C83FA861CA}" type="presParOf" srcId="{554C59A2-F510-474B-944F-4FEE21DB775D}" destId="{C50A1F00-5251-487D-9E6F-81DF14491499}" srcOrd="0" destOrd="0" presId="urn:microsoft.com/office/officeart/2005/8/layout/process1"/>
    <dgm:cxn modelId="{D17814C0-9C17-47EE-8C30-2C850A1C4D18}" type="presParOf" srcId="{36D2F89F-5172-44E9-B2DC-14A957605A5F}" destId="{1D3EE6CD-3321-4358-9040-E1B47919D934}" srcOrd="4" destOrd="0" presId="urn:microsoft.com/office/officeart/2005/8/layout/process1"/>
    <dgm:cxn modelId="{E9DC9BFD-7424-41FD-87E3-979B63E69B81}" type="presParOf" srcId="{36D2F89F-5172-44E9-B2DC-14A957605A5F}" destId="{28F8CDC0-E374-4543-A5AB-985BAA86A247}" srcOrd="5" destOrd="0" presId="urn:microsoft.com/office/officeart/2005/8/layout/process1"/>
    <dgm:cxn modelId="{B3CB0EEA-BFA5-4D4E-A7A3-2FA6D0150096}" type="presParOf" srcId="{28F8CDC0-E374-4543-A5AB-985BAA86A247}" destId="{06F263B8-9D57-4EBA-9F6D-2C9747BDDD37}" srcOrd="0" destOrd="0" presId="urn:microsoft.com/office/officeart/2005/8/layout/process1"/>
    <dgm:cxn modelId="{4CC74199-EC57-4024-B227-A37972449A6B}" type="presParOf" srcId="{36D2F89F-5172-44E9-B2DC-14A957605A5F}" destId="{248275CA-6548-4D0B-A163-56AE036BAF82}" srcOrd="6" destOrd="0" presId="urn:microsoft.com/office/officeart/2005/8/layout/process1"/>
    <dgm:cxn modelId="{1D1B5824-4AA0-4B13-89F9-1DE8CBA75881}" type="presParOf" srcId="{36D2F89F-5172-44E9-B2DC-14A957605A5F}" destId="{D2D26390-4359-4FE4-AE8A-1AB2F8EFE066}" srcOrd="7" destOrd="0" presId="urn:microsoft.com/office/officeart/2005/8/layout/process1"/>
    <dgm:cxn modelId="{D17A588E-BE2B-4E0C-BD26-6ACB8B3FAC5B}" type="presParOf" srcId="{D2D26390-4359-4FE4-AE8A-1AB2F8EFE066}" destId="{D644487E-B33D-4DCD-A72A-66DD0CC16FE5}" srcOrd="0" destOrd="0" presId="urn:microsoft.com/office/officeart/2005/8/layout/process1"/>
    <dgm:cxn modelId="{00B66EA0-7EB8-4419-B4D3-C9F67AE95C86}" type="presParOf" srcId="{36D2F89F-5172-44E9-B2DC-14A957605A5F}" destId="{A0B9D9DB-49C0-47E4-A88B-FE8D78B470C6}" srcOrd="8" destOrd="0" presId="urn:microsoft.com/office/officeart/2005/8/layout/process1"/>
  </dgm:cxnLst>
  <dgm:bg>
    <a:solidFill>
      <a:schemeClr val="bg1">
        <a:lumMod val="95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1DC7-87BF-48DD-8542-A2D0604B95A3}" type="doc">
      <dgm:prSet loTypeId="urn:microsoft.com/office/officeart/2018/5/layout/IconCircleLabelList" loCatId="icon" qsTypeId="urn:microsoft.com/office/officeart/2005/8/quickstyle/simple1" qsCatId="simple" csTypeId="urn:microsoft.com/office/officeart/2005/8/colors/accent4_5" csCatId="accent4" phldr="1"/>
      <dgm:spPr/>
      <dgm:t>
        <a:bodyPr/>
        <a:lstStyle/>
        <a:p>
          <a:endParaRPr lang="en-US"/>
        </a:p>
      </dgm:t>
    </dgm:pt>
    <dgm:pt modelId="{850FAB0D-190C-4B5E-8469-747D5D996CCB}">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gm:t>
    </dgm:pt>
    <dgm:pt modelId="{37C81B84-62E1-4027-B7E6-D4BAB4E457E1}" type="parTrans" cxnId="{7B520F88-0A8E-4F58-AA06-C050C603D2AF}">
      <dgm:prSet/>
      <dgm:spPr/>
      <dgm:t>
        <a:bodyPr/>
        <a:lstStyle/>
        <a:p>
          <a:endParaRPr lang="en-US"/>
        </a:p>
      </dgm:t>
    </dgm:pt>
    <dgm:pt modelId="{FBEFD68D-457E-45BC-A86E-9A9A4CAC3E20}" type="sibTrans" cxnId="{7B520F88-0A8E-4F58-AA06-C050C603D2AF}">
      <dgm:prSet/>
      <dgm:spPr/>
      <dgm:t>
        <a:bodyPr/>
        <a:lstStyle/>
        <a:p>
          <a:endParaRPr lang="en-US"/>
        </a:p>
      </dgm:t>
    </dgm:pt>
    <dgm:pt modelId="{25538840-AB6C-4F8D-B63F-8EFE7DCD5D0D}">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gm:t>
    </dgm:pt>
    <dgm:pt modelId="{DD59A7CB-BB4E-4E9F-9476-1C8ED2F5F356}" type="parTrans" cxnId="{20B9F5BC-490C-4504-A297-37E7E976FBB7}">
      <dgm:prSet/>
      <dgm:spPr/>
      <dgm:t>
        <a:bodyPr/>
        <a:lstStyle/>
        <a:p>
          <a:endParaRPr lang="en-US"/>
        </a:p>
      </dgm:t>
    </dgm:pt>
    <dgm:pt modelId="{B1DE17D4-CA40-4BE9-8208-3AAE4D5642B4}" type="sibTrans" cxnId="{20B9F5BC-490C-4504-A297-37E7E976FBB7}">
      <dgm:prSet/>
      <dgm:spPr/>
      <dgm:t>
        <a:bodyPr/>
        <a:lstStyle/>
        <a:p>
          <a:endParaRPr lang="en-US"/>
        </a:p>
      </dgm:t>
    </dgm:pt>
    <dgm:pt modelId="{059EFA65-AEB9-4B90-B7BA-E153DD86A525}">
      <dgm:prSet custT="1"/>
      <dgm:spPr/>
      <dgm:t>
        <a:bodyPr/>
        <a:lstStyle/>
        <a:p>
          <a:pPr>
            <a:lnSpc>
              <a:spcPct val="100000"/>
            </a:lnSpc>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gm:t>
    </dgm:pt>
    <dgm:pt modelId="{9F4D8D43-9496-48FB-A1F4-B1CB6582C0BE}" type="parTrans" cxnId="{CDAE299A-59D6-43F1-A35E-30466EC60B5E}">
      <dgm:prSet/>
      <dgm:spPr/>
      <dgm:t>
        <a:bodyPr/>
        <a:lstStyle/>
        <a:p>
          <a:endParaRPr lang="en-US"/>
        </a:p>
      </dgm:t>
    </dgm:pt>
    <dgm:pt modelId="{8A7690F7-E09C-4235-A289-A47E8761A636}" type="sibTrans" cxnId="{CDAE299A-59D6-43F1-A35E-30466EC60B5E}">
      <dgm:prSet/>
      <dgm:spPr/>
      <dgm:t>
        <a:bodyPr/>
        <a:lstStyle/>
        <a:p>
          <a:endParaRPr lang="en-US"/>
        </a:p>
      </dgm:t>
    </dgm:pt>
    <dgm:pt modelId="{BC45C170-8192-4AAE-95DA-786BF4170ECD}">
      <dgm:prSet custT="1"/>
      <dgm:spPr/>
      <dgm:t>
        <a:bodyPr/>
        <a:lstStyle/>
        <a:p>
          <a:pPr>
            <a:lnSpc>
              <a:spcPct val="100000"/>
            </a:lnSpc>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gm:t>
    </dgm:pt>
    <dgm:pt modelId="{08CB77EA-C83B-4FAA-B4DB-A649AB9A3CB6}" type="parTrans" cxnId="{88B0DF84-9500-468B-B875-99915116BF4F}">
      <dgm:prSet/>
      <dgm:spPr/>
      <dgm:t>
        <a:bodyPr/>
        <a:lstStyle/>
        <a:p>
          <a:endParaRPr lang="en-US"/>
        </a:p>
      </dgm:t>
    </dgm:pt>
    <dgm:pt modelId="{06B16E98-C09C-4A5D-9F5D-F79F56A8E225}" type="sibTrans" cxnId="{88B0DF84-9500-468B-B875-99915116BF4F}">
      <dgm:prSet/>
      <dgm:spPr/>
      <dgm:t>
        <a:bodyPr/>
        <a:lstStyle/>
        <a:p>
          <a:endParaRPr lang="en-US"/>
        </a:p>
      </dgm:t>
    </dgm:pt>
    <dgm:pt modelId="{B2564A7B-53A8-48AB-9E53-758F9FFD60C6}" type="pres">
      <dgm:prSet presAssocID="{35511DC7-87BF-48DD-8542-A2D0604B95A3}" presName="root" presStyleCnt="0">
        <dgm:presLayoutVars>
          <dgm:dir/>
          <dgm:resizeHandles val="exact"/>
        </dgm:presLayoutVars>
      </dgm:prSet>
      <dgm:spPr/>
    </dgm:pt>
    <dgm:pt modelId="{D03FF0BC-978F-45AB-A131-71059F6B936A}" type="pres">
      <dgm:prSet presAssocID="{850FAB0D-190C-4B5E-8469-747D5D996CCB}" presName="compNode" presStyleCnt="0"/>
      <dgm:spPr/>
    </dgm:pt>
    <dgm:pt modelId="{6C63B464-8759-4E61-9C81-1D46F9C9A4D2}" type="pres">
      <dgm:prSet presAssocID="{850FAB0D-190C-4B5E-8469-747D5D996CCB}" presName="iconBgRect" presStyleLbl="bgShp" presStyleIdx="0" presStyleCnt="4"/>
      <dgm:spPr>
        <a:solidFill>
          <a:schemeClr val="tx1">
            <a:lumMod val="65000"/>
            <a:lumOff val="35000"/>
          </a:schemeClr>
        </a:solidFill>
      </dgm:spPr>
    </dgm:pt>
    <dgm:pt modelId="{EB3C8009-E2B9-490C-9860-ED58AFD5D528}" type="pres">
      <dgm:prSet presAssocID="{850FAB0D-190C-4B5E-8469-747D5D996CCB}"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Warning"/>
        </a:ext>
      </dgm:extLst>
    </dgm:pt>
    <dgm:pt modelId="{742B5142-213B-480E-A3C9-70B14A479B85}" type="pres">
      <dgm:prSet presAssocID="{850FAB0D-190C-4B5E-8469-747D5D996CCB}" presName="spaceRect" presStyleCnt="0"/>
      <dgm:spPr/>
    </dgm:pt>
    <dgm:pt modelId="{B2836A5D-E40A-496F-BC32-F824495B8587}" type="pres">
      <dgm:prSet presAssocID="{850FAB0D-190C-4B5E-8469-747D5D996CCB}" presName="textRect" presStyleLbl="revTx" presStyleIdx="0" presStyleCnt="4">
        <dgm:presLayoutVars>
          <dgm:chMax val="1"/>
          <dgm:chPref val="1"/>
        </dgm:presLayoutVars>
      </dgm:prSet>
      <dgm:spPr/>
    </dgm:pt>
    <dgm:pt modelId="{086E4163-59E7-45A5-B46C-C30B791F77A7}" type="pres">
      <dgm:prSet presAssocID="{FBEFD68D-457E-45BC-A86E-9A9A4CAC3E20}" presName="sibTrans" presStyleCnt="0"/>
      <dgm:spPr/>
    </dgm:pt>
    <dgm:pt modelId="{198BB991-4986-4DC4-A3AB-A9C8ED5499EC}" type="pres">
      <dgm:prSet presAssocID="{25538840-AB6C-4F8D-B63F-8EFE7DCD5D0D}" presName="compNode" presStyleCnt="0"/>
      <dgm:spPr/>
    </dgm:pt>
    <dgm:pt modelId="{28EED2B0-F1F7-46D6-BF5A-5511EA0674F0}" type="pres">
      <dgm:prSet presAssocID="{25538840-AB6C-4F8D-B63F-8EFE7DCD5D0D}" presName="iconBgRect" presStyleLbl="bgShp" presStyleIdx="1" presStyleCnt="4"/>
      <dgm:spPr>
        <a:solidFill>
          <a:schemeClr val="tx1">
            <a:lumMod val="65000"/>
            <a:lumOff val="35000"/>
          </a:schemeClr>
        </a:solidFill>
      </dgm:spPr>
    </dgm:pt>
    <dgm:pt modelId="{33F57FEE-B569-4823-99AF-3F2947AE0F78}" type="pres">
      <dgm:prSet presAssocID="{25538840-AB6C-4F8D-B63F-8EFE7DCD5D0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CA04123E-B359-4875-B0B0-1633247FE214}" type="pres">
      <dgm:prSet presAssocID="{25538840-AB6C-4F8D-B63F-8EFE7DCD5D0D}" presName="spaceRect" presStyleCnt="0"/>
      <dgm:spPr/>
    </dgm:pt>
    <dgm:pt modelId="{8F5D34D3-B443-42E2-BD65-64AEA40DFAF3}" type="pres">
      <dgm:prSet presAssocID="{25538840-AB6C-4F8D-B63F-8EFE7DCD5D0D}" presName="textRect" presStyleLbl="revTx" presStyleIdx="1" presStyleCnt="4">
        <dgm:presLayoutVars>
          <dgm:chMax val="1"/>
          <dgm:chPref val="1"/>
        </dgm:presLayoutVars>
      </dgm:prSet>
      <dgm:spPr/>
    </dgm:pt>
    <dgm:pt modelId="{D92F2705-BCF9-478C-A250-81587D11FFAB}" type="pres">
      <dgm:prSet presAssocID="{B1DE17D4-CA40-4BE9-8208-3AAE4D5642B4}" presName="sibTrans" presStyleCnt="0"/>
      <dgm:spPr/>
    </dgm:pt>
    <dgm:pt modelId="{40107F2A-FD2D-481B-A7AD-AD1DDC9CBFFF}" type="pres">
      <dgm:prSet presAssocID="{059EFA65-AEB9-4B90-B7BA-E153DD86A525}" presName="compNode" presStyleCnt="0"/>
      <dgm:spPr/>
    </dgm:pt>
    <dgm:pt modelId="{5EB352DD-C631-49D7-80AA-9DD14541AD57}" type="pres">
      <dgm:prSet presAssocID="{059EFA65-AEB9-4B90-B7BA-E153DD86A525}" presName="iconBgRect" presStyleLbl="bgShp" presStyleIdx="2" presStyleCnt="4"/>
      <dgm:spPr>
        <a:solidFill>
          <a:schemeClr val="tx1">
            <a:lumMod val="65000"/>
            <a:lumOff val="35000"/>
          </a:schemeClr>
        </a:solidFill>
      </dgm:spPr>
    </dgm:pt>
    <dgm:pt modelId="{A81C64E1-C528-4F6A-854A-88B668708A69}" type="pres">
      <dgm:prSet presAssocID="{059EFA65-AEB9-4B90-B7BA-E153DD86A52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ut with solid fill"/>
        </a:ext>
      </dgm:extLst>
    </dgm:pt>
    <dgm:pt modelId="{9A3BE3E8-DEC2-4BA2-940C-BBBDE7F30EF6}" type="pres">
      <dgm:prSet presAssocID="{059EFA65-AEB9-4B90-B7BA-E153DD86A525}" presName="spaceRect" presStyleCnt="0"/>
      <dgm:spPr/>
    </dgm:pt>
    <dgm:pt modelId="{FCE2595C-D046-48A0-B5C1-0F6DBFDD8071}" type="pres">
      <dgm:prSet presAssocID="{059EFA65-AEB9-4B90-B7BA-E153DD86A525}" presName="textRect" presStyleLbl="revTx" presStyleIdx="2" presStyleCnt="4">
        <dgm:presLayoutVars>
          <dgm:chMax val="1"/>
          <dgm:chPref val="1"/>
        </dgm:presLayoutVars>
      </dgm:prSet>
      <dgm:spPr/>
    </dgm:pt>
    <dgm:pt modelId="{5F55C343-53C6-4CD8-BA23-0192F3B9CC7D}" type="pres">
      <dgm:prSet presAssocID="{8A7690F7-E09C-4235-A289-A47E8761A636}" presName="sibTrans" presStyleCnt="0"/>
      <dgm:spPr/>
    </dgm:pt>
    <dgm:pt modelId="{B1BAC197-44DF-45E0-830D-9FD0911824A5}" type="pres">
      <dgm:prSet presAssocID="{BC45C170-8192-4AAE-95DA-786BF4170ECD}" presName="compNode" presStyleCnt="0"/>
      <dgm:spPr/>
    </dgm:pt>
    <dgm:pt modelId="{E1F59C9D-BB26-4C0C-B028-4EB6C1671212}" type="pres">
      <dgm:prSet presAssocID="{BC45C170-8192-4AAE-95DA-786BF4170ECD}" presName="iconBgRect" presStyleLbl="bgShp" presStyleIdx="3" presStyleCnt="4"/>
      <dgm:spPr>
        <a:solidFill>
          <a:schemeClr val="tx1">
            <a:lumMod val="65000"/>
            <a:lumOff val="35000"/>
          </a:schemeClr>
        </a:solidFill>
      </dgm:spPr>
    </dgm:pt>
    <dgm:pt modelId="{ACEF1ADC-5E4F-429E-B694-3D67E08DC24A}" type="pres">
      <dgm:prSet presAssocID="{BC45C170-8192-4AAE-95DA-786BF4170EC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ower with solid fill"/>
        </a:ext>
      </dgm:extLst>
    </dgm:pt>
    <dgm:pt modelId="{0C5C3947-64F0-4837-8935-D6D100436D71}" type="pres">
      <dgm:prSet presAssocID="{BC45C170-8192-4AAE-95DA-786BF4170ECD}" presName="spaceRect" presStyleCnt="0"/>
      <dgm:spPr/>
    </dgm:pt>
    <dgm:pt modelId="{0C7584CF-1385-4033-B162-C63CF6BDF9A7}" type="pres">
      <dgm:prSet presAssocID="{BC45C170-8192-4AAE-95DA-786BF4170ECD}" presName="textRect" presStyleLbl="revTx" presStyleIdx="3" presStyleCnt="4">
        <dgm:presLayoutVars>
          <dgm:chMax val="1"/>
          <dgm:chPref val="1"/>
        </dgm:presLayoutVars>
      </dgm:prSet>
      <dgm:spPr/>
    </dgm:pt>
  </dgm:ptLst>
  <dgm:cxnLst>
    <dgm:cxn modelId="{BB76841C-54C9-4E3C-8AE8-378C7C029C16}" type="presOf" srcId="{850FAB0D-190C-4B5E-8469-747D5D996CCB}" destId="{B2836A5D-E40A-496F-BC32-F824495B8587}" srcOrd="0" destOrd="0" presId="urn:microsoft.com/office/officeart/2018/5/layout/IconCircleLabelList"/>
    <dgm:cxn modelId="{D8DA3281-1E4F-403E-BF5C-6CD55D5ED434}" type="presOf" srcId="{25538840-AB6C-4F8D-B63F-8EFE7DCD5D0D}" destId="{8F5D34D3-B443-42E2-BD65-64AEA40DFAF3}" srcOrd="0" destOrd="0" presId="urn:microsoft.com/office/officeart/2018/5/layout/IconCircleLabelList"/>
    <dgm:cxn modelId="{65930383-4297-475F-BB83-50AC0D54DB1F}" type="presOf" srcId="{BC45C170-8192-4AAE-95DA-786BF4170ECD}" destId="{0C7584CF-1385-4033-B162-C63CF6BDF9A7}" srcOrd="0" destOrd="0" presId="urn:microsoft.com/office/officeart/2018/5/layout/IconCircleLabelList"/>
    <dgm:cxn modelId="{88B0DF84-9500-468B-B875-99915116BF4F}" srcId="{35511DC7-87BF-48DD-8542-A2D0604B95A3}" destId="{BC45C170-8192-4AAE-95DA-786BF4170ECD}" srcOrd="3" destOrd="0" parTransId="{08CB77EA-C83B-4FAA-B4DB-A649AB9A3CB6}" sibTransId="{06B16E98-C09C-4A5D-9F5D-F79F56A8E225}"/>
    <dgm:cxn modelId="{7B520F88-0A8E-4F58-AA06-C050C603D2AF}" srcId="{35511DC7-87BF-48DD-8542-A2D0604B95A3}" destId="{850FAB0D-190C-4B5E-8469-747D5D996CCB}" srcOrd="0" destOrd="0" parTransId="{37C81B84-62E1-4027-B7E6-D4BAB4E457E1}" sibTransId="{FBEFD68D-457E-45BC-A86E-9A9A4CAC3E20}"/>
    <dgm:cxn modelId="{CDAE299A-59D6-43F1-A35E-30466EC60B5E}" srcId="{35511DC7-87BF-48DD-8542-A2D0604B95A3}" destId="{059EFA65-AEB9-4B90-B7BA-E153DD86A525}" srcOrd="2" destOrd="0" parTransId="{9F4D8D43-9496-48FB-A1F4-B1CB6582C0BE}" sibTransId="{8A7690F7-E09C-4235-A289-A47E8761A636}"/>
    <dgm:cxn modelId="{05B574AA-A29A-4D4A-8D69-9F2B3B06AA81}" type="presOf" srcId="{35511DC7-87BF-48DD-8542-A2D0604B95A3}" destId="{B2564A7B-53A8-48AB-9E53-758F9FFD60C6}" srcOrd="0" destOrd="0" presId="urn:microsoft.com/office/officeart/2018/5/layout/IconCircleLabelList"/>
    <dgm:cxn modelId="{20B9F5BC-490C-4504-A297-37E7E976FBB7}" srcId="{35511DC7-87BF-48DD-8542-A2D0604B95A3}" destId="{25538840-AB6C-4F8D-B63F-8EFE7DCD5D0D}" srcOrd="1" destOrd="0" parTransId="{DD59A7CB-BB4E-4E9F-9476-1C8ED2F5F356}" sibTransId="{B1DE17D4-CA40-4BE9-8208-3AAE4D5642B4}"/>
    <dgm:cxn modelId="{1A30CBBD-29B1-413D-BDD0-7CD7E901F05C}" type="presOf" srcId="{059EFA65-AEB9-4B90-B7BA-E153DD86A525}" destId="{FCE2595C-D046-48A0-B5C1-0F6DBFDD8071}" srcOrd="0" destOrd="0" presId="urn:microsoft.com/office/officeart/2018/5/layout/IconCircleLabelList"/>
    <dgm:cxn modelId="{F1ACA5CD-3FEA-44B7-AAF7-DEE372A4E03F}" type="presParOf" srcId="{B2564A7B-53A8-48AB-9E53-758F9FFD60C6}" destId="{D03FF0BC-978F-45AB-A131-71059F6B936A}" srcOrd="0" destOrd="0" presId="urn:microsoft.com/office/officeart/2018/5/layout/IconCircleLabelList"/>
    <dgm:cxn modelId="{E5980A2A-3542-4CEC-8337-70CCD0636C13}" type="presParOf" srcId="{D03FF0BC-978F-45AB-A131-71059F6B936A}" destId="{6C63B464-8759-4E61-9C81-1D46F9C9A4D2}" srcOrd="0" destOrd="0" presId="urn:microsoft.com/office/officeart/2018/5/layout/IconCircleLabelList"/>
    <dgm:cxn modelId="{DFD20219-E0E5-48A7-A3F0-586BBCB2F099}" type="presParOf" srcId="{D03FF0BC-978F-45AB-A131-71059F6B936A}" destId="{EB3C8009-E2B9-490C-9860-ED58AFD5D528}" srcOrd="1" destOrd="0" presId="urn:microsoft.com/office/officeart/2018/5/layout/IconCircleLabelList"/>
    <dgm:cxn modelId="{9FFE9BBE-F069-4F13-9B49-2DCAB93CFD79}" type="presParOf" srcId="{D03FF0BC-978F-45AB-A131-71059F6B936A}" destId="{742B5142-213B-480E-A3C9-70B14A479B85}" srcOrd="2" destOrd="0" presId="urn:microsoft.com/office/officeart/2018/5/layout/IconCircleLabelList"/>
    <dgm:cxn modelId="{06927DD0-FAED-4819-9488-C21AE4040C20}" type="presParOf" srcId="{D03FF0BC-978F-45AB-A131-71059F6B936A}" destId="{B2836A5D-E40A-496F-BC32-F824495B8587}" srcOrd="3" destOrd="0" presId="urn:microsoft.com/office/officeart/2018/5/layout/IconCircleLabelList"/>
    <dgm:cxn modelId="{7C18387F-87D7-4A46-8C9A-4DF9A7D6378C}" type="presParOf" srcId="{B2564A7B-53A8-48AB-9E53-758F9FFD60C6}" destId="{086E4163-59E7-45A5-B46C-C30B791F77A7}" srcOrd="1" destOrd="0" presId="urn:microsoft.com/office/officeart/2018/5/layout/IconCircleLabelList"/>
    <dgm:cxn modelId="{F09E366F-19EB-44F7-9DF7-F15B05073C35}" type="presParOf" srcId="{B2564A7B-53A8-48AB-9E53-758F9FFD60C6}" destId="{198BB991-4986-4DC4-A3AB-A9C8ED5499EC}" srcOrd="2" destOrd="0" presId="urn:microsoft.com/office/officeart/2018/5/layout/IconCircleLabelList"/>
    <dgm:cxn modelId="{3FCF3DC2-4885-41AC-AA80-42665F0F7C94}" type="presParOf" srcId="{198BB991-4986-4DC4-A3AB-A9C8ED5499EC}" destId="{28EED2B0-F1F7-46D6-BF5A-5511EA0674F0}" srcOrd="0" destOrd="0" presId="urn:microsoft.com/office/officeart/2018/5/layout/IconCircleLabelList"/>
    <dgm:cxn modelId="{B9CD616A-BD14-4379-8A0F-1A01252D190F}" type="presParOf" srcId="{198BB991-4986-4DC4-A3AB-A9C8ED5499EC}" destId="{33F57FEE-B569-4823-99AF-3F2947AE0F78}" srcOrd="1" destOrd="0" presId="urn:microsoft.com/office/officeart/2018/5/layout/IconCircleLabelList"/>
    <dgm:cxn modelId="{EEEDBBE4-E787-450B-AE04-DF627B823E29}" type="presParOf" srcId="{198BB991-4986-4DC4-A3AB-A9C8ED5499EC}" destId="{CA04123E-B359-4875-B0B0-1633247FE214}" srcOrd="2" destOrd="0" presId="urn:microsoft.com/office/officeart/2018/5/layout/IconCircleLabelList"/>
    <dgm:cxn modelId="{B13F66B5-EB57-47C8-875D-90B6C064FE65}" type="presParOf" srcId="{198BB991-4986-4DC4-A3AB-A9C8ED5499EC}" destId="{8F5D34D3-B443-42E2-BD65-64AEA40DFAF3}" srcOrd="3" destOrd="0" presId="urn:microsoft.com/office/officeart/2018/5/layout/IconCircleLabelList"/>
    <dgm:cxn modelId="{9FEBB30F-5FD6-4606-A0ED-FC34B6B1250B}" type="presParOf" srcId="{B2564A7B-53A8-48AB-9E53-758F9FFD60C6}" destId="{D92F2705-BCF9-478C-A250-81587D11FFAB}" srcOrd="3" destOrd="0" presId="urn:microsoft.com/office/officeart/2018/5/layout/IconCircleLabelList"/>
    <dgm:cxn modelId="{5ED8D6F5-FBA7-4582-9431-DAE08AEBF14F}" type="presParOf" srcId="{B2564A7B-53A8-48AB-9E53-758F9FFD60C6}" destId="{40107F2A-FD2D-481B-A7AD-AD1DDC9CBFFF}" srcOrd="4" destOrd="0" presId="urn:microsoft.com/office/officeart/2018/5/layout/IconCircleLabelList"/>
    <dgm:cxn modelId="{DE816956-6E35-4C00-A972-8879281F3993}" type="presParOf" srcId="{40107F2A-FD2D-481B-A7AD-AD1DDC9CBFFF}" destId="{5EB352DD-C631-49D7-80AA-9DD14541AD57}" srcOrd="0" destOrd="0" presId="urn:microsoft.com/office/officeart/2018/5/layout/IconCircleLabelList"/>
    <dgm:cxn modelId="{C77DD983-AD7F-428A-91E3-A714CAA33F3B}" type="presParOf" srcId="{40107F2A-FD2D-481B-A7AD-AD1DDC9CBFFF}" destId="{A81C64E1-C528-4F6A-854A-88B668708A69}" srcOrd="1" destOrd="0" presId="urn:microsoft.com/office/officeart/2018/5/layout/IconCircleLabelList"/>
    <dgm:cxn modelId="{6FC8DFAD-4492-4EB4-921A-EC7340B398C0}" type="presParOf" srcId="{40107F2A-FD2D-481B-A7AD-AD1DDC9CBFFF}" destId="{9A3BE3E8-DEC2-4BA2-940C-BBBDE7F30EF6}" srcOrd="2" destOrd="0" presId="urn:microsoft.com/office/officeart/2018/5/layout/IconCircleLabelList"/>
    <dgm:cxn modelId="{8963BAD9-8920-411B-BFFB-33660678CBDA}" type="presParOf" srcId="{40107F2A-FD2D-481B-A7AD-AD1DDC9CBFFF}" destId="{FCE2595C-D046-48A0-B5C1-0F6DBFDD8071}" srcOrd="3" destOrd="0" presId="urn:microsoft.com/office/officeart/2018/5/layout/IconCircleLabelList"/>
    <dgm:cxn modelId="{DEFD5335-3856-41D3-9560-8D7FC9795E41}" type="presParOf" srcId="{B2564A7B-53A8-48AB-9E53-758F9FFD60C6}" destId="{5F55C343-53C6-4CD8-BA23-0192F3B9CC7D}" srcOrd="5" destOrd="0" presId="urn:microsoft.com/office/officeart/2018/5/layout/IconCircleLabelList"/>
    <dgm:cxn modelId="{9A4E9568-0839-41C3-A3F0-C73124B621E1}" type="presParOf" srcId="{B2564A7B-53A8-48AB-9E53-758F9FFD60C6}" destId="{B1BAC197-44DF-45E0-830D-9FD0911824A5}" srcOrd="6" destOrd="0" presId="urn:microsoft.com/office/officeart/2018/5/layout/IconCircleLabelList"/>
    <dgm:cxn modelId="{BEDCCB18-A788-4675-9EFC-6C041660B647}" type="presParOf" srcId="{B1BAC197-44DF-45E0-830D-9FD0911824A5}" destId="{E1F59C9D-BB26-4C0C-B028-4EB6C1671212}" srcOrd="0" destOrd="0" presId="urn:microsoft.com/office/officeart/2018/5/layout/IconCircleLabelList"/>
    <dgm:cxn modelId="{75A3E15C-5082-47C4-B2EC-CA4E0A05AD3B}" type="presParOf" srcId="{B1BAC197-44DF-45E0-830D-9FD0911824A5}" destId="{ACEF1ADC-5E4F-429E-B694-3D67E08DC24A}" srcOrd="1" destOrd="0" presId="urn:microsoft.com/office/officeart/2018/5/layout/IconCircleLabelList"/>
    <dgm:cxn modelId="{8407FBB7-0FFA-4653-87B6-ABAD9AD45D3B}" type="presParOf" srcId="{B1BAC197-44DF-45E0-830D-9FD0911824A5}" destId="{0C5C3947-64F0-4837-8935-D6D100436D71}" srcOrd="2" destOrd="0" presId="urn:microsoft.com/office/officeart/2018/5/layout/IconCircleLabelList"/>
    <dgm:cxn modelId="{18041330-EDC0-41D9-9A7D-C2CE7C57E436}" type="presParOf" srcId="{B1BAC197-44DF-45E0-830D-9FD0911824A5}" destId="{0C7584CF-1385-4033-B162-C63CF6BDF9A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2368337"/>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dirty="0">
              <a:solidFill>
                <a:schemeClr val="bg1"/>
              </a:solidFill>
              <a:latin typeface="Segoe UI Semibold" panose="020B0702040204020203" pitchFamily="34" charset="0"/>
              <a:cs typeface="Segoe UI Semibold" panose="020B0702040204020203" pitchFamily="34" charset="0"/>
            </a:rPr>
            <a:t>FILTER | SELECT </a:t>
          </a:r>
          <a:r>
            <a:rPr lang="en-US" sz="4400" b="1" kern="1200" dirty="0">
              <a:solidFill>
                <a:schemeClr val="bg1"/>
              </a:solidFill>
              <a:latin typeface="+mj-lt"/>
              <a:cs typeface="Leelawadee" panose="020B0502040204020203" pitchFamily="34" charset="-34"/>
            </a:rPr>
            <a:t>JOINS</a:t>
          </a:r>
          <a:endParaRPr lang="en-US" sz="4400" b="1" kern="1200" dirty="0">
            <a:solidFill>
              <a:schemeClr val="bg1"/>
            </a:solidFill>
            <a:latin typeface="Segoe UI Semibold" panose="020B0702040204020203" pitchFamily="34" charset="0"/>
            <a:cs typeface="Segoe UI Semibold" panose="020B0702040204020203" pitchFamily="34" charset="0"/>
          </a:endParaRPr>
        </a:p>
      </dsp:txBody>
      <dsp:txXfrm rot="-10800000">
        <a:off x="1243377" y="0"/>
        <a:ext cx="4618258" cy="2368337"/>
      </dsp:txXfrm>
    </dsp:sp>
    <dsp:sp modelId="{3662EC92-002E-4F1B-AE1C-6EF3EC3391A1}">
      <dsp:nvSpPr>
        <dsp:cNvPr id="0" name=""/>
        <dsp:cNvSpPr/>
      </dsp:nvSpPr>
      <dsp:spPr>
        <a:xfrm rot="10800000">
          <a:off x="1776253" y="2368337"/>
          <a:ext cx="3552506" cy="2368337"/>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74320" rIns="25400" bIns="25400" numCol="1" spcCol="1270" anchor="t"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cs typeface="Leelawadee" panose="020B0502040204020203" pitchFamily="34" charset="-34"/>
            </a:rPr>
            <a:t>TRANSFORMATIONS</a:t>
          </a:r>
          <a:endParaRPr lang="en-US" sz="2800" b="1" kern="1200" dirty="0">
            <a:solidFill>
              <a:schemeClr val="bg1"/>
            </a:solidFill>
            <a:latin typeface="+mj-lt"/>
            <a:cs typeface="Leelawadee" panose="020B0502040204020203" pitchFamily="34" charset="-34"/>
          </a:endParaRPr>
        </a:p>
      </dsp:txBody>
      <dsp:txXfrm rot="-10800000">
        <a:off x="1776253" y="2368337"/>
        <a:ext cx="3552506" cy="23683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091AE-D53F-408B-A6C6-547663D5AAC4}">
      <dsp:nvSpPr>
        <dsp:cNvPr id="0" name=""/>
        <dsp:cNvSpPr/>
      </dsp:nvSpPr>
      <dsp:spPr>
        <a:xfrm rot="10800000">
          <a:off x="0" y="0"/>
          <a:ext cx="7105013" cy="1578891"/>
        </a:xfrm>
        <a:prstGeom prst="trapezoid">
          <a:avLst>
            <a:gd name="adj" fmla="val 75000"/>
          </a:avLst>
        </a:prstGeom>
        <a:solidFill>
          <a:schemeClr val="bg1">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US" sz="4400" b="1" kern="1200">
              <a:solidFill>
                <a:schemeClr val="bg1"/>
              </a:solidFill>
              <a:latin typeface="Segoe UI Semibold" panose="020B0702040204020203" pitchFamily="34" charset="0"/>
              <a:cs typeface="Segoe UI Semibold" panose="020B0702040204020203" pitchFamily="34" charset="0"/>
            </a:rPr>
            <a:t>Data you have.</a:t>
          </a:r>
        </a:p>
      </dsp:txBody>
      <dsp:txXfrm rot="-10800000">
        <a:off x="1243377" y="0"/>
        <a:ext cx="4618258" cy="1578891"/>
      </dsp:txXfrm>
    </dsp:sp>
    <dsp:sp modelId="{0870BA61-4217-427C-8C7E-4EA239322EAC}">
      <dsp:nvSpPr>
        <dsp:cNvPr id="0" name=""/>
        <dsp:cNvSpPr/>
      </dsp:nvSpPr>
      <dsp:spPr>
        <a:xfrm rot="10800000">
          <a:off x="1184168" y="1578891"/>
          <a:ext cx="4736675" cy="1578891"/>
        </a:xfrm>
        <a:prstGeom prst="trapezoid">
          <a:avLst>
            <a:gd name="adj" fmla="val 75000"/>
          </a:avLst>
        </a:prstGeom>
        <a:solidFill>
          <a:schemeClr val="tx1">
            <a:lumMod val="50000"/>
            <a:lumOff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tx1">
                  <a:lumMod val="50000"/>
                  <a:lumOff val="50000"/>
                </a:schemeClr>
              </a:solidFill>
              <a:latin typeface="+mj-lt"/>
              <a:cs typeface="Leelawadee" panose="020B0502040204020203" pitchFamily="34" charset="-34"/>
            </a:rPr>
            <a:t>.</a:t>
          </a:r>
        </a:p>
      </dsp:txBody>
      <dsp:txXfrm rot="-10800000">
        <a:off x="2013087" y="1578891"/>
        <a:ext cx="3078838" cy="1578891"/>
      </dsp:txXfrm>
    </dsp:sp>
    <dsp:sp modelId="{3662EC92-002E-4F1B-AE1C-6EF3EC3391A1}">
      <dsp:nvSpPr>
        <dsp:cNvPr id="0" name=""/>
        <dsp:cNvSpPr/>
      </dsp:nvSpPr>
      <dsp:spPr>
        <a:xfrm rot="10800000">
          <a:off x="2368337" y="3157783"/>
          <a:ext cx="2368337" cy="1578891"/>
        </a:xfrm>
        <a:prstGeom prst="trapezoid">
          <a:avLst>
            <a:gd name="adj" fmla="val 75000"/>
          </a:avLst>
        </a:prstGeom>
        <a:solidFill>
          <a:schemeClr val="tx1">
            <a:lumMod val="75000"/>
            <a:lumOff val="2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74320" rIns="20320" bIns="20320" numCol="1" spcCol="1270" anchor="t" anchorCtr="0">
          <a:noAutofit/>
        </a:bodyPr>
        <a:lstStyle/>
        <a:p>
          <a:pPr marL="0" lvl="0" indent="0" algn="ctr" defTabSz="711200">
            <a:lnSpc>
              <a:spcPct val="90000"/>
            </a:lnSpc>
            <a:spcBef>
              <a:spcPct val="0"/>
            </a:spcBef>
            <a:spcAft>
              <a:spcPct val="35000"/>
            </a:spcAft>
            <a:buNone/>
          </a:pPr>
          <a:r>
            <a:rPr lang="en-US" sz="1600" b="1" kern="1200">
              <a:solidFill>
                <a:schemeClr val="tx1">
                  <a:lumMod val="75000"/>
                  <a:lumOff val="25000"/>
                </a:schemeClr>
              </a:solidFill>
              <a:latin typeface="+mj-lt"/>
              <a:cs typeface="Leelawadee" panose="020B0502040204020203" pitchFamily="34" charset="-34"/>
            </a:rPr>
            <a:t>.</a:t>
          </a:r>
        </a:p>
      </dsp:txBody>
      <dsp:txXfrm rot="-10800000">
        <a:off x="2368337" y="3157783"/>
        <a:ext cx="2368337" cy="1578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0B59-0B90-46E8-9768-9BA30A6D62E4}">
      <dsp:nvSpPr>
        <dsp:cNvPr id="0" name=""/>
        <dsp:cNvSpPr/>
      </dsp:nvSpPr>
      <dsp:spPr>
        <a:xfrm>
          <a:off x="10468"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1M</a:t>
          </a:r>
        </a:p>
      </dsp:txBody>
      <dsp:txXfrm>
        <a:off x="32023" y="21555"/>
        <a:ext cx="1578708" cy="692839"/>
      </dsp:txXfrm>
    </dsp:sp>
    <dsp:sp modelId="{7E6DE381-6BBD-430C-83B5-6C15F09BCF6A}">
      <dsp:nvSpPr>
        <dsp:cNvPr id="0" name=""/>
        <dsp:cNvSpPr/>
      </dsp:nvSpPr>
      <dsp:spPr>
        <a:xfrm>
          <a:off x="1794468"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1794468" y="247310"/>
        <a:ext cx="240678" cy="241327"/>
      </dsp:txXfrm>
    </dsp:sp>
    <dsp:sp modelId="{F38B7CE1-A879-48CC-9DD9-4D17D0D7999C}">
      <dsp:nvSpPr>
        <dsp:cNvPr id="0" name=""/>
        <dsp:cNvSpPr/>
      </dsp:nvSpPr>
      <dsp:spPr>
        <a:xfrm>
          <a:off x="2281014"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2302569" y="21555"/>
        <a:ext cx="1578708" cy="692839"/>
      </dsp:txXfrm>
    </dsp:sp>
    <dsp:sp modelId="{554C59A2-F510-474B-944F-4FEE21DB775D}">
      <dsp:nvSpPr>
        <dsp:cNvPr id="0" name=""/>
        <dsp:cNvSpPr/>
      </dsp:nvSpPr>
      <dsp:spPr>
        <a:xfrm>
          <a:off x="4065015"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4065015" y="247310"/>
        <a:ext cx="240678" cy="241327"/>
      </dsp:txXfrm>
    </dsp:sp>
    <dsp:sp modelId="{1D3EE6CD-3321-4358-9040-E1B47919D934}">
      <dsp:nvSpPr>
        <dsp:cNvPr id="0" name=""/>
        <dsp:cNvSpPr/>
      </dsp:nvSpPr>
      <dsp:spPr>
        <a:xfrm>
          <a:off x="4551560"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a:solidFill>
                <a:prstClr val="white"/>
              </a:solidFill>
              <a:latin typeface="Segoe UI"/>
              <a:ea typeface="+mn-ea"/>
              <a:cs typeface="Segoe UI"/>
            </a:rPr>
            <a:t>1M</a:t>
          </a:r>
        </a:p>
      </dsp:txBody>
      <dsp:txXfrm>
        <a:off x="4573115" y="21555"/>
        <a:ext cx="1578708" cy="692839"/>
      </dsp:txXfrm>
    </dsp:sp>
    <dsp:sp modelId="{28F8CDC0-E374-4543-A5AB-985BAA86A247}">
      <dsp:nvSpPr>
        <dsp:cNvPr id="0" name=""/>
        <dsp:cNvSpPr/>
      </dsp:nvSpPr>
      <dsp:spPr>
        <a:xfrm>
          <a:off x="6335561"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6335561" y="247310"/>
        <a:ext cx="240678" cy="241327"/>
      </dsp:txXfrm>
    </dsp:sp>
    <dsp:sp modelId="{248275CA-6548-4D0B-A163-56AE036BAF82}">
      <dsp:nvSpPr>
        <dsp:cNvPr id="0" name=""/>
        <dsp:cNvSpPr/>
      </dsp:nvSpPr>
      <dsp:spPr>
        <a:xfrm>
          <a:off x="6822106"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a:t>
          </a:r>
        </a:p>
      </dsp:txBody>
      <dsp:txXfrm>
        <a:off x="6843661" y="21555"/>
        <a:ext cx="1578708" cy="692839"/>
      </dsp:txXfrm>
    </dsp:sp>
    <dsp:sp modelId="{D2D26390-4359-4FE4-AE8A-1AB2F8EFE066}">
      <dsp:nvSpPr>
        <dsp:cNvPr id="0" name=""/>
        <dsp:cNvSpPr/>
      </dsp:nvSpPr>
      <dsp:spPr>
        <a:xfrm>
          <a:off x="8606107" y="166868"/>
          <a:ext cx="343825" cy="402211"/>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latin typeface="Segoe UI" panose="020B0502040204020203" pitchFamily="34" charset="0"/>
            <a:cs typeface="Segoe UI" panose="020B0502040204020203" pitchFamily="34" charset="0"/>
          </a:endParaRPr>
        </a:p>
      </dsp:txBody>
      <dsp:txXfrm>
        <a:off x="8606107" y="247310"/>
        <a:ext cx="240678" cy="241327"/>
      </dsp:txXfrm>
    </dsp:sp>
    <dsp:sp modelId="{A0B9D9DB-49C0-47E4-A88B-FE8D78B470C6}">
      <dsp:nvSpPr>
        <dsp:cNvPr id="0" name=""/>
        <dsp:cNvSpPr/>
      </dsp:nvSpPr>
      <dsp:spPr>
        <a:xfrm>
          <a:off x="9092652" y="0"/>
          <a:ext cx="1621818" cy="73594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a:latin typeface="Segoe UI"/>
              <a:cs typeface="Segoe UI"/>
            </a:rPr>
            <a:t>Model</a:t>
          </a:r>
        </a:p>
      </dsp:txBody>
      <dsp:txXfrm>
        <a:off x="9114207" y="21555"/>
        <a:ext cx="1578708" cy="692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63B464-8759-4E61-9C81-1D46F9C9A4D2}">
      <dsp:nvSpPr>
        <dsp:cNvPr id="0" name=""/>
        <dsp:cNvSpPr/>
      </dsp:nvSpPr>
      <dsp:spPr>
        <a:xfrm>
          <a:off x="584515"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EB3C8009-E2B9-490C-9860-ED58AFD5D528}">
      <dsp:nvSpPr>
        <dsp:cNvPr id="0" name=""/>
        <dsp:cNvSpPr/>
      </dsp:nvSpPr>
      <dsp:spPr>
        <a:xfrm>
          <a:off x="893152" y="1240881"/>
          <a:ext cx="830944" cy="83094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836A5D-E40A-496F-BC32-F824495B8587}">
      <dsp:nvSpPr>
        <dsp:cNvPr id="0" name=""/>
        <dsp:cNvSpPr/>
      </dsp:nvSpPr>
      <dsp:spPr>
        <a:xfrm>
          <a:off x="121560"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Be careful with calendArauto()</a:t>
          </a:r>
        </a:p>
      </dsp:txBody>
      <dsp:txXfrm>
        <a:off x="121560" y="2831547"/>
        <a:ext cx="2374128" cy="720000"/>
      </dsp:txXfrm>
    </dsp:sp>
    <dsp:sp modelId="{28EED2B0-F1F7-46D6-BF5A-5511EA0674F0}">
      <dsp:nvSpPr>
        <dsp:cNvPr id="0" name=""/>
        <dsp:cNvSpPr/>
      </dsp:nvSpPr>
      <dsp:spPr>
        <a:xfrm>
          <a:off x="33741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33F57FEE-B569-4823-99AF-3F2947AE0F78}">
      <dsp:nvSpPr>
        <dsp:cNvPr id="0" name=""/>
        <dsp:cNvSpPr/>
      </dsp:nvSpPr>
      <dsp:spPr>
        <a:xfrm>
          <a:off x="3682752" y="1240881"/>
          <a:ext cx="830944" cy="8309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F5D34D3-B443-42E2-BD65-64AEA40DFAF3}">
      <dsp:nvSpPr>
        <dsp:cNvPr id="0" name=""/>
        <dsp:cNvSpPr/>
      </dsp:nvSpPr>
      <dsp:spPr>
        <a:xfrm>
          <a:off x="29111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Use Date only</a:t>
          </a:r>
        </a:p>
      </dsp:txBody>
      <dsp:txXfrm>
        <a:off x="2911161" y="2831547"/>
        <a:ext cx="2374128" cy="720000"/>
      </dsp:txXfrm>
    </dsp:sp>
    <dsp:sp modelId="{5EB352DD-C631-49D7-80AA-9DD14541AD57}">
      <dsp:nvSpPr>
        <dsp:cNvPr id="0" name=""/>
        <dsp:cNvSpPr/>
      </dsp:nvSpPr>
      <dsp:spPr>
        <a:xfrm>
          <a:off x="6163716"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81C64E1-C528-4F6A-854A-88B668708A69}">
      <dsp:nvSpPr>
        <dsp:cNvPr id="0" name=""/>
        <dsp:cNvSpPr/>
      </dsp:nvSpPr>
      <dsp:spPr>
        <a:xfrm>
          <a:off x="6472353" y="1240881"/>
          <a:ext cx="830944" cy="8309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E2595C-D046-48A0-B5C1-0F6DBFDD8071}">
      <dsp:nvSpPr>
        <dsp:cNvPr id="0" name=""/>
        <dsp:cNvSpPr/>
      </dsp:nvSpPr>
      <dsp:spPr>
        <a:xfrm>
          <a:off x="5700761"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1" kern="1200" spc="0" baseline="0">
              <a:gradFill>
                <a:gsLst>
                  <a:gs pos="2917">
                    <a:srgbClr val="505050"/>
                  </a:gs>
                  <a:gs pos="30000">
                    <a:srgbClr val="505050"/>
                  </a:gs>
                </a:gsLst>
                <a:lin ang="5400000" scaled="0"/>
              </a:gradFill>
              <a:latin typeface="Segoe UI"/>
              <a:ea typeface="+mn-ea"/>
              <a:cs typeface="Segoe UI" panose="020B0502040204020203" pitchFamily="34" charset="0"/>
            </a:rPr>
            <a:t>Split Date/Time</a:t>
          </a:r>
        </a:p>
      </dsp:txBody>
      <dsp:txXfrm>
        <a:off x="5700761" y="2831547"/>
        <a:ext cx="2374128" cy="720000"/>
      </dsp:txXfrm>
    </dsp:sp>
    <dsp:sp modelId="{E1F59C9D-BB26-4C0C-B028-4EB6C1671212}">
      <dsp:nvSpPr>
        <dsp:cNvPr id="0" name=""/>
        <dsp:cNvSpPr/>
      </dsp:nvSpPr>
      <dsp:spPr>
        <a:xfrm>
          <a:off x="8953317" y="932245"/>
          <a:ext cx="1448218" cy="1448218"/>
        </a:xfrm>
        <a:prstGeom prst="ellipse">
          <a:avLst/>
        </a:prstGeom>
        <a:solidFill>
          <a:schemeClr val="tx1">
            <a:lumMod val="65000"/>
            <a:lumOff val="35000"/>
          </a:schemeClr>
        </a:solidFill>
        <a:ln>
          <a:noFill/>
        </a:ln>
        <a:effectLst/>
      </dsp:spPr>
      <dsp:style>
        <a:lnRef idx="0">
          <a:scrgbClr r="0" g="0" b="0"/>
        </a:lnRef>
        <a:fillRef idx="1">
          <a:scrgbClr r="0" g="0" b="0"/>
        </a:fillRef>
        <a:effectRef idx="0">
          <a:scrgbClr r="0" g="0" b="0"/>
        </a:effectRef>
        <a:fontRef idx="minor"/>
      </dsp:style>
    </dsp:sp>
    <dsp:sp modelId="{ACEF1ADC-5E4F-429E-B694-3D67E08DC24A}">
      <dsp:nvSpPr>
        <dsp:cNvPr id="0" name=""/>
        <dsp:cNvSpPr/>
      </dsp:nvSpPr>
      <dsp:spPr>
        <a:xfrm>
          <a:off x="9261953" y="1240881"/>
          <a:ext cx="830944" cy="83094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7584CF-1385-4033-B162-C63CF6BDF9A7}">
      <dsp:nvSpPr>
        <dsp:cNvPr id="0" name=""/>
        <dsp:cNvSpPr/>
      </dsp:nvSpPr>
      <dsp:spPr>
        <a:xfrm>
          <a:off x="8490362" y="2831547"/>
          <a:ext cx="2374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defRPr cap="all"/>
          </a:pPr>
          <a:r>
            <a:rPr lang="en-US" sz="1800" b="1" kern="1200" spc="0" baseline="0">
              <a:gradFill>
                <a:gsLst>
                  <a:gs pos="2917">
                    <a:srgbClr val="505050"/>
                  </a:gs>
                  <a:gs pos="30000">
                    <a:srgbClr val="505050"/>
                  </a:gs>
                </a:gsLst>
                <a:lin ang="5400000" scaled="0"/>
              </a:gradFill>
              <a:latin typeface="Segoe UI"/>
              <a:ea typeface="+mn-ea"/>
              <a:cs typeface="Segoe UI" panose="020B0502040204020203" pitchFamily="34" charset="0"/>
            </a:rPr>
            <a:t>Disable auto-time Intelligence</a:t>
          </a:r>
        </a:p>
      </dsp:txBody>
      <dsp:txXfrm>
        <a:off x="8490362" y="2831547"/>
        <a:ext cx="2374128"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906126" cy="5906126"/>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953063" y="0"/>
          <a:ext cx="8417883" cy="590612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End Users</a:t>
          </a:r>
        </a:p>
      </dsp:txBody>
      <dsp:txXfrm>
        <a:off x="2953063" y="0"/>
        <a:ext cx="4208941" cy="1255051"/>
      </dsp:txXfrm>
    </dsp:sp>
    <dsp:sp modelId="{BB5965C5-F907-483A-B0A5-414578A21B77}">
      <dsp:nvSpPr>
        <dsp:cNvPr id="0" name=""/>
        <dsp:cNvSpPr/>
      </dsp:nvSpPr>
      <dsp:spPr>
        <a:xfrm>
          <a:off x="775179" y="1255051"/>
          <a:ext cx="4355767" cy="4355767"/>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953063" y="1255051"/>
          <a:ext cx="8417883" cy="4355767"/>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Users in Key Departments</a:t>
          </a:r>
        </a:p>
      </dsp:txBody>
      <dsp:txXfrm>
        <a:off x="2953063" y="1255051"/>
        <a:ext cx="4208941" cy="1255051"/>
      </dsp:txXfrm>
    </dsp:sp>
    <dsp:sp modelId="{49156CC1-4316-4278-8CEF-4AC787FCE06A}">
      <dsp:nvSpPr>
        <dsp:cNvPr id="0" name=""/>
        <dsp:cNvSpPr/>
      </dsp:nvSpPr>
      <dsp:spPr>
        <a:xfrm>
          <a:off x="1550358" y="2510103"/>
          <a:ext cx="2805409" cy="280540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953063" y="2510103"/>
          <a:ext cx="8417883" cy="280540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ower Users</a:t>
          </a:r>
        </a:p>
      </dsp:txBody>
      <dsp:txXfrm>
        <a:off x="2953063" y="2510103"/>
        <a:ext cx="4208941" cy="1255051"/>
      </dsp:txXfrm>
    </dsp:sp>
    <dsp:sp modelId="{BECD5256-D636-446C-B5FE-6A37BB73EB67}">
      <dsp:nvSpPr>
        <dsp:cNvPr id="0" name=""/>
        <dsp:cNvSpPr/>
      </dsp:nvSpPr>
      <dsp:spPr>
        <a:xfrm>
          <a:off x="2325537" y="3765155"/>
          <a:ext cx="1255051" cy="1255051"/>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953063" y="3765155"/>
          <a:ext cx="8417883" cy="1255051"/>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Hardcore IT</a:t>
          </a:r>
        </a:p>
      </dsp:txBody>
      <dsp:txXfrm>
        <a:off x="2953063" y="3765155"/>
        <a:ext cx="4208941" cy="1255051"/>
      </dsp:txXfrm>
    </dsp:sp>
    <dsp:sp modelId="{E0868841-CA79-48B0-8B24-06E20683B4DC}">
      <dsp:nvSpPr>
        <dsp:cNvPr id="0" name=""/>
        <dsp:cNvSpPr/>
      </dsp:nvSpPr>
      <dsp:spPr>
        <a:xfrm>
          <a:off x="7162004" y="0"/>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Curated datasets</a:t>
          </a:r>
        </a:p>
      </dsp:txBody>
      <dsp:txXfrm>
        <a:off x="7162004" y="0"/>
        <a:ext cx="4208941" cy="1255051"/>
      </dsp:txXfrm>
    </dsp:sp>
    <dsp:sp modelId="{4A11FD6C-291E-4C7E-BD4C-D721A5D23244}">
      <dsp:nvSpPr>
        <dsp:cNvPr id="0" name=""/>
        <dsp:cNvSpPr/>
      </dsp:nvSpPr>
      <dsp:spPr>
        <a:xfrm>
          <a:off x="7162004" y="1255051"/>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Any user can work with data</a:t>
          </a:r>
        </a:p>
        <a:p>
          <a:pPr marL="228600" lvl="1" indent="-228600" algn="l" defTabSz="933450">
            <a:lnSpc>
              <a:spcPct val="90000"/>
            </a:lnSpc>
            <a:spcBef>
              <a:spcPct val="0"/>
            </a:spcBef>
            <a:spcAft>
              <a:spcPct val="15000"/>
            </a:spcAft>
            <a:buChar char="•"/>
          </a:pPr>
          <a:r>
            <a:rPr lang="en-US" sz="2100" kern="1200"/>
            <a:t>More data available</a:t>
          </a:r>
        </a:p>
      </dsp:txBody>
      <dsp:txXfrm>
        <a:off x="7162004" y="1255051"/>
        <a:ext cx="4208941" cy="1255051"/>
      </dsp:txXfrm>
    </dsp:sp>
    <dsp:sp modelId="{4133E269-082B-40CA-BDEE-0073C65D10D8}">
      <dsp:nvSpPr>
        <dsp:cNvPr id="0" name=""/>
        <dsp:cNvSpPr/>
      </dsp:nvSpPr>
      <dsp:spPr>
        <a:xfrm>
          <a:off x="7162004" y="2510103"/>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More skills</a:t>
          </a:r>
        </a:p>
        <a:p>
          <a:pPr marL="228600" lvl="1" indent="-228600" algn="l" defTabSz="933450">
            <a:lnSpc>
              <a:spcPct val="90000"/>
            </a:lnSpc>
            <a:spcBef>
              <a:spcPct val="0"/>
            </a:spcBef>
            <a:spcAft>
              <a:spcPct val="15000"/>
            </a:spcAft>
            <a:buChar char="•"/>
          </a:pPr>
          <a:r>
            <a:rPr lang="en-US" sz="2100" kern="1200"/>
            <a:t>More tools</a:t>
          </a:r>
        </a:p>
        <a:p>
          <a:pPr marL="228600" lvl="1" indent="-228600" algn="l" defTabSz="933450">
            <a:lnSpc>
              <a:spcPct val="90000"/>
            </a:lnSpc>
            <a:spcBef>
              <a:spcPct val="0"/>
            </a:spcBef>
            <a:spcAft>
              <a:spcPct val="15000"/>
            </a:spcAft>
            <a:buChar char="•"/>
          </a:pPr>
          <a:r>
            <a:rPr lang="en-US" sz="2100" kern="1200"/>
            <a:t>Better resources</a:t>
          </a:r>
        </a:p>
      </dsp:txBody>
      <dsp:txXfrm>
        <a:off x="7162004" y="2510103"/>
        <a:ext cx="4208941" cy="1255051"/>
      </dsp:txXfrm>
    </dsp:sp>
    <dsp:sp modelId="{C7047BA2-2019-4E65-A76B-4EE5B1055C58}">
      <dsp:nvSpPr>
        <dsp:cNvPr id="0" name=""/>
        <dsp:cNvSpPr/>
      </dsp:nvSpPr>
      <dsp:spPr>
        <a:xfrm>
          <a:off x="7162004" y="3765155"/>
          <a:ext cx="4208941" cy="1255051"/>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Professional developers</a:t>
          </a:r>
        </a:p>
        <a:p>
          <a:pPr marL="228600" lvl="1" indent="-228600" algn="l" defTabSz="933450">
            <a:lnSpc>
              <a:spcPct val="90000"/>
            </a:lnSpc>
            <a:spcBef>
              <a:spcPct val="0"/>
            </a:spcBef>
            <a:spcAft>
              <a:spcPct val="15000"/>
            </a:spcAft>
            <a:buChar char="•"/>
          </a:pPr>
          <a:r>
            <a:rPr lang="en-US" sz="2100" kern="1200"/>
            <a:t>Traditional owners of BI</a:t>
          </a:r>
        </a:p>
      </dsp:txBody>
      <dsp:txXfrm>
        <a:off x="7162004" y="3765155"/>
        <a:ext cx="4208941" cy="12550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82419" cy="2182419"/>
        </a:xfrm>
        <a:prstGeom prst="pie">
          <a:avLst>
            <a:gd name="adj1" fmla="val 5400000"/>
            <a:gd name="adj2" fmla="val 16200000"/>
          </a:avLst>
        </a:prstGeom>
        <a:solidFill>
          <a:srgbClr val="ED7D3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91209" y="0"/>
          <a:ext cx="3110558" cy="2182419"/>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p>
      </dsp:txBody>
      <dsp:txXfrm>
        <a:off x="1091209" y="0"/>
        <a:ext cx="1555279" cy="463764"/>
      </dsp:txXfrm>
    </dsp:sp>
    <dsp:sp modelId="{BB5965C5-F907-483A-B0A5-414578A21B77}">
      <dsp:nvSpPr>
        <dsp:cNvPr id="0" name=""/>
        <dsp:cNvSpPr/>
      </dsp:nvSpPr>
      <dsp:spPr>
        <a:xfrm>
          <a:off x="286442" y="463764"/>
          <a:ext cx="1609534" cy="1609534"/>
        </a:xfrm>
        <a:prstGeom prst="pie">
          <a:avLst>
            <a:gd name="adj1" fmla="val 5400000"/>
            <a:gd name="adj2" fmla="val 16200000"/>
          </a:avLst>
        </a:prstGeom>
        <a:solidFill>
          <a:srgbClr val="A5A5A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91209" y="463764"/>
          <a:ext cx="3110558" cy="1609534"/>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Users in Key Departments</a:t>
          </a:r>
        </a:p>
      </dsp:txBody>
      <dsp:txXfrm>
        <a:off x="1091209" y="463764"/>
        <a:ext cx="1555279" cy="463764"/>
      </dsp:txXfrm>
    </dsp:sp>
    <dsp:sp modelId="{49156CC1-4316-4278-8CEF-4AC787FCE06A}">
      <dsp:nvSpPr>
        <dsp:cNvPr id="0" name=""/>
        <dsp:cNvSpPr/>
      </dsp:nvSpPr>
      <dsp:spPr>
        <a:xfrm>
          <a:off x="572884" y="927528"/>
          <a:ext cx="1036649" cy="1036649"/>
        </a:xfrm>
        <a:prstGeom prst="pie">
          <a:avLst>
            <a:gd name="adj1" fmla="val 5400000"/>
            <a:gd name="adj2" fmla="val 16200000"/>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91209" y="927528"/>
          <a:ext cx="3110558" cy="1036649"/>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ower Users</a:t>
          </a:r>
        </a:p>
      </dsp:txBody>
      <dsp:txXfrm>
        <a:off x="1091209" y="927528"/>
        <a:ext cx="1555279" cy="463764"/>
      </dsp:txXfrm>
    </dsp:sp>
    <dsp:sp modelId="{BECD5256-D636-446C-B5FE-6A37BB73EB67}">
      <dsp:nvSpPr>
        <dsp:cNvPr id="0" name=""/>
        <dsp:cNvSpPr/>
      </dsp:nvSpPr>
      <dsp:spPr>
        <a:xfrm>
          <a:off x="859327" y="1391292"/>
          <a:ext cx="463764" cy="463764"/>
        </a:xfrm>
        <a:prstGeom prst="pie">
          <a:avLst>
            <a:gd name="adj1" fmla="val 5400000"/>
            <a:gd name="adj2" fmla="val 16200000"/>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91209" y="1391292"/>
          <a:ext cx="3110558" cy="463764"/>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Hardcore IT</a:t>
          </a:r>
        </a:p>
      </dsp:txBody>
      <dsp:txXfrm>
        <a:off x="1091209" y="1391292"/>
        <a:ext cx="1555279" cy="463764"/>
      </dsp:txXfrm>
    </dsp:sp>
    <dsp:sp modelId="{E0868841-CA79-48B0-8B24-06E20683B4DC}">
      <dsp:nvSpPr>
        <dsp:cNvPr id="0" name=""/>
        <dsp:cNvSpPr/>
      </dsp:nvSpPr>
      <dsp:spPr>
        <a:xfrm>
          <a:off x="2646488" y="0"/>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Curated datasets</a:t>
          </a:r>
        </a:p>
      </dsp:txBody>
      <dsp:txXfrm>
        <a:off x="2646488" y="0"/>
        <a:ext cx="1555279" cy="463764"/>
      </dsp:txXfrm>
    </dsp:sp>
    <dsp:sp modelId="{4A11FD6C-291E-4C7E-BD4C-D721A5D23244}">
      <dsp:nvSpPr>
        <dsp:cNvPr id="0" name=""/>
        <dsp:cNvSpPr/>
      </dsp:nvSpPr>
      <dsp:spPr>
        <a:xfrm>
          <a:off x="2646488" y="463764"/>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Any user can work with data</a:t>
          </a:r>
        </a:p>
        <a:p>
          <a:pPr marL="57150" lvl="1" indent="-57150" algn="l" defTabSz="311150">
            <a:lnSpc>
              <a:spcPct val="90000"/>
            </a:lnSpc>
            <a:spcBef>
              <a:spcPct val="0"/>
            </a:spcBef>
            <a:spcAft>
              <a:spcPct val="15000"/>
            </a:spcAft>
            <a:buChar char="•"/>
          </a:pPr>
          <a:r>
            <a:rPr lang="en-US" sz="700" kern="1200"/>
            <a:t>More data available</a:t>
          </a:r>
        </a:p>
      </dsp:txBody>
      <dsp:txXfrm>
        <a:off x="2646488" y="463764"/>
        <a:ext cx="1555279" cy="463764"/>
      </dsp:txXfrm>
    </dsp:sp>
    <dsp:sp modelId="{4133E269-082B-40CA-BDEE-0073C65D10D8}">
      <dsp:nvSpPr>
        <dsp:cNvPr id="0" name=""/>
        <dsp:cNvSpPr/>
      </dsp:nvSpPr>
      <dsp:spPr>
        <a:xfrm>
          <a:off x="2646488" y="927528"/>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More skills</a:t>
          </a:r>
        </a:p>
        <a:p>
          <a:pPr marL="57150" lvl="1" indent="-57150" algn="l" defTabSz="311150">
            <a:lnSpc>
              <a:spcPct val="90000"/>
            </a:lnSpc>
            <a:spcBef>
              <a:spcPct val="0"/>
            </a:spcBef>
            <a:spcAft>
              <a:spcPct val="15000"/>
            </a:spcAft>
            <a:buChar char="•"/>
          </a:pPr>
          <a:r>
            <a:rPr lang="en-US" sz="700" kern="1200"/>
            <a:t>More tools</a:t>
          </a:r>
        </a:p>
        <a:p>
          <a:pPr marL="57150" lvl="1" indent="-57150" algn="l" defTabSz="311150">
            <a:lnSpc>
              <a:spcPct val="90000"/>
            </a:lnSpc>
            <a:spcBef>
              <a:spcPct val="0"/>
            </a:spcBef>
            <a:spcAft>
              <a:spcPct val="15000"/>
            </a:spcAft>
            <a:buChar char="•"/>
          </a:pPr>
          <a:r>
            <a:rPr lang="en-US" sz="700" kern="1200"/>
            <a:t>Better resources</a:t>
          </a:r>
        </a:p>
      </dsp:txBody>
      <dsp:txXfrm>
        <a:off x="2646488" y="927528"/>
        <a:ext cx="1555279" cy="463764"/>
      </dsp:txXfrm>
    </dsp:sp>
    <dsp:sp modelId="{C7047BA2-2019-4E65-A76B-4EE5B1055C58}">
      <dsp:nvSpPr>
        <dsp:cNvPr id="0" name=""/>
        <dsp:cNvSpPr/>
      </dsp:nvSpPr>
      <dsp:spPr>
        <a:xfrm>
          <a:off x="2646488" y="1391292"/>
          <a:ext cx="1555279" cy="463764"/>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57150" lvl="1" indent="-57150" algn="l" defTabSz="311150">
            <a:lnSpc>
              <a:spcPct val="90000"/>
            </a:lnSpc>
            <a:spcBef>
              <a:spcPct val="0"/>
            </a:spcBef>
            <a:spcAft>
              <a:spcPct val="15000"/>
            </a:spcAft>
            <a:buChar char="•"/>
          </a:pPr>
          <a:r>
            <a:rPr lang="en-US" sz="700" kern="1200"/>
            <a:t>Professional developers</a:t>
          </a:r>
        </a:p>
        <a:p>
          <a:pPr marL="57150" lvl="1" indent="-57150" algn="l" defTabSz="311150">
            <a:lnSpc>
              <a:spcPct val="90000"/>
            </a:lnSpc>
            <a:spcBef>
              <a:spcPct val="0"/>
            </a:spcBef>
            <a:spcAft>
              <a:spcPct val="15000"/>
            </a:spcAft>
            <a:buChar char="•"/>
          </a:pPr>
          <a:r>
            <a:rPr lang="en-US" sz="700" kern="1200"/>
            <a:t>Traditional owners of BI</a:t>
          </a:r>
        </a:p>
      </dsp:txBody>
      <dsp:txXfrm>
        <a:off x="2646488" y="1391292"/>
        <a:ext cx="1555279" cy="4637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70620" y="2843971"/>
          <a:ext cx="1410609" cy="2347221"/>
        </a:xfrm>
        <a:prstGeom prst="corner">
          <a:avLst>
            <a:gd name="adj1" fmla="val 16120"/>
            <a:gd name="adj2" fmla="val 1611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5154" y="3545284"/>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Exploration</a:t>
          </a:r>
        </a:p>
        <a:p>
          <a:pPr marL="114300" lvl="1" indent="-114300" algn="l" defTabSz="666750">
            <a:lnSpc>
              <a:spcPct val="90000"/>
            </a:lnSpc>
            <a:spcBef>
              <a:spcPct val="0"/>
            </a:spcBef>
            <a:spcAft>
              <a:spcPct val="15000"/>
            </a:spcAft>
            <a:buChar char="•"/>
          </a:pPr>
          <a:r>
            <a:rPr lang="en-US" sz="1500" kern="1200"/>
            <a:t>Work with SSBI</a:t>
          </a:r>
        </a:p>
        <a:p>
          <a:pPr marL="114300" lvl="1" indent="-114300" algn="l" defTabSz="666750">
            <a:lnSpc>
              <a:spcPct val="90000"/>
            </a:lnSpc>
            <a:spcBef>
              <a:spcPct val="0"/>
            </a:spcBef>
            <a:spcAft>
              <a:spcPct val="15000"/>
            </a:spcAft>
            <a:buChar char="•"/>
          </a:pPr>
          <a:r>
            <a:rPr lang="en-US" sz="1500" kern="1200"/>
            <a:t>Prove out ideas</a:t>
          </a:r>
        </a:p>
        <a:p>
          <a:pPr marL="114300" lvl="1" indent="-114300" algn="l" defTabSz="666750">
            <a:lnSpc>
              <a:spcPct val="90000"/>
            </a:lnSpc>
            <a:spcBef>
              <a:spcPct val="0"/>
            </a:spcBef>
            <a:spcAft>
              <a:spcPct val="15000"/>
            </a:spcAft>
            <a:buChar char="•"/>
          </a:pPr>
          <a:r>
            <a:rPr lang="en-US" sz="1500" kern="1200"/>
            <a:t>Desktop or Excel</a:t>
          </a:r>
        </a:p>
      </dsp:txBody>
      <dsp:txXfrm>
        <a:off x="235154" y="3545284"/>
        <a:ext cx="2119085" cy="1857502"/>
      </dsp:txXfrm>
    </dsp:sp>
    <dsp:sp modelId="{7892D8E5-7831-49CA-80E3-16F27E5F78B1}">
      <dsp:nvSpPr>
        <dsp:cNvPr id="0" name=""/>
        <dsp:cNvSpPr/>
      </dsp:nvSpPr>
      <dsp:spPr>
        <a:xfrm>
          <a:off x="1954412" y="2671166"/>
          <a:ext cx="399827" cy="399827"/>
        </a:xfrm>
        <a:prstGeom prst="triangle">
          <a:avLst>
            <a:gd name="adj" fmla="val 10000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64794" y="2202040"/>
          <a:ext cx="1410609" cy="2347221"/>
        </a:xfrm>
        <a:prstGeom prst="corner">
          <a:avLst>
            <a:gd name="adj1" fmla="val 16120"/>
            <a:gd name="adj2" fmla="val 16110"/>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829328" y="2903353"/>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omotion</a:t>
          </a:r>
        </a:p>
        <a:p>
          <a:pPr marL="114300" lvl="1" indent="-114300" algn="l" defTabSz="666750">
            <a:lnSpc>
              <a:spcPct val="90000"/>
            </a:lnSpc>
            <a:spcBef>
              <a:spcPct val="0"/>
            </a:spcBef>
            <a:spcAft>
              <a:spcPct val="15000"/>
            </a:spcAft>
            <a:buChar char="•"/>
          </a:pPr>
          <a:r>
            <a:rPr lang="en-US" sz="1500" kern="1200"/>
            <a:t>Gateway</a:t>
          </a:r>
        </a:p>
        <a:p>
          <a:pPr marL="114300" lvl="1" indent="-114300" algn="l" defTabSz="666750">
            <a:lnSpc>
              <a:spcPct val="90000"/>
            </a:lnSpc>
            <a:spcBef>
              <a:spcPct val="0"/>
            </a:spcBef>
            <a:spcAft>
              <a:spcPct val="15000"/>
            </a:spcAft>
            <a:buChar char="•"/>
          </a:pPr>
          <a:r>
            <a:rPr lang="en-US" sz="1500" kern="1200"/>
            <a:t>Scheduled refresh</a:t>
          </a:r>
        </a:p>
        <a:p>
          <a:pPr marL="114300" lvl="1" indent="-114300" algn="l" defTabSz="666750">
            <a:lnSpc>
              <a:spcPct val="90000"/>
            </a:lnSpc>
            <a:spcBef>
              <a:spcPct val="0"/>
            </a:spcBef>
            <a:spcAft>
              <a:spcPct val="15000"/>
            </a:spcAft>
            <a:buChar char="•"/>
          </a:pPr>
          <a:r>
            <a:rPr lang="en-US" sz="1500" kern="1200"/>
            <a:t>Theme</a:t>
          </a:r>
        </a:p>
      </dsp:txBody>
      <dsp:txXfrm>
        <a:off x="2829328" y="2903353"/>
        <a:ext cx="2119085" cy="1857502"/>
      </dsp:txXfrm>
    </dsp:sp>
    <dsp:sp modelId="{186E60F8-3613-42A3-8D7D-987F6AB990A6}">
      <dsp:nvSpPr>
        <dsp:cNvPr id="0" name=""/>
        <dsp:cNvSpPr/>
      </dsp:nvSpPr>
      <dsp:spPr>
        <a:xfrm>
          <a:off x="4548586" y="2029235"/>
          <a:ext cx="399827" cy="399827"/>
        </a:xfrm>
        <a:prstGeom prst="triangle">
          <a:avLst>
            <a:gd name="adj" fmla="val 100000"/>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658968" y="1560109"/>
          <a:ext cx="1410609" cy="2347221"/>
        </a:xfrm>
        <a:prstGeom prst="corner">
          <a:avLst>
            <a:gd name="adj1" fmla="val 16120"/>
            <a:gd name="adj2" fmla="val 16110"/>
          </a:avLst>
        </a:prstGeom>
        <a:solidFill>
          <a:schemeClr val="accent6">
            <a:hueOff val="0"/>
            <a:satOff val="0"/>
            <a:lumOff val="0"/>
            <a:alphaOff val="0"/>
          </a:schemeClr>
        </a:solidFill>
        <a:ln w="1079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423502" y="2261422"/>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Preparation</a:t>
          </a:r>
        </a:p>
        <a:p>
          <a:pPr marL="114300" lvl="1" indent="-114300" algn="l" defTabSz="666750">
            <a:lnSpc>
              <a:spcPct val="90000"/>
            </a:lnSpc>
            <a:spcBef>
              <a:spcPct val="0"/>
            </a:spcBef>
            <a:spcAft>
              <a:spcPct val="15000"/>
            </a:spcAft>
            <a:buChar char="•"/>
          </a:pPr>
          <a:r>
            <a:rPr lang="en-US" sz="1500" kern="1200"/>
            <a:t>Data sources</a:t>
          </a:r>
        </a:p>
        <a:p>
          <a:pPr marL="114300" lvl="1" indent="-114300" algn="l" defTabSz="666750">
            <a:lnSpc>
              <a:spcPct val="90000"/>
            </a:lnSpc>
            <a:spcBef>
              <a:spcPct val="0"/>
            </a:spcBef>
            <a:spcAft>
              <a:spcPct val="15000"/>
            </a:spcAft>
            <a:buChar char="•"/>
          </a:pPr>
          <a:r>
            <a:rPr lang="en-US" sz="1500" kern="1200"/>
            <a:t>Documentation</a:t>
          </a:r>
        </a:p>
        <a:p>
          <a:pPr marL="114300" lvl="1" indent="-114300" algn="l" defTabSz="666750">
            <a:lnSpc>
              <a:spcPct val="90000"/>
            </a:lnSpc>
            <a:spcBef>
              <a:spcPct val="0"/>
            </a:spcBef>
            <a:spcAft>
              <a:spcPct val="15000"/>
            </a:spcAft>
            <a:buChar char="•"/>
          </a:pPr>
          <a:r>
            <a:rPr lang="en-US" sz="1500" kern="1200"/>
            <a:t>Ownership</a:t>
          </a:r>
        </a:p>
      </dsp:txBody>
      <dsp:txXfrm>
        <a:off x="5423502" y="2261422"/>
        <a:ext cx="2119085" cy="1857502"/>
      </dsp:txXfrm>
    </dsp:sp>
    <dsp:sp modelId="{4A235F80-B814-470E-8989-4207188E13E9}">
      <dsp:nvSpPr>
        <dsp:cNvPr id="0" name=""/>
        <dsp:cNvSpPr/>
      </dsp:nvSpPr>
      <dsp:spPr>
        <a:xfrm>
          <a:off x="7142760" y="1387304"/>
          <a:ext cx="399827" cy="399827"/>
        </a:xfrm>
        <a:prstGeom prst="triangle">
          <a:avLst>
            <a:gd name="adj" fmla="val 10000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253142" y="918178"/>
          <a:ext cx="1410609" cy="2347221"/>
        </a:xfrm>
        <a:prstGeom prst="corner">
          <a:avLst>
            <a:gd name="adj1" fmla="val 16120"/>
            <a:gd name="adj2" fmla="val 16110"/>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8017677" y="1619491"/>
          <a:ext cx="2119085" cy="185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a:t>Operationalization</a:t>
          </a:r>
        </a:p>
        <a:p>
          <a:pPr marL="114300" lvl="1" indent="-114300" algn="l" defTabSz="666750">
            <a:lnSpc>
              <a:spcPct val="90000"/>
            </a:lnSpc>
            <a:spcBef>
              <a:spcPct val="0"/>
            </a:spcBef>
            <a:spcAft>
              <a:spcPct val="15000"/>
            </a:spcAft>
            <a:buChar char="•"/>
          </a:pPr>
          <a:r>
            <a:rPr lang="en-US" sz="1500" kern="1200"/>
            <a:t>Prod workspace</a:t>
          </a:r>
        </a:p>
        <a:p>
          <a:pPr marL="114300" lvl="1" indent="-114300" algn="l" defTabSz="666750">
            <a:lnSpc>
              <a:spcPct val="90000"/>
            </a:lnSpc>
            <a:spcBef>
              <a:spcPct val="0"/>
            </a:spcBef>
            <a:spcAft>
              <a:spcPct val="15000"/>
            </a:spcAft>
            <a:buChar char="•"/>
          </a:pPr>
          <a:r>
            <a:rPr lang="en-US" sz="1500" kern="1200"/>
            <a:t>Full support</a:t>
          </a:r>
        </a:p>
        <a:p>
          <a:pPr marL="114300" lvl="1" indent="-114300" algn="l" defTabSz="666750">
            <a:lnSpc>
              <a:spcPct val="90000"/>
            </a:lnSpc>
            <a:spcBef>
              <a:spcPct val="0"/>
            </a:spcBef>
            <a:spcAft>
              <a:spcPct val="15000"/>
            </a:spcAft>
            <a:buChar char="•"/>
          </a:pPr>
          <a:r>
            <a:rPr lang="en-US" sz="1500" kern="1200"/>
            <a:t>SLA</a:t>
          </a:r>
        </a:p>
      </dsp:txBody>
      <dsp:txXfrm>
        <a:off x="8017677" y="1619491"/>
        <a:ext cx="2119085" cy="1857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3/2023 10:45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3/3/2023 10:44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www.sqlbi.com/ref/power-bi-visuals-reference/" TargetMode="External"/><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961378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0702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693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8603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8573827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1:2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9483921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0713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3956744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7607244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640216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139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47379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4683747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27991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688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200253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77957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13674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20388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33910235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247699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609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18089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22633876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97495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Composite Models</a:t>
            </a:r>
          </a:p>
          <a:p>
            <a:pPr marL="0" indent="0" defTabSz="970235">
              <a:buNone/>
            </a:pPr>
            <a:r>
              <a:rPr lang="en-US" sz="900" dirty="0">
                <a:gradFill>
                  <a:gsLst>
                    <a:gs pos="1250">
                      <a:srgbClr val="000000"/>
                    </a:gs>
                    <a:gs pos="100000">
                      <a:srgbClr val="000000"/>
                    </a:gs>
                  </a:gsLst>
                  <a:lin ang="5400000" scaled="0"/>
                </a:gradFill>
                <a:latin typeface="Segoe UI"/>
              </a:rPr>
              <a:t>Allows you to blend direct query and import to optimize queries.</a:t>
            </a:r>
          </a:p>
          <a:p>
            <a:pPr marL="0" indent="0" defTabSz="970235">
              <a:buNone/>
            </a:pPr>
            <a:endParaRPr lang="en-US" sz="900" dirty="0">
              <a:gradFill>
                <a:gsLst>
                  <a:gs pos="1250">
                    <a:srgbClr val="000000"/>
                  </a:gs>
                  <a:gs pos="100000">
                    <a:srgbClr val="000000"/>
                  </a:gs>
                </a:gsLst>
                <a:lin ang="5400000" scaled="0"/>
              </a:gradFill>
              <a:latin typeface="Segoe UI"/>
            </a:endParaRPr>
          </a:p>
          <a:p>
            <a:pPr marL="0" indent="0" defTabSz="970235">
              <a:buNone/>
            </a:pPr>
            <a:r>
              <a:rPr lang="en-US" sz="1000" dirty="0">
                <a:gradFill>
                  <a:gsLst>
                    <a:gs pos="1250">
                      <a:srgbClr val="000000"/>
                    </a:gs>
                    <a:gs pos="100000">
                      <a:srgbClr val="000000"/>
                    </a:gs>
                  </a:gsLst>
                  <a:lin ang="5400000" scaled="0"/>
                </a:gradFill>
                <a:latin typeface="Segoe UI Semibold" panose="020B0702040204020203" pitchFamily="34" charset="0"/>
                <a:cs typeface="Segoe UI Semibold" panose="020B0702040204020203" pitchFamily="34" charset="0"/>
              </a:rPr>
              <a:t>Aggregates</a:t>
            </a:r>
          </a:p>
          <a:p>
            <a:pPr marL="0" indent="0" defTabSz="970235">
              <a:buNone/>
            </a:pPr>
            <a:r>
              <a:rPr lang="en-US" sz="900" dirty="0">
                <a:gradFill>
                  <a:gsLst>
                    <a:gs pos="1250">
                      <a:srgbClr val="000000"/>
                    </a:gs>
                    <a:gs pos="100000">
                      <a:srgbClr val="000000"/>
                    </a:gs>
                  </a:gsLst>
                  <a:lin ang="5400000" scaled="0"/>
                </a:gradFill>
                <a:latin typeface="Segoe UI"/>
              </a:rPr>
              <a:t>Instant answers over petabyte scale data.</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4654103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28687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5671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27582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84017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99122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39965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13490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00896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1497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38948870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32144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9664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15366159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34238526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19801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32694266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13386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8121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17991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80504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10581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99304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3</a:t>
            </a:fld>
            <a:endParaRPr lang="en-US"/>
          </a:p>
        </p:txBody>
      </p:sp>
    </p:spTree>
    <p:extLst>
      <p:ext uri="{BB962C8B-B14F-4D97-AF65-F5344CB8AC3E}">
        <p14:creationId xmlns:p14="http://schemas.microsoft.com/office/powerpoint/2010/main" val="16850602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4</a:t>
            </a:fld>
            <a:endParaRPr lang="en-US"/>
          </a:p>
        </p:txBody>
      </p:sp>
    </p:spTree>
    <p:extLst>
      <p:ext uri="{BB962C8B-B14F-4D97-AF65-F5344CB8AC3E}">
        <p14:creationId xmlns:p14="http://schemas.microsoft.com/office/powerpoint/2010/main" val="3294880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31197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08918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me departments will want to do their analysis in Excel – lots of finance departments for example. With Power BI, Excel users can access certified data sets to ensure a single source of truth is used regardless of analysis tool.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2018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765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44658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C4C441-A3D6-486E-B36D-5AA4EBB9AF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0481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702385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60825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63132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ower BI Visuals Reference - SQLBI</a:t>
            </a:r>
            <a:endParaRPr lang="en-DK"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752598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48</a:t>
            </a:fld>
            <a:endParaRPr lang="en-US"/>
          </a:p>
        </p:txBody>
      </p:sp>
    </p:spTree>
    <p:extLst>
      <p:ext uri="{BB962C8B-B14F-4D97-AF65-F5344CB8AC3E}">
        <p14:creationId xmlns:p14="http://schemas.microsoft.com/office/powerpoint/2010/main" val="39532590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finition from https://www.merriam-webster.com/dictionary/double-edged%20sword</a:t>
            </a:r>
          </a:p>
          <a:p>
            <a:endParaRPr lang="en-GB"/>
          </a:p>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49</a:t>
            </a:fld>
            <a:endParaRPr lang="en-US"/>
          </a:p>
        </p:txBody>
      </p:sp>
    </p:spTree>
    <p:extLst>
      <p:ext uri="{BB962C8B-B14F-4D97-AF65-F5344CB8AC3E}">
        <p14:creationId xmlns:p14="http://schemas.microsoft.com/office/powerpoint/2010/main" val="29006635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DsWyGKgLPiI </a:t>
            </a:r>
          </a:p>
        </p:txBody>
      </p:sp>
      <p:sp>
        <p:nvSpPr>
          <p:cNvPr id="4" name="Slide Number Placeholder 3"/>
          <p:cNvSpPr>
            <a:spLocks noGrp="1"/>
          </p:cNvSpPr>
          <p:nvPr>
            <p:ph type="sldNum" sz="quarter" idx="5"/>
          </p:nvPr>
        </p:nvSpPr>
        <p:spPr/>
        <p:txBody>
          <a:bodyPr/>
          <a:lstStyle/>
          <a:p>
            <a:fld id="{DD81A89D-8738-4ED5-BF6E-F438F4965D3F}" type="slidenum">
              <a:rPr lang="en-US" smtClean="0"/>
              <a:t>150</a:t>
            </a:fld>
            <a:endParaRPr lang="en-US"/>
          </a:p>
        </p:txBody>
      </p:sp>
    </p:spTree>
    <p:extLst>
      <p:ext uri="{BB962C8B-B14F-4D97-AF65-F5344CB8AC3E}">
        <p14:creationId xmlns:p14="http://schemas.microsoft.com/office/powerpoint/2010/main" val="182412109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hMaMc-xq-g</a:t>
            </a:r>
          </a:p>
        </p:txBody>
      </p:sp>
      <p:sp>
        <p:nvSpPr>
          <p:cNvPr id="4" name="Slide Number Placeholder 3"/>
          <p:cNvSpPr>
            <a:spLocks noGrp="1"/>
          </p:cNvSpPr>
          <p:nvPr>
            <p:ph type="sldNum" sz="quarter" idx="5"/>
          </p:nvPr>
        </p:nvSpPr>
        <p:spPr/>
        <p:txBody>
          <a:bodyPr/>
          <a:lstStyle/>
          <a:p>
            <a:fld id="{DD81A89D-8738-4ED5-BF6E-F438F4965D3F}" type="slidenum">
              <a:rPr lang="en-US" smtClean="0"/>
              <a:t>151</a:t>
            </a:fld>
            <a:endParaRPr lang="en-US"/>
          </a:p>
        </p:txBody>
      </p:sp>
    </p:spTree>
    <p:extLst>
      <p:ext uri="{BB962C8B-B14F-4D97-AF65-F5344CB8AC3E}">
        <p14:creationId xmlns:p14="http://schemas.microsoft.com/office/powerpoint/2010/main" val="65558009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EmZORTeNN4s</a:t>
            </a:r>
          </a:p>
        </p:txBody>
      </p:sp>
      <p:sp>
        <p:nvSpPr>
          <p:cNvPr id="4" name="Slide Number Placeholder 3"/>
          <p:cNvSpPr>
            <a:spLocks noGrp="1"/>
          </p:cNvSpPr>
          <p:nvPr>
            <p:ph type="sldNum" sz="quarter" idx="5"/>
          </p:nvPr>
        </p:nvSpPr>
        <p:spPr/>
        <p:txBody>
          <a:bodyPr/>
          <a:lstStyle/>
          <a:p>
            <a:fld id="{DD81A89D-8738-4ED5-BF6E-F438F4965D3F}" type="slidenum">
              <a:rPr lang="en-US" smtClean="0"/>
              <a:t>152</a:t>
            </a:fld>
            <a:endParaRPr lang="en-US"/>
          </a:p>
        </p:txBody>
      </p:sp>
    </p:spTree>
    <p:extLst>
      <p:ext uri="{BB962C8B-B14F-4D97-AF65-F5344CB8AC3E}">
        <p14:creationId xmlns:p14="http://schemas.microsoft.com/office/powerpoint/2010/main" val="3476477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882" kern="1200" dirty="0">
              <a:solidFill>
                <a:schemeClr val="tx1"/>
              </a:solidFill>
              <a:effectLst/>
              <a:latin typeface="Segoe UI" panose="020B0502040204020203"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18686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mage from https://www.albion-swords.com/images/Albion%20Swords%20Listings/Talhoffer.jpg</a:t>
            </a:r>
          </a:p>
        </p:txBody>
      </p:sp>
      <p:sp>
        <p:nvSpPr>
          <p:cNvPr id="4" name="Slide Number Placeholder 3"/>
          <p:cNvSpPr>
            <a:spLocks noGrp="1"/>
          </p:cNvSpPr>
          <p:nvPr>
            <p:ph type="sldNum" sz="quarter" idx="10"/>
          </p:nvPr>
        </p:nvSpPr>
        <p:spPr/>
        <p:txBody>
          <a:bodyPr/>
          <a:lstStyle/>
          <a:p>
            <a:fld id="{DD81A89D-8738-4ED5-BF6E-F438F4965D3F}" type="slidenum">
              <a:rPr lang="en-US" smtClean="0"/>
              <a:t>153</a:t>
            </a:fld>
            <a:endParaRPr lang="en-US"/>
          </a:p>
        </p:txBody>
      </p:sp>
    </p:spTree>
    <p:extLst>
      <p:ext uri="{BB962C8B-B14F-4D97-AF65-F5344CB8AC3E}">
        <p14:creationId xmlns:p14="http://schemas.microsoft.com/office/powerpoint/2010/main" val="339991232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7530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images/Albion%20Swords%20Listings/Talhoffer.jpg</a:t>
            </a:r>
          </a:p>
        </p:txBody>
      </p:sp>
      <p:sp>
        <p:nvSpPr>
          <p:cNvPr id="4" name="Slide Number Placeholder 3"/>
          <p:cNvSpPr>
            <a:spLocks noGrp="1"/>
          </p:cNvSpPr>
          <p:nvPr>
            <p:ph type="sldNum" sz="quarter" idx="5"/>
          </p:nvPr>
        </p:nvSpPr>
        <p:spPr/>
        <p:txBody>
          <a:bodyPr/>
          <a:lstStyle/>
          <a:p>
            <a:fld id="{DD81A89D-8738-4ED5-BF6E-F438F4965D3F}" type="slidenum">
              <a:rPr lang="en-US" smtClean="0"/>
              <a:t>155</a:t>
            </a:fld>
            <a:endParaRPr lang="en-US"/>
          </a:p>
        </p:txBody>
      </p:sp>
    </p:spTree>
    <p:extLst>
      <p:ext uri="{BB962C8B-B14F-4D97-AF65-F5344CB8AC3E}">
        <p14:creationId xmlns:p14="http://schemas.microsoft.com/office/powerpoint/2010/main" val="72817027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56</a:t>
            </a:fld>
            <a:endParaRPr lang="en-US"/>
          </a:p>
        </p:txBody>
      </p:sp>
    </p:spTree>
    <p:extLst>
      <p:ext uri="{BB962C8B-B14F-4D97-AF65-F5344CB8AC3E}">
        <p14:creationId xmlns:p14="http://schemas.microsoft.com/office/powerpoint/2010/main" val="31151760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57</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58</a:t>
            </a:fld>
            <a:endParaRPr lang="en-US"/>
          </a:p>
        </p:txBody>
      </p:sp>
    </p:spTree>
    <p:extLst>
      <p:ext uri="{BB962C8B-B14F-4D97-AF65-F5344CB8AC3E}">
        <p14:creationId xmlns:p14="http://schemas.microsoft.com/office/powerpoint/2010/main" val="223399653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p:txBody>
          <a:bodyPr/>
          <a:lstStyle/>
          <a:p>
            <a:fld id="{AEB2D09C-E420-4905-8E74-B16C64801357}" type="slidenum">
              <a:rPr lang="en-US" smtClean="0"/>
              <a:t>159</a:t>
            </a:fld>
            <a:endParaRPr lang="en-US"/>
          </a:p>
        </p:txBody>
      </p:sp>
    </p:spTree>
    <p:extLst>
      <p:ext uri="{BB962C8B-B14F-4D97-AF65-F5344CB8AC3E}">
        <p14:creationId xmlns:p14="http://schemas.microsoft.com/office/powerpoint/2010/main" val="301914938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lvl="0">
              <a:defRPr/>
            </a:pPr>
            <a:endParaRPr lang="en-US">
              <a:cs typeface="Segoe UI Light" panose="020B0502040204020203" pitchFamily="34" charset="0"/>
            </a:endParaRPr>
          </a:p>
        </p:txBody>
      </p:sp>
      <p:sp>
        <p:nvSpPr>
          <p:cNvPr id="8" name="Header Placeholder 3"/>
          <p:cNvSpPr>
            <a:spLocks noGrp="1"/>
          </p:cNvSpPr>
          <p:nvPr>
            <p:ph type="hdr" sz="quarter"/>
          </p:nvPr>
        </p:nvSpPr>
        <p:spPr>
          <a:xfrm>
            <a:off x="279400" y="215107"/>
            <a:ext cx="3536950" cy="457200"/>
          </a:xfr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ower BI Governance and Deployment Overview</a:t>
            </a:r>
          </a:p>
        </p:txBody>
      </p:sp>
      <p:sp>
        <p:nvSpPr>
          <p:cNvPr id="9" name="Footer Placeholder 4"/>
          <p:cNvSpPr>
            <a:spLocks noGrp="1"/>
          </p:cNvSpPr>
          <p:nvPr>
            <p:ph type="ftr" sz="quarter" idx="4"/>
          </p:nvPr>
        </p:nvSpPr>
        <p:spPr>
          <a:xfrm>
            <a:off x="0" y="8686800"/>
            <a:ext cx="5920740" cy="355964"/>
          </a:xfrm>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9706006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from https://www.albion-swords.com/NEXTGEN%20HAND%20AND%20A%20HALF%20SWORDS.html</a:t>
            </a:r>
          </a:p>
          <a:p>
            <a:endParaRPr lang="en-US"/>
          </a:p>
          <a:p>
            <a:r>
              <a:rPr lang="en-US"/>
              <a:t>https://www.albion-swords.com/images/Albion%20Swords%20Listings/Talhoffer.jpg</a:t>
            </a:r>
          </a:p>
          <a:p>
            <a:endParaRPr lang="en-US"/>
          </a:p>
          <a:p>
            <a:r>
              <a:rPr lang="en-US"/>
              <a:t>Buy one of these.</a:t>
            </a:r>
          </a:p>
          <a:p>
            <a:endParaRPr lang="en-US"/>
          </a:p>
          <a:p>
            <a:r>
              <a:rPr lang="en-US"/>
              <a:t>If you don’t want one, buy ME one of these. </a:t>
            </a:r>
          </a:p>
          <a:p>
            <a:endParaRPr lang="en-US"/>
          </a:p>
        </p:txBody>
      </p:sp>
      <p:sp>
        <p:nvSpPr>
          <p:cNvPr id="4" name="Slide Number Placeholder 3"/>
          <p:cNvSpPr>
            <a:spLocks noGrp="1"/>
          </p:cNvSpPr>
          <p:nvPr>
            <p:ph type="sldNum" sz="quarter" idx="5"/>
          </p:nvPr>
        </p:nvSpPr>
        <p:spPr/>
        <p:txBody>
          <a:bodyPr/>
          <a:lstStyle/>
          <a:p>
            <a:fld id="{DD81A89D-8738-4ED5-BF6E-F438F4965D3F}" type="slidenum">
              <a:rPr lang="en-US" smtClean="0"/>
              <a:t>163</a:t>
            </a:fld>
            <a:endParaRPr lang="en-US"/>
          </a:p>
        </p:txBody>
      </p:sp>
    </p:spTree>
    <p:extLst>
      <p:ext uri="{BB962C8B-B14F-4D97-AF65-F5344CB8AC3E}">
        <p14:creationId xmlns:p14="http://schemas.microsoft.com/office/powerpoint/2010/main" val="58084552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168</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2023 10:4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88861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169</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power-bi/guidance/powerbi-implementation-planning-introduction</a:t>
            </a:r>
          </a:p>
        </p:txBody>
      </p:sp>
      <p:sp>
        <p:nvSpPr>
          <p:cNvPr id="4" name="Slide Number Placeholder 3"/>
          <p:cNvSpPr>
            <a:spLocks noGrp="1"/>
          </p:cNvSpPr>
          <p:nvPr>
            <p:ph type="sldNum" sz="quarter" idx="5"/>
          </p:nvPr>
        </p:nvSpPr>
        <p:spPr/>
        <p:txBody>
          <a:bodyPr/>
          <a:lstStyle/>
          <a:p>
            <a:fld id="{7E6A3605-7A28-403B-8AF8-3C2A1E66453A}" type="slidenum">
              <a:rPr lang="en-US" smtClean="0"/>
              <a:t>170</a:t>
            </a:fld>
            <a:endParaRPr lang="en-US"/>
          </a:p>
        </p:txBody>
      </p:sp>
    </p:spTree>
    <p:extLst>
      <p:ext uri="{BB962C8B-B14F-4D97-AF65-F5344CB8AC3E}">
        <p14:creationId xmlns:p14="http://schemas.microsoft.com/office/powerpoint/2010/main" val="22243749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londonlongsword.com/</a:t>
            </a:r>
          </a:p>
        </p:txBody>
      </p:sp>
      <p:sp>
        <p:nvSpPr>
          <p:cNvPr id="4" name="Slide Number Placeholder 3"/>
          <p:cNvSpPr>
            <a:spLocks noGrp="1"/>
          </p:cNvSpPr>
          <p:nvPr>
            <p:ph type="sldNum" sz="quarter" idx="5"/>
          </p:nvPr>
        </p:nvSpPr>
        <p:spPr/>
        <p:txBody>
          <a:bodyPr/>
          <a:lstStyle/>
          <a:p>
            <a:fld id="{DD81A89D-8738-4ED5-BF6E-F438F4965D3F}" type="slidenum">
              <a:rPr lang="en-US" smtClean="0"/>
              <a:t>171</a:t>
            </a:fld>
            <a:endParaRPr lang="en-US"/>
          </a:p>
        </p:txBody>
      </p:sp>
    </p:spTree>
    <p:extLst>
      <p:ext uri="{BB962C8B-B14F-4D97-AF65-F5344CB8AC3E}">
        <p14:creationId xmlns:p14="http://schemas.microsoft.com/office/powerpoint/2010/main" val="139683373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85336-84EC-43B9-8390-35875FE633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425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use line chart</a:t>
            </a:r>
          </a:p>
          <a:p>
            <a:r>
              <a:rPr lang="en-US" dirty="0"/>
              <a:t>Use bar chart</a:t>
            </a:r>
            <a:endParaRPr lang="en-DK" dirty="0"/>
          </a:p>
          <a:p>
            <a:endParaRPr lang="en-DK"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3/3/2023 10:4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5</a:t>
            </a:fld>
            <a:endParaRPr lang="en-US"/>
          </a:p>
        </p:txBody>
      </p:sp>
    </p:spTree>
    <p:extLst>
      <p:ext uri="{BB962C8B-B14F-4D97-AF65-F5344CB8AC3E}">
        <p14:creationId xmlns:p14="http://schemas.microsoft.com/office/powerpoint/2010/main" val="8663428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D50E-39C6-464E-BFC7-A8B9B6190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5840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9.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8.emf"/><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5.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0.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1.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8.sv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7.jpeg"/><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68.jpe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9.xml"/><Relationship Id="rId4" Type="http://schemas.openxmlformats.org/officeDocument/2006/relationships/image" Target="../media/image73.pn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sv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8.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1.xml"/><Relationship Id="rId4" Type="http://schemas.openxmlformats.org/officeDocument/2006/relationships/slide" Target="../slides/slide25.xml"/></Relationships>
</file>

<file path=ppt/slideLayouts/_rels/slideLayout49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1.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1.xml"/><Relationship Id="rId4" Type="http://schemas.openxmlformats.org/officeDocument/2006/relationships/slide" Target="../slides/slide25.xml"/></Relationships>
</file>

<file path=ppt/slideLayouts/_rels/slideLayout49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1.xml"/></Relationships>
</file>

<file path=ppt/slideLayouts/_rels/slideLayout49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1.xml"/></Relationships>
</file>

<file path=ppt/slideLayouts/_rels/slideLayout49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1.xml"/></Relationships>
</file>

<file path=ppt/slideLayouts/_rels/slideLayout499.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25.xml"/><Relationship Id="rId4" Type="http://schemas.openxmlformats.org/officeDocument/2006/relationships/slide" Target="../slides/slide50.xml"/></Relationships>
</file>

<file path=ppt/slideLayouts/_rels/slideLayout501.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502.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0.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0.xml"/><Relationship Id="rId4" Type="http://schemas.openxmlformats.org/officeDocument/2006/relationships/slide" Target="../slides/slide25.xml"/></Relationships>
</file>

<file path=ppt/slideLayouts/_rels/slideLayout50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0.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50.xml"/><Relationship Id="rId4" Type="http://schemas.openxmlformats.org/officeDocument/2006/relationships/slide" Target="../slides/slide25.xml"/></Relationships>
</file>

<file path=ppt/slideLayouts/_rels/slideLayout50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0.xml"/></Relationships>
</file>

<file path=ppt/slideLayouts/_rels/slideLayout50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50.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69.xml"/><Relationship Id="rId4" Type="http://schemas.openxmlformats.org/officeDocument/2006/relationships/slide" Target="../slides/slide25.xml"/></Relationships>
</file>

<file path=ppt/slideLayouts/_rels/slideLayout509.xml.rels><?xml version="1.0" encoding="UTF-8" standalone="yes"?>
<Relationships xmlns="http://schemas.openxmlformats.org/package/2006/relationships"><Relationship Id="rId3" Type="http://schemas.openxmlformats.org/officeDocument/2006/relationships/slide" Target="../slides/slide69.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69.xml"/><Relationship Id="rId4" Type="http://schemas.openxmlformats.org/officeDocument/2006/relationships/slide" Target="../slides/slide25.xml"/></Relationships>
</file>

<file path=ppt/slideLayouts/_rels/slideLayout512.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13.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69.xml"/><Relationship Id="rId4" Type="http://schemas.openxmlformats.org/officeDocument/2006/relationships/slide" Target="../slides/slide25.xml"/></Relationships>
</file>

<file path=ppt/slideLayouts/_rels/slideLayout515.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69.xml"/><Relationship Id="rId4" Type="http://schemas.openxmlformats.org/officeDocument/2006/relationships/slide" Target="../slides/slide25.xml"/></Relationships>
</file>

<file path=ppt/slideLayouts/_rels/slideLayout51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1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69.xml"/><Relationship Id="rId4" Type="http://schemas.openxmlformats.org/officeDocument/2006/relationships/slide" Target="../slides/slide2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21.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69.xml"/><Relationship Id="rId4" Type="http://schemas.openxmlformats.org/officeDocument/2006/relationships/slide" Target="../slides/slide25.xml"/></Relationships>
</file>

<file path=ppt/slideLayouts/_rels/slideLayout523.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2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69.xml"/><Relationship Id="rId4" Type="http://schemas.openxmlformats.org/officeDocument/2006/relationships/slide" Target="../slides/slide25.xml"/></Relationships>
</file>

<file path=ppt/slideLayouts/_rels/slideLayout52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77.png"/><Relationship Id="rId1" Type="http://schemas.openxmlformats.org/officeDocument/2006/relationships/slideMaster" Target="../slideMasters/slideMaster11.xml"/><Relationship Id="rId5" Type="http://schemas.openxmlformats.org/officeDocument/2006/relationships/slide" Target="../slides/slide69.xml"/><Relationship Id="rId4" Type="http://schemas.openxmlformats.org/officeDocument/2006/relationships/slide" Target="../slides/slide25.xml"/></Relationships>
</file>

<file path=ppt/slideLayouts/_rels/slideLayout52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image" Target="../media/image46.emf"/><Relationship Id="rId1" Type="http://schemas.openxmlformats.org/officeDocument/2006/relationships/slideMaster" Target="../slideMasters/slideMaster11.xml"/><Relationship Id="rId4" Type="http://schemas.openxmlformats.org/officeDocument/2006/relationships/slide" Target="../slides/slide69.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129361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9592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7" y="2674314"/>
            <a:ext cx="11226954" cy="1737340"/>
          </a:xfrm>
        </p:spPr>
        <p:txBody>
          <a:bodyPr anchor="ctr"/>
          <a:lstStyle>
            <a:lvl1pPr>
              <a:defRPr sz="5996">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2" y="492479"/>
            <a:ext cx="1250285" cy="266701"/>
          </a:xfrm>
          <a:prstGeom prst="rect">
            <a:avLst/>
          </a:prstGeom>
        </p:spPr>
      </p:pic>
    </p:spTree>
    <p:extLst>
      <p:ext uri="{BB962C8B-B14F-4D97-AF65-F5344CB8AC3E}">
        <p14:creationId xmlns:p14="http://schemas.microsoft.com/office/powerpoint/2010/main" val="362087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3"/>
            <a:ext cx="3288506" cy="704445"/>
          </a:xfrm>
          <a:prstGeom prst="rect">
            <a:avLst/>
          </a:prstGeom>
        </p:spPr>
      </p:pic>
    </p:spTree>
    <p:extLst>
      <p:ext uri="{BB962C8B-B14F-4D97-AF65-F5344CB8AC3E}">
        <p14:creationId xmlns:p14="http://schemas.microsoft.com/office/powerpoint/2010/main" val="30430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5"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6"/>
            <a:ext cx="10057117"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832168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274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1"/>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129937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4" y="186523"/>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2808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2112"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4529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1026"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44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0"/>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2"/>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68586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3" y="6565904"/>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6" y="6547380"/>
            <a:ext cx="2657958" cy="186521"/>
          </a:xfrm>
          <a:prstGeom prst="rect">
            <a:avLst/>
          </a:prstGeom>
          <a:noFill/>
        </p:spPr>
        <p:txBody>
          <a:bodyPr wrap="none" lIns="186444" tIns="149156" rIns="186444" bIns="149156"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894074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5180625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350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3/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79662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2780"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83364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67977678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2"/>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02061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2112"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7267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169232"/>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6"/>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162" indent="0" algn="ctr">
              <a:buNone/>
              <a:defRPr sz="2040"/>
            </a:lvl2pPr>
            <a:lvl3pPr marL="932325" indent="0" algn="ctr">
              <a:buNone/>
              <a:defRPr sz="1836"/>
            </a:lvl3pPr>
            <a:lvl4pPr marL="1398487" indent="0" algn="ctr">
              <a:buNone/>
              <a:defRPr sz="1632"/>
            </a:lvl4pPr>
            <a:lvl5pPr marL="1864649" indent="0" algn="ctr">
              <a:buNone/>
              <a:defRPr sz="1632"/>
            </a:lvl5pPr>
            <a:lvl6pPr marL="2330811" indent="0" algn="ctr">
              <a:buNone/>
              <a:defRPr sz="1632"/>
            </a:lvl6pPr>
            <a:lvl7pPr marL="2796973" indent="0" algn="ctr">
              <a:buNone/>
              <a:defRPr sz="1632"/>
            </a:lvl7pPr>
            <a:lvl8pPr marL="3263135" indent="0" algn="ctr">
              <a:buNone/>
              <a:defRPr sz="1632"/>
            </a:lvl8pPr>
            <a:lvl9pPr marL="372929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3/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1085319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40331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29243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71452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35452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40766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13667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5228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63171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00145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681413"/>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903899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4603230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03970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468292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8156304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2209914719"/>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12681923"/>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702238831"/>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4062941"/>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696226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89044434"/>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9346290"/>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32768261"/>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2501918"/>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3321751131"/>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466591099"/>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563354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3795497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627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1046670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85718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509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800973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97338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14670484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83848502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2011779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592424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033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5028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1949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4555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902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50399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603298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71970329"/>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70924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87596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4324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8221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31823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63394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822841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2661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26127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45294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975584"/>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2942959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72486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84573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402328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591736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09157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504850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359150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9137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10952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2205001"/>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177807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3157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35029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4381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8289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04330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48843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780331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7168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53504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895029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85885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399" spc="-100"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61161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82" y="-2726"/>
            <a:ext cx="12433124" cy="699997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74667" y="2119177"/>
            <a:ext cx="6399983"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60630" y="479425"/>
            <a:ext cx="1451658" cy="311304"/>
          </a:xfrm>
          <a:prstGeom prst="rect">
            <a:avLst/>
          </a:prstGeom>
        </p:spPr>
      </p:pic>
    </p:spTree>
    <p:extLst>
      <p:ext uri="{BB962C8B-B14F-4D97-AF65-F5344CB8AC3E}">
        <p14:creationId xmlns:p14="http://schemas.microsoft.com/office/powerpoint/2010/main" val="811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2239495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solidFill>
                  <a:schemeClr val="tx1"/>
                </a:solidFill>
                <a:latin typeface="+mn-lt"/>
                <a:ea typeface="+mn-ea"/>
                <a:cs typeface="+mn-cs"/>
              </a:defRPr>
            </a:lvl1pPr>
          </a:lstStyle>
          <a:p>
            <a:pPr marL="0" marR="0" lvl="0" indent="0" algn="l" defTabSz="93264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57142" y="479425"/>
            <a:ext cx="1483229" cy="310896"/>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439669" y="0"/>
            <a:ext cx="6995219" cy="6995517"/>
          </a:xfrm>
          <a:prstGeom prst="rect">
            <a:avLst/>
          </a:prstGeom>
        </p:spPr>
      </p:pic>
    </p:spTree>
    <p:extLst>
      <p:ext uri="{BB962C8B-B14F-4D97-AF65-F5344CB8AC3E}">
        <p14:creationId xmlns:p14="http://schemas.microsoft.com/office/powerpoint/2010/main" val="48491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3" y="1212850"/>
            <a:ext cx="11887270" cy="2308324"/>
          </a:xfrm>
        </p:spPr>
        <p:txBody>
          <a:bodyPr>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12637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7" y="1211288"/>
            <a:ext cx="1188727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930760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solidFill>
                  <a:schemeClr val="tx1"/>
                </a:solidFill>
                <a:latin typeface="+mn-lt"/>
              </a:defRPr>
            </a:lvl1pPr>
            <a:lvl2pPr marL="255562" indent="0">
              <a:buFont typeface="Wingdings" panose="05000000000000000000" pitchFamily="2" charset="2"/>
              <a:buNone/>
              <a:defRPr sz="2400" b="0">
                <a:solidFill>
                  <a:schemeClr val="tx1"/>
                </a:solidFill>
              </a:defRPr>
            </a:lvl2pPr>
            <a:lvl3pPr marL="450805" indent="0">
              <a:buFont typeface="Wingdings" panose="05000000000000000000" pitchFamily="2" charset="2"/>
              <a:buNone/>
              <a:tabLst/>
              <a:defRPr sz="2200" b="0">
                <a:solidFill>
                  <a:schemeClr val="tx1"/>
                </a:solidFill>
              </a:defRPr>
            </a:lvl3pPr>
            <a:lvl4pPr marL="652397" indent="0">
              <a:buFont typeface="Wingdings" panose="05000000000000000000" pitchFamily="2" charset="2"/>
              <a:buNone/>
              <a:defRPr sz="2200" b="0">
                <a:solidFill>
                  <a:schemeClr val="tx1"/>
                </a:solidFill>
              </a:defRPr>
            </a:lvl4pPr>
            <a:lvl5pPr marL="853990" indent="0">
              <a:buFont typeface="Wingdings" panose="05000000000000000000" pitchFamily="2" charset="2"/>
              <a:buNone/>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solidFill>
                  <a:schemeClr val="tx1"/>
                </a:solidFill>
                <a:latin typeface="+mn-lt"/>
                <a:ea typeface="+mn-ea"/>
                <a:cs typeface="+mn-cs"/>
              </a:defRPr>
            </a:lvl1pPr>
            <a:lvl2pPr marL="255562" indent="0">
              <a:buFont typeface="Arial" panose="020B0604020202020204" pitchFamily="34" charset="0"/>
              <a:buNone/>
              <a:defRPr lang="en-US" sz="2400" b="0" kern="1200" spc="0" baseline="0" dirty="0">
                <a:solidFill>
                  <a:schemeClr val="tx1"/>
                </a:solidFill>
                <a:latin typeface="+mn-lt"/>
                <a:ea typeface="+mn-ea"/>
                <a:cs typeface="+mn-cs"/>
              </a:defRPr>
            </a:lvl2pPr>
            <a:lvl3pPr marL="450805" indent="0">
              <a:buFont typeface="Arial" panose="020B0604020202020204" pitchFamily="34" charset="0"/>
              <a:buNone/>
              <a:tabLst/>
              <a:defRPr lang="en-US" sz="2200" b="0" kern="1200" spc="0" baseline="0" dirty="0">
                <a:solidFill>
                  <a:schemeClr val="tx1"/>
                </a:solidFill>
                <a:latin typeface="+mn-lt"/>
                <a:ea typeface="+mn-ea"/>
                <a:cs typeface="+mn-cs"/>
              </a:defRPr>
            </a:lvl3pPr>
            <a:lvl4pPr marL="652397" indent="0">
              <a:buFont typeface="Arial" panose="020B0604020202020204" pitchFamily="34" charset="0"/>
              <a:buNone/>
              <a:defRPr lang="en-US" sz="2200" b="0" kern="1200" spc="0" baseline="0" dirty="0">
                <a:solidFill>
                  <a:schemeClr val="tx1"/>
                </a:solidFill>
                <a:latin typeface="+mn-lt"/>
                <a:ea typeface="+mn-ea"/>
                <a:cs typeface="+mn-cs"/>
              </a:defRPr>
            </a:lvl4pPr>
            <a:lvl5pPr marL="853990" indent="0">
              <a:buFont typeface="Arial" panose="020B0604020202020204" pitchFamily="34" charset="0"/>
              <a:buNone/>
              <a:tabLst/>
              <a:defRPr lang="en-US" sz="2200" b="0" kern="1200" spc="0" baseline="0" dirty="0">
                <a:solidFill>
                  <a:schemeClr val="tx1"/>
                </a:solidFill>
                <a:latin typeface="+mn-lt"/>
                <a:ea typeface="+mn-ea"/>
                <a:cs typeface="+mn-cs"/>
              </a:defRPr>
            </a:lvl5pPr>
          </a:lstStyle>
          <a:p>
            <a:pPr marL="514299" marR="0" lvl="0" indent="-514299" algn="l" defTabSz="932649" rtl="0" eaLnBrk="1" fontAlgn="auto" latinLnBrk="0" hangingPunct="1">
              <a:lnSpc>
                <a:spcPct val="90000"/>
              </a:lnSpc>
              <a:spcBef>
                <a:spcPts val="1224"/>
              </a:spcBef>
              <a:spcAft>
                <a:spcPts val="0"/>
              </a:spcAft>
              <a:buClr>
                <a:schemeClr val="tx1"/>
              </a:buClr>
              <a:buSzPct val="90000"/>
              <a:tabLst/>
            </a:pPr>
            <a:r>
              <a:rPr lang="en-US"/>
              <a:t>Edit Master text styles</a:t>
            </a:r>
          </a:p>
          <a:p>
            <a:pPr marL="514299" marR="0" lvl="1" indent="-514299" algn="l" defTabSz="932649" rtl="0" eaLnBrk="1" fontAlgn="auto" latinLnBrk="0" hangingPunct="1">
              <a:lnSpc>
                <a:spcPct val="90000"/>
              </a:lnSpc>
              <a:spcBef>
                <a:spcPts val="1224"/>
              </a:spcBef>
              <a:spcAft>
                <a:spcPts val="0"/>
              </a:spcAft>
              <a:buClr>
                <a:schemeClr val="tx1"/>
              </a:buClr>
              <a:buSzPct val="90000"/>
              <a:tabLst/>
            </a:pPr>
            <a:r>
              <a:rPr lang="en-US"/>
              <a:t>Second level</a:t>
            </a:r>
          </a:p>
          <a:p>
            <a:pPr marL="514299" marR="0" lvl="2" indent="-514299" algn="l" defTabSz="932649" rtl="0" eaLnBrk="1" fontAlgn="auto" latinLnBrk="0" hangingPunct="1">
              <a:lnSpc>
                <a:spcPct val="90000"/>
              </a:lnSpc>
              <a:spcBef>
                <a:spcPts val="1224"/>
              </a:spcBef>
              <a:spcAft>
                <a:spcPts val="0"/>
              </a:spcAft>
              <a:buClr>
                <a:schemeClr val="tx1"/>
              </a:buClr>
              <a:buSzPct val="90000"/>
              <a:tabLst/>
            </a:pPr>
            <a:r>
              <a:rPr lang="en-US"/>
              <a:t>Third level</a:t>
            </a:r>
          </a:p>
          <a:p>
            <a:pPr marL="514299" marR="0" lvl="3" indent="-514299" algn="l" defTabSz="932649" rtl="0" eaLnBrk="1" fontAlgn="auto" latinLnBrk="0" hangingPunct="1">
              <a:lnSpc>
                <a:spcPct val="90000"/>
              </a:lnSpc>
              <a:spcBef>
                <a:spcPts val="1224"/>
              </a:spcBef>
              <a:spcAft>
                <a:spcPts val="0"/>
              </a:spcAft>
              <a:buClr>
                <a:schemeClr val="tx1"/>
              </a:buClr>
              <a:buSzPct val="90000"/>
              <a:tabLst/>
            </a:pPr>
            <a:r>
              <a:rPr lang="en-US"/>
              <a:t>Fourth level</a:t>
            </a:r>
          </a:p>
          <a:p>
            <a:pPr marL="514299" marR="0" lvl="4" indent="-514299" algn="l" defTabSz="932649"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47946"/>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4" y="1211287"/>
            <a:ext cx="5485699" cy="2157514"/>
          </a:xfrm>
        </p:spPr>
        <p:txBody>
          <a:bodyPr wrap="square">
            <a:spAutoFit/>
          </a:bodyPr>
          <a:lstStyle>
            <a:lvl1pPr marL="231752" indent="-231752">
              <a:spcBef>
                <a:spcPts val="1224"/>
              </a:spcBef>
              <a:buClr>
                <a:schemeClr val="tx1"/>
              </a:buClr>
              <a:buFont typeface="Wingdings" panose="05000000000000000000" pitchFamily="2" charset="2"/>
              <a:buChar char=""/>
              <a:defRPr sz="3000" b="0">
                <a:solidFill>
                  <a:schemeClr val="tx1"/>
                </a:solidFill>
                <a:latin typeface="+mn-lt"/>
              </a:defRPr>
            </a:lvl1pPr>
            <a:lvl2pPr marL="426995" indent="-171433">
              <a:buFont typeface="Wingdings" panose="05000000000000000000" pitchFamily="2" charset="2"/>
              <a:buChar char=""/>
              <a:defRPr sz="2400" b="0">
                <a:solidFill>
                  <a:schemeClr val="tx1"/>
                </a:solidFill>
              </a:defRPr>
            </a:lvl2pPr>
            <a:lvl3pPr marL="639699" indent="-188894">
              <a:buFont typeface="Wingdings" panose="05000000000000000000" pitchFamily="2" charset="2"/>
              <a:buChar char=""/>
              <a:tabLst/>
              <a:defRPr sz="2200" b="0">
                <a:solidFill>
                  <a:schemeClr val="tx1"/>
                </a:solidFill>
              </a:defRPr>
            </a:lvl3pPr>
            <a:lvl4pPr marL="828592" indent="-176195">
              <a:buFont typeface="Wingdings" panose="05000000000000000000" pitchFamily="2" charset="2"/>
              <a:buChar char=""/>
              <a:defRPr sz="2200" b="0">
                <a:solidFill>
                  <a:schemeClr val="tx1"/>
                </a:solidFill>
              </a:defRPr>
            </a:lvl4pPr>
            <a:lvl5pPr marL="1023836" indent="-169846">
              <a:buFont typeface="Wingdings" panose="05000000000000000000" pitchFamily="2" charset="2"/>
              <a:buChar char=""/>
              <a:tabLst/>
              <a:defRPr sz="2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1288"/>
            <a:ext cx="5485699" cy="2462213"/>
          </a:xfrm>
        </p:spPr>
        <p:txBody>
          <a:bodyPr wrap="square">
            <a:spAutoFit/>
          </a:bodyPr>
          <a:lstStyle>
            <a:lvl1pPr marL="287309" indent="-287309">
              <a:spcBef>
                <a:spcPts val="1224"/>
              </a:spcBef>
              <a:buClr>
                <a:schemeClr val="tx1"/>
              </a:buClr>
              <a:buFont typeface="Arial" pitchFamily="34" charset="0"/>
              <a:buChar char="•"/>
              <a:defRPr lang="en-US" sz="3000" b="0" kern="1200" spc="0" baseline="0" dirty="0">
                <a:solidFill>
                  <a:schemeClr val="tx1"/>
                </a:solidFill>
                <a:latin typeface="+mn-lt"/>
                <a:ea typeface="+mn-ea"/>
                <a:cs typeface="+mn-cs"/>
              </a:defRPr>
            </a:lvl1pPr>
            <a:lvl2pPr marL="598428" indent="-342866">
              <a:defRPr lang="en-US" sz="2400" b="0" kern="1200" spc="0" baseline="0" dirty="0">
                <a:solidFill>
                  <a:schemeClr val="tx1"/>
                </a:solidFill>
                <a:latin typeface="+mn-lt"/>
                <a:ea typeface="+mn-ea"/>
                <a:cs typeface="+mn-cs"/>
              </a:defRPr>
            </a:lvl2pPr>
            <a:lvl3pPr marL="793671" indent="-342866">
              <a:tabLst/>
              <a:defRPr lang="en-US" sz="2200" b="0" kern="1200" spc="0" baseline="0" dirty="0">
                <a:solidFill>
                  <a:schemeClr val="tx1"/>
                </a:solidFill>
                <a:latin typeface="+mn-lt"/>
                <a:ea typeface="+mn-ea"/>
                <a:cs typeface="+mn-cs"/>
              </a:defRPr>
            </a:lvl3pPr>
            <a:lvl4pPr marL="995262" indent="-342866">
              <a:defRPr lang="en-US" sz="2200" b="0" kern="1200" spc="0" baseline="0" dirty="0">
                <a:solidFill>
                  <a:schemeClr val="tx1"/>
                </a:solidFill>
                <a:latin typeface="+mn-lt"/>
                <a:ea typeface="+mn-ea"/>
                <a:cs typeface="+mn-cs"/>
              </a:defRPr>
            </a:lvl4pPr>
            <a:lvl5pPr marL="1196855" indent="-342866">
              <a:tabLst/>
              <a:defRPr lang="en-US" sz="2200" b="0" kern="1200" spc="0" baseline="0" dirty="0">
                <a:solidFill>
                  <a:schemeClr val="tx1"/>
                </a:solidFill>
                <a:latin typeface="+mn-lt"/>
                <a:ea typeface="+mn-ea"/>
                <a:cs typeface="+mn-cs"/>
              </a:defRPr>
            </a:lvl5pPr>
          </a:lstStyle>
          <a:p>
            <a:pPr marL="231752" marR="0" lvl="0"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2" marR="0" lvl="1"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2" marR="0" lvl="2"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2" marR="0" lvl="3"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2" marR="0" lvl="4" indent="-231752" algn="l" defTabSz="932649"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8695540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64021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89633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802030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199" spc="-100"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24563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199" b="0" kern="1200" cap="none" spc="-100"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62828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45230272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solidFill>
                  <a:schemeClr val="tx1"/>
                </a:solidFill>
              </a:defRPr>
            </a:lvl1pPr>
          </a:lstStyle>
          <a:p>
            <a:r>
              <a:rPr lang="en-US"/>
              <a:t>Section title</a:t>
            </a:r>
          </a:p>
        </p:txBody>
      </p:sp>
    </p:spTree>
    <p:extLst>
      <p:ext uri="{BB962C8B-B14F-4D97-AF65-F5344CB8AC3E}">
        <p14:creationId xmlns:p14="http://schemas.microsoft.com/office/powerpoint/2010/main" val="3035769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3"/>
            <a:ext cx="4891416" cy="1514261"/>
          </a:xfrm>
        </p:spPr>
        <p:txBody>
          <a:bodyPr wrap="square" anchor="ctr">
            <a:spAutoFit/>
          </a:bodyPr>
          <a:lstStyle>
            <a:lvl1pPr>
              <a:defRPr sz="4800"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440621" y="1"/>
            <a:ext cx="6994267"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22554292"/>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7405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27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74603" y="1221157"/>
            <a:ext cx="11885682" cy="2266774"/>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18" indent="0">
              <a:buNone/>
              <a:defRPr>
                <a:solidFill>
                  <a:schemeClr val="tx1"/>
                </a:solidFill>
                <a:latin typeface="Consolas" panose="020B0609020204030204" pitchFamily="49" charset="0"/>
                <a:cs typeface="Consolas" panose="020B0609020204030204" pitchFamily="49" charset="0"/>
              </a:defRPr>
            </a:lvl2pPr>
            <a:lvl3pPr marL="584549" indent="0">
              <a:buNone/>
              <a:defRPr>
                <a:solidFill>
                  <a:schemeClr val="tx1"/>
                </a:solidFill>
                <a:latin typeface="Consolas" panose="020B0609020204030204" pitchFamily="49" charset="0"/>
                <a:cs typeface="Consolas" panose="020B0609020204030204" pitchFamily="49" charset="0"/>
              </a:defRPr>
            </a:lvl3pPr>
            <a:lvl4pPr marL="814482" indent="0">
              <a:buNone/>
              <a:defRPr>
                <a:solidFill>
                  <a:schemeClr val="tx1"/>
                </a:solidFill>
                <a:latin typeface="Consolas" panose="020B0609020204030204" pitchFamily="49" charset="0"/>
                <a:cs typeface="Consolas" panose="020B0609020204030204" pitchFamily="49" charset="0"/>
              </a:defRPr>
            </a:lvl4pPr>
            <a:lvl5pPr marL="10508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7696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57" tIns="182857" rIns="182857" bIns="182857" numCol="1" anchor="t"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142" y="479425"/>
            <a:ext cx="1483229" cy="310896"/>
          </a:xfrm>
          <a:prstGeom prst="rect">
            <a:avLst/>
          </a:prstGeom>
        </p:spPr>
      </p:pic>
    </p:spTree>
    <p:extLst>
      <p:ext uri="{BB962C8B-B14F-4D97-AF65-F5344CB8AC3E}">
        <p14:creationId xmlns:p14="http://schemas.microsoft.com/office/powerpoint/2010/main" val="311844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solidFill>
                  <a:schemeClr val="tx1"/>
                </a:soli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solidFill>
                  <a:schemeClr val="tx1"/>
                </a:soli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solidFill>
                  <a:schemeClr val="tx1"/>
                </a:soli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25403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262430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673843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74638" y="1230227"/>
            <a:ext cx="9220200" cy="627864"/>
          </a:xfrm>
        </p:spPr>
        <p:txBody>
          <a:bodyPr anchor="ctr"/>
          <a:lstStyle>
            <a:lvl1pPr marL="0" indent="0">
              <a:buNone/>
              <a:defRPr lang="en-US" sz="3199" b="0" kern="1200" cap="none" spc="-102" baseline="0" dirty="0" smtClean="0">
                <a:ln w="3175">
                  <a:noFill/>
                </a:ln>
                <a:solidFill>
                  <a:schemeClr val="tx2"/>
                </a:solidFill>
                <a:effectLst/>
                <a:latin typeface="+mj-lt"/>
                <a:ea typeface="+mn-ea"/>
                <a:cs typeface="Segoe UI" pitchFamily="34" charset="0"/>
              </a:defRPr>
            </a:lvl1pPr>
            <a:lvl2pPr>
              <a:defRPr lang="en-US" sz="3199" b="0" kern="1200" cap="none" spc="-102" baseline="0" dirty="0" smtClean="0">
                <a:ln w="3175">
                  <a:noFill/>
                </a:ln>
                <a:solidFill>
                  <a:schemeClr val="tx2"/>
                </a:solidFill>
                <a:effectLst/>
                <a:latin typeface="+mj-lt"/>
                <a:ea typeface="+mn-ea"/>
                <a:cs typeface="Segoe UI" pitchFamily="34" charset="0"/>
              </a:defRPr>
            </a:lvl2pPr>
            <a:lvl3pPr>
              <a:defRPr lang="en-US" sz="3199" b="0" kern="1200" cap="none" spc="-102" baseline="0" dirty="0" smtClean="0">
                <a:ln w="3175">
                  <a:noFill/>
                </a:ln>
                <a:solidFill>
                  <a:schemeClr val="tx2"/>
                </a:solidFill>
                <a:effectLst/>
                <a:latin typeface="+mj-lt"/>
                <a:ea typeface="+mn-ea"/>
                <a:cs typeface="Segoe UI" pitchFamily="34" charset="0"/>
              </a:defRPr>
            </a:lvl3pPr>
            <a:lvl4pPr>
              <a:defRPr lang="en-US" sz="3199" b="0" kern="1200" cap="none" spc="-102" baseline="0" dirty="0" smtClean="0">
                <a:ln w="3175">
                  <a:noFill/>
                </a:ln>
                <a:solidFill>
                  <a:schemeClr val="tx2"/>
                </a:solidFill>
                <a:effectLst/>
                <a:latin typeface="+mj-lt"/>
                <a:ea typeface="+mn-ea"/>
                <a:cs typeface="Segoe UI" pitchFamily="34" charset="0"/>
              </a:defRPr>
            </a:lvl4pPr>
            <a:lvl5pPr>
              <a:defRPr lang="en-US" sz="3199" b="0" kern="1200" cap="none" spc="-102"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2617136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1209-AA88-426A-B2A6-18922B450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24D2E4-7C20-4F08-9430-65136A52D7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85F09-9ABB-4B2D-A6A4-B78BE97F95A0}"/>
              </a:ext>
            </a:extLst>
          </p:cNvPr>
          <p:cNvSpPr>
            <a:spLocks noGrp="1"/>
          </p:cNvSpPr>
          <p:nvPr>
            <p:ph type="dt" sz="half" idx="10"/>
          </p:nvPr>
        </p:nvSpPr>
        <p:spPr/>
        <p:txBody>
          <a:bodyPr/>
          <a:lstStyle/>
          <a:p>
            <a:fld id="{08196F66-244E-4CB9-9EE4-5B2DF787687C}" type="datetimeFigureOut">
              <a:rPr lang="en-US" smtClean="0"/>
              <a:t>3/3/2023</a:t>
            </a:fld>
            <a:endParaRPr lang="en-US"/>
          </a:p>
        </p:txBody>
      </p:sp>
      <p:sp>
        <p:nvSpPr>
          <p:cNvPr id="5" name="Footer Placeholder 4">
            <a:extLst>
              <a:ext uri="{FF2B5EF4-FFF2-40B4-BE49-F238E27FC236}">
                <a16:creationId xmlns:a16="http://schemas.microsoft.com/office/drawing/2014/main" id="{D7E3513F-22B9-48B2-BDC4-19B1CC8BF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B3347-3DDC-4978-A887-2981A2CF8800}"/>
              </a:ext>
            </a:extLst>
          </p:cNvPr>
          <p:cNvSpPr>
            <a:spLocks noGrp="1"/>
          </p:cNvSpPr>
          <p:nvPr>
            <p:ph type="sldNum" sz="quarter" idx="12"/>
          </p:nvPr>
        </p:nvSpPr>
        <p:spPr/>
        <p:txBody>
          <a:bodyPr/>
          <a:lstStyle/>
          <a:p>
            <a:fld id="{C8C0A4B9-D21A-4ABC-A932-CD3A18E133BD}" type="slidenum">
              <a:rPr lang="en-US" smtClean="0"/>
              <a:t>‹#›</a:t>
            </a:fld>
            <a:endParaRPr lang="en-US"/>
          </a:p>
        </p:txBody>
      </p:sp>
    </p:spTree>
    <p:extLst>
      <p:ext uri="{BB962C8B-B14F-4D97-AF65-F5344CB8AC3E}">
        <p14:creationId xmlns:p14="http://schemas.microsoft.com/office/powerpoint/2010/main" val="98970298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240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descr="Empower event illustration dark">
            <a:extLst>
              <a:ext uri="{FF2B5EF4-FFF2-40B4-BE49-F238E27FC236}">
                <a16:creationId xmlns:a16="http://schemas.microsoft.com/office/drawing/2014/main" id="{04CFBF15-3BE4-4E4D-9FB3-40E1CB24B563}"/>
              </a:ext>
            </a:extLst>
          </p:cNvPr>
          <p:cNvPicPr>
            <a:picLocks noChangeAspect="1"/>
          </p:cNvPicPr>
          <p:nvPr userDrawn="1"/>
        </p:nvPicPr>
        <p:blipFill>
          <a:blip r:embed="rId2"/>
          <a:stretch>
            <a:fillRect/>
          </a:stretch>
        </p:blipFill>
        <p:spPr bwMode="auto">
          <a:xfrm>
            <a:off x="0" y="1"/>
            <a:ext cx="12434888" cy="6994524"/>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white">
          <a:xfrm>
            <a:off x="595840" y="597451"/>
            <a:ext cx="1393463" cy="298433"/>
          </a:xfrm>
          <a:prstGeom prst="rect">
            <a:avLst/>
          </a:prstGeom>
        </p:spPr>
      </p:pic>
      <p:pic>
        <p:nvPicPr>
          <p:cNvPr id="6" name="Picture 5" descr="Microsoft Business Applications Summit Logo, white stacked version">
            <a:extLst>
              <a:ext uri="{FF2B5EF4-FFF2-40B4-BE49-F238E27FC236}">
                <a16:creationId xmlns:a16="http://schemas.microsoft.com/office/drawing/2014/main" id="{951D0228-52CC-4B90-9A6C-D8AD14EE00D8}"/>
              </a:ext>
            </a:extLst>
          </p:cNvPr>
          <p:cNvPicPr>
            <a:picLocks noChangeAspect="1"/>
          </p:cNvPicPr>
          <p:nvPr userDrawn="1"/>
        </p:nvPicPr>
        <p:blipFill>
          <a:blip r:embed="rId4"/>
          <a:stretch>
            <a:fillRect/>
          </a:stretch>
        </p:blipFill>
        <p:spPr>
          <a:xfrm>
            <a:off x="170625" y="1338798"/>
            <a:ext cx="6229879" cy="2131424"/>
          </a:xfrm>
          <a:prstGeom prst="rect">
            <a:avLst/>
          </a:prstGeom>
        </p:spPr>
      </p:pic>
    </p:spTree>
    <p:extLst>
      <p:ext uri="{BB962C8B-B14F-4D97-AF65-F5344CB8AC3E}">
        <p14:creationId xmlns:p14="http://schemas.microsoft.com/office/powerpoint/2010/main" val="108111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998062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7185885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665699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01381399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9405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45027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45523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2295389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15515087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46906276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87854424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89250375"/>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084440704"/>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977800796"/>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80198453"/>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2561304928"/>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12584248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69543548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62095001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39915846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56509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5"/>
            <a:ext cx="7399396"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7010"/>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20973926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45588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5972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2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7691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71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654890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14" indent="0">
              <a:buNone/>
              <a:defRPr sz="2448">
                <a:solidFill>
                  <a:schemeClr val="tx1"/>
                </a:solidFill>
                <a:latin typeface="Consolas" panose="020B0609020204030204" pitchFamily="49" charset="0"/>
                <a:cs typeface="Consolas" panose="020B0609020204030204" pitchFamily="49" charset="0"/>
              </a:defRPr>
            </a:lvl2pPr>
            <a:lvl3pPr marL="596181" indent="0">
              <a:buNone/>
              <a:defRPr sz="2040">
                <a:solidFill>
                  <a:schemeClr val="tx1"/>
                </a:solidFill>
                <a:latin typeface="Consolas" panose="020B0609020204030204" pitchFamily="49" charset="0"/>
                <a:cs typeface="Consolas" panose="020B0609020204030204" pitchFamily="49" charset="0"/>
              </a:defRPr>
            </a:lvl3pPr>
            <a:lvl4pPr marL="830690" indent="0">
              <a:buNone/>
              <a:defRPr sz="1836">
                <a:solidFill>
                  <a:schemeClr val="tx1"/>
                </a:solidFill>
                <a:latin typeface="Consolas" panose="020B0609020204030204" pitchFamily="49" charset="0"/>
                <a:cs typeface="Consolas" panose="020B0609020204030204" pitchFamily="49" charset="0"/>
              </a:defRPr>
            </a:lvl4pPr>
            <a:lvl5pPr marL="1071805"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147105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2E58060-2934-4397-A05C-A91635D3C6EB}"/>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2616505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solidFill>
                  <a:schemeClr val="tx1"/>
                </a:solidFill>
                <a:latin typeface="+mn-lt"/>
              </a:defRPr>
            </a:lvl1pPr>
            <a:lvl2pPr>
              <a:defRPr sz="2856">
                <a:solidFill>
                  <a:schemeClr val="tx1"/>
                </a:solidFill>
                <a:latin typeface="+mn-lt"/>
              </a:defRPr>
            </a:lvl2pPr>
            <a:lvl3pPr>
              <a:defRPr sz="2448">
                <a:solidFill>
                  <a:schemeClr val="tx1"/>
                </a:solidFill>
                <a:latin typeface="+mn-lt"/>
              </a:defRPr>
            </a:lvl3pPr>
            <a:lvl4pPr>
              <a:defRPr sz="2040">
                <a:solidFill>
                  <a:schemeClr val="tx1"/>
                </a:solidFill>
                <a:latin typeface="+mn-lt"/>
              </a:defRPr>
            </a:lvl4pPr>
            <a:lvl5pPr>
              <a:defRPr sz="1836">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75054164"/>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9CB22-EF0F-4F3E-887F-5787D0518E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3ECC8E-5D6F-4638-ACE5-D26E1E12AFA5}"/>
              </a:ext>
            </a:extLst>
          </p:cNvPr>
          <p:cNvSpPr>
            <a:spLocks noGrp="1"/>
          </p:cNvSpPr>
          <p:nvPr>
            <p:ph sz="half" idx="1"/>
          </p:nvPr>
        </p:nvSpPr>
        <p:spPr>
          <a:xfrm>
            <a:off x="855008"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EFD6E7-5D3C-4FF9-9331-3CFC0BA0D044}"/>
              </a:ext>
            </a:extLst>
          </p:cNvPr>
          <p:cNvSpPr>
            <a:spLocks noGrp="1"/>
          </p:cNvSpPr>
          <p:nvPr>
            <p:ph sz="half" idx="2"/>
          </p:nvPr>
        </p:nvSpPr>
        <p:spPr>
          <a:xfrm>
            <a:off x="6295965" y="1861968"/>
            <a:ext cx="5285502"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0AB64B-CF4D-41E6-94A3-55AE03037D2E}"/>
              </a:ext>
            </a:extLst>
          </p:cNvPr>
          <p:cNvSpPr>
            <a:spLocks noGrp="1"/>
          </p:cNvSpPr>
          <p:nvPr>
            <p:ph type="dt" sz="half" idx="10"/>
          </p:nvPr>
        </p:nvSpPr>
        <p:spPr/>
        <p:txBody>
          <a:bodyPr/>
          <a:lstStyle/>
          <a:p>
            <a:fld id="{873183E6-BE94-4C2A-B19F-9655DB4A94F6}" type="datetimeFigureOut">
              <a:rPr lang="en-US" smtClean="0"/>
              <a:t>3/3/2023</a:t>
            </a:fld>
            <a:endParaRPr lang="en-US"/>
          </a:p>
        </p:txBody>
      </p:sp>
      <p:sp>
        <p:nvSpPr>
          <p:cNvPr id="6" name="Footer Placeholder 5">
            <a:extLst>
              <a:ext uri="{FF2B5EF4-FFF2-40B4-BE49-F238E27FC236}">
                <a16:creationId xmlns:a16="http://schemas.microsoft.com/office/drawing/2014/main" id="{3E605446-F1A5-4CE7-A5C7-BC0724B9F7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D3722-2905-4780-9522-D032CE250545}"/>
              </a:ext>
            </a:extLst>
          </p:cNvPr>
          <p:cNvSpPr>
            <a:spLocks noGrp="1"/>
          </p:cNvSpPr>
          <p:nvPr>
            <p:ph type="sldNum" sz="quarter" idx="12"/>
          </p:nvPr>
        </p:nvSpPr>
        <p:spPr/>
        <p:txBody>
          <a:bodyPr/>
          <a:lstStyle/>
          <a:p>
            <a:fld id="{146DF749-0D45-4262-9ADF-4D2C9FED14F0}" type="slidenum">
              <a:rPr lang="en-US" smtClean="0"/>
              <a:t>‹#›</a:t>
            </a:fld>
            <a:endParaRPr lang="en-US"/>
          </a:p>
        </p:txBody>
      </p:sp>
    </p:spTree>
    <p:extLst>
      <p:ext uri="{BB962C8B-B14F-4D97-AF65-F5344CB8AC3E}">
        <p14:creationId xmlns:p14="http://schemas.microsoft.com/office/powerpoint/2010/main" val="255082565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48142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502246"/>
          </a:xfrm>
        </p:spPr>
        <p:txBody>
          <a:bodyPr wrap="square" lIns="0" tIns="0" rIns="0" bIns="0">
            <a:spAutoFit/>
          </a:bodyPr>
          <a:lstStyle>
            <a:lvl1pPr>
              <a:lnSpc>
                <a:spcPct val="100000"/>
              </a:lnSpc>
              <a:defRPr sz="3264"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826707217"/>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35555063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251935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22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95840" y="597451"/>
            <a:ext cx="1393463" cy="298433"/>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611383" y="2971426"/>
            <a:ext cx="2844504" cy="1436209"/>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8860" y="1"/>
            <a:ext cx="6846029" cy="6994525"/>
          </a:xfrm>
          <a:prstGeom prst="rect">
            <a:avLst/>
          </a:prstGeom>
        </p:spPr>
      </p:pic>
    </p:spTree>
    <p:extLst>
      <p:ext uri="{BB962C8B-B14F-4D97-AF65-F5344CB8AC3E}">
        <p14:creationId xmlns:p14="http://schemas.microsoft.com/office/powerpoint/2010/main" val="4103917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149955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4432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69"/>
            <a:ext cx="1123835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20397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90143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2"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69"/>
            <a:ext cx="5323687"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99165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mn-lt"/>
                <a:cs typeface="Segoe UI" panose="020B0502040204020203" pitchFamily="34" charset="0"/>
              </a:defRPr>
            </a:lvl1pPr>
            <a:lvl2pPr marL="260648" indent="0">
              <a:buFont typeface="Wingdings" panose="05000000000000000000" pitchFamily="2" charset="2"/>
              <a:buNone/>
              <a:defRPr sz="2040" b="0">
                <a:latin typeface="+mn-lt"/>
              </a:defRPr>
            </a:lvl2pPr>
            <a:lvl3pPr marL="459776" indent="0">
              <a:buFont typeface="Wingdings" panose="05000000000000000000" pitchFamily="2" charset="2"/>
              <a:buNone/>
              <a:tabLst/>
              <a:defRPr sz="1632" b="0">
                <a:latin typeface="+mn-lt"/>
              </a:defRPr>
            </a:lvl3pPr>
            <a:lvl4pPr marL="665379" indent="0">
              <a:buFont typeface="Wingdings" panose="05000000000000000000" pitchFamily="2" charset="2"/>
              <a:buNone/>
              <a:defRPr sz="1428" b="0">
                <a:latin typeface="+mn-lt"/>
              </a:defRPr>
            </a:lvl4pPr>
            <a:lvl5pPr marL="870984" indent="0">
              <a:buFont typeface="Wingdings" panose="05000000000000000000" pitchFamily="2" charset="2"/>
              <a:buNone/>
              <a:tabLst/>
              <a:defRPr sz="1428"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53489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822784"/>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43418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46659093"/>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3000" userDrawn="1">
          <p15:clr>
            <a:srgbClr val="5ACBF0"/>
          </p15:clr>
        </p15:guide>
        <p15:guide id="12" pos="3543" userDrawn="1">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0473061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80"/>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7" y="5269662"/>
            <a:ext cx="1429273" cy="1434546"/>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6032378" y="575119"/>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43435766"/>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8272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4"/>
            <a:ext cx="6397749"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216964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16075866"/>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1150850"/>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5"/>
            <a:ext cx="5474459"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119967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7"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2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7"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7"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34955558"/>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313932"/>
          </a:xfrm>
        </p:spPr>
        <p:txBody>
          <a:bodyPr/>
          <a:lstStyle>
            <a:lvl1pPr marL="0" indent="0" algn="ctr">
              <a:spcBef>
                <a:spcPts val="0"/>
              </a:spcBef>
              <a:buNone/>
              <a:defRPr sz="204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8"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313932"/>
          </a:xfrm>
        </p:spPr>
        <p:txBody>
          <a:bodyPr/>
          <a:lstStyle>
            <a:lvl1pPr marL="0" indent="0" algn="ctr">
              <a:spcBef>
                <a:spcPts val="0"/>
              </a:spcBef>
              <a:buNone/>
              <a:defRPr sz="204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313932"/>
          </a:xfrm>
        </p:spPr>
        <p:txBody>
          <a:bodyPr/>
          <a:lstStyle>
            <a:lvl1pPr marL="0" indent="0" algn="ctr">
              <a:spcBef>
                <a:spcPts val="0"/>
              </a:spcBef>
              <a:buNone/>
              <a:defRPr sz="204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313932"/>
          </a:xfrm>
        </p:spPr>
        <p:txBody>
          <a:bodyPr/>
          <a:lstStyle>
            <a:lvl1pPr marL="0" indent="0" algn="ctr">
              <a:spcBef>
                <a:spcPts val="0"/>
              </a:spcBef>
              <a:buNone/>
              <a:defRPr sz="204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2" y="2065977"/>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174087"/>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3"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8" y="1465289"/>
            <a:ext cx="7397788"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89364887"/>
      </p:ext>
    </p:extLst>
  </p:cSld>
  <p:clrMapOvr>
    <a:masterClrMapping/>
  </p:clrMapOvr>
  <p:transition>
    <p:fade/>
  </p:transition>
  <p:extLst>
    <p:ext uri="{DCECCB84-F9BA-43D5-87BE-67443E8EF086}">
      <p15:sldGuideLst xmlns:p15="http://schemas.microsoft.com/office/powerpoint/2012/main">
        <p15:guide id="20" pos="4935" userDrawn="1">
          <p15:clr>
            <a:srgbClr val="5ACBF0"/>
          </p15:clr>
        </p15:guide>
        <p15:guide id="21" pos="5110" userDrawn="1">
          <p15:clr>
            <a:srgbClr val="5ACBF0"/>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8" y="2351745"/>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26"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23356"/>
      </p:ext>
    </p:extLst>
  </p:cSld>
  <p:clrMapOvr>
    <a:masterClrMapping/>
  </p:clrMapOvr>
  <p:transition>
    <p:fade/>
  </p:transition>
  <p:extLst>
    <p:ext uri="{DCECCB84-F9BA-43D5-87BE-67443E8EF086}">
      <p15:sldGuideLst xmlns:p15="http://schemas.microsoft.com/office/powerpoint/2012/main">
        <p15:guide id="12" pos="2561" userDrawn="1">
          <p15:clr>
            <a:srgbClr val="5ACBF0"/>
          </p15:clr>
        </p15:guide>
        <p15:guide id="13" pos="2744" userDrawn="1">
          <p15:clr>
            <a:srgbClr val="5ACBF0"/>
          </p15:clr>
        </p15:guide>
        <p15:guide id="28" orient="horz" pos="905" userDrawn="1">
          <p15:clr>
            <a:srgbClr val="5ACBF0"/>
          </p15:clr>
        </p15:guide>
        <p15:guide id="29" orient="horz" pos="1271" userDrawn="1">
          <p15:clr>
            <a:srgbClr val="5ACBF0"/>
          </p15:clr>
        </p15:guide>
        <p15:guide id="32" orient="horz" pos="1728" userDrawn="1">
          <p15:clr>
            <a:srgbClr val="FBAE40"/>
          </p15:clr>
        </p15:guide>
        <p15:guide id="33" pos="2928" userDrawn="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1475316205"/>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1"/>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l" defTabSz="95093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2" y="3213099"/>
            <a:ext cx="3247062" cy="565091"/>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5"/>
            <a:ext cx="6802531" cy="439479"/>
          </a:xfrm>
        </p:spPr>
        <p:txBody>
          <a:bodyPr anchor="ctr" anchorCtr="0"/>
          <a:lstStyle>
            <a:lvl1pPr marL="0" indent="0">
              <a:spcAft>
                <a:spcPts val="1224"/>
              </a:spcAft>
              <a:buNone/>
              <a:defRPr sz="2856"/>
            </a:lvl1pPr>
            <a:lvl2pPr marL="233126" indent="0">
              <a:buNone/>
              <a:defRPr/>
            </a:lvl2pPr>
          </a:lstStyle>
          <a:p>
            <a:pPr lvl="0"/>
            <a:r>
              <a:rPr lang="en-US"/>
              <a:t>Edit Master text styles</a:t>
            </a:r>
          </a:p>
        </p:txBody>
      </p:sp>
    </p:spTree>
    <p:extLst>
      <p:ext uri="{BB962C8B-B14F-4D97-AF65-F5344CB8AC3E}">
        <p14:creationId xmlns:p14="http://schemas.microsoft.com/office/powerpoint/2010/main" val="70121348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14" pos="3110" userDrawn="1">
          <p15:clr>
            <a:srgbClr val="5ACBF0"/>
          </p15:clr>
        </p15:guide>
        <p15:guide id="29" orient="horz" pos="2160" userDrawn="1">
          <p15:clr>
            <a:srgbClr val="FDE53C"/>
          </p15:clr>
        </p15:guide>
        <p15:guide id="30" pos="2376"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70821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45519562"/>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FDE53C"/>
          </p15:clr>
        </p15:guide>
        <p15:guide id="30" pos="2376" userDrawn="1">
          <p15:clr>
            <a:srgbClr val="5ACBF0"/>
          </p15:clr>
        </p15:guide>
        <p15:guide id="31" pos="3113" userDrawn="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4476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122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72052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13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762107"/>
      </p:ext>
    </p:extLst>
  </p:cSld>
  <p:clrMapOvr>
    <a:masterClrMapping/>
  </p:clrMapOvr>
  <p:transition>
    <p:fade/>
  </p:transition>
  <p:extLst>
    <p:ext uri="{DCECCB84-F9BA-43D5-87BE-67443E8EF086}">
      <p15:sldGuideLst xmlns:p15="http://schemas.microsoft.com/office/powerpoint/2012/main">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593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20908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74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62250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1639933"/>
      </p:ext>
    </p:extLst>
  </p:cSld>
  <p:clrMapOvr>
    <a:masterClrMapping/>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749250"/>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334949"/>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guide id="4" orient="horz" pos="768" userDrawn="1">
          <p15:clr>
            <a:srgbClr val="FBAE40"/>
          </p15:clr>
        </p15:guide>
        <p15:guide id="5" orient="horz" pos="3552" userDrawn="1">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19" y="1203327"/>
            <a:ext cx="11565684" cy="249299"/>
          </a:xfrm>
        </p:spPr>
        <p:txBody>
          <a:bodyPr wrap="square" lIns="0" tIns="0" rIns="0" bIns="0">
            <a:spAutoFit/>
          </a:bodyPr>
          <a:lstStyle>
            <a:lvl1pPr marL="0" indent="0">
              <a:lnSpc>
                <a:spcPct val="90000"/>
              </a:lnSpc>
              <a:spcBef>
                <a:spcPts val="0"/>
              </a:spcBef>
              <a:spcAft>
                <a:spcPts val="1299"/>
              </a:spcAft>
              <a:buClr>
                <a:schemeClr val="tx1"/>
              </a:buClr>
              <a:buFont typeface="Arial" panose="020B0604020202020204" pitchFamily="34" charset="0"/>
              <a:buNone/>
              <a:defRPr sz="1800" b="0" i="0">
                <a:solidFill>
                  <a:schemeClr val="tx1"/>
                </a:solidFill>
                <a:latin typeface="+mn-lt"/>
              </a:defRPr>
            </a:lvl1pPr>
            <a:lvl2pPr marL="571333" indent="-342800">
              <a:lnSpc>
                <a:spcPct val="90000"/>
              </a:lnSpc>
              <a:spcBef>
                <a:spcPts val="0"/>
              </a:spcBef>
              <a:spcAft>
                <a:spcPts val="1299"/>
              </a:spcAft>
              <a:buClr>
                <a:schemeClr val="tx1"/>
              </a:buClr>
              <a:buFont typeface="Arial" panose="020B0604020202020204" pitchFamily="34" charset="0"/>
              <a:buChar char="•"/>
              <a:defRPr sz="2000">
                <a:solidFill>
                  <a:schemeClr val="tx1"/>
                </a:solidFill>
              </a:defRPr>
            </a:lvl2pPr>
            <a:lvl3pPr marL="799866" indent="-342800">
              <a:spcBef>
                <a:spcPts val="0"/>
              </a:spcBef>
              <a:spcAft>
                <a:spcPts val="1299"/>
              </a:spcAft>
              <a:buClr>
                <a:schemeClr val="tx1"/>
              </a:buClr>
              <a:buFont typeface="Arial" panose="020B0604020202020204" pitchFamily="34" charset="0"/>
              <a:buChar char="•"/>
              <a:defRPr sz="2000">
                <a:solidFill>
                  <a:schemeClr val="tx1"/>
                </a:solidFill>
              </a:defRPr>
            </a:lvl3pPr>
            <a:lvl4pPr marL="685600" indent="0">
              <a:spcBef>
                <a:spcPts val="0"/>
              </a:spcBef>
              <a:spcAft>
                <a:spcPts val="1299"/>
              </a:spcAft>
              <a:buNone/>
              <a:defRPr sz="2000"/>
            </a:lvl4pPr>
            <a:lvl5pPr marL="914133" indent="0">
              <a:buNone/>
              <a:defRPr/>
            </a:lvl5pPr>
          </a:lstStyle>
          <a:p>
            <a:pPr lvl="0"/>
            <a:r>
              <a:rPr lang="en-US"/>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20" y="449266"/>
            <a:ext cx="11561874" cy="754061"/>
          </a:xfrm>
          <a:prstGeom prst="rect">
            <a:avLst/>
          </a:prstGeom>
        </p:spPr>
        <p:txBody>
          <a:bodyPr vert="horz" wrap="square" lIns="0" tIns="164592" rIns="0" bIns="0" rtlCol="0" anchor="t">
            <a:noAutofit/>
          </a:bodyPr>
          <a:lstStyle>
            <a:lvl1pPr>
              <a:defRPr>
                <a:solidFill>
                  <a:schemeClr val="tx1"/>
                </a:solidFill>
              </a:defRPr>
            </a:lvl1pPr>
          </a:lstStyle>
          <a:p>
            <a:r>
              <a:rPr lang="en-US"/>
              <a:t>Contents</a:t>
            </a:r>
          </a:p>
        </p:txBody>
      </p:sp>
    </p:spTree>
    <p:extLst>
      <p:ext uri="{BB962C8B-B14F-4D97-AF65-F5344CB8AC3E}">
        <p14:creationId xmlns:p14="http://schemas.microsoft.com/office/powerpoint/2010/main" val="1157081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5"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3" y="4005415"/>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43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218038"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11266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5"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4" y="479429"/>
            <a:ext cx="1681413" cy="360979"/>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extLst>
              <a:ext uri="{28A0092B-C50C-407E-A947-70E740481C1C}">
                <a14:useLocalDpi xmlns:a14="http://schemas.microsoft.com/office/drawing/2010/main"/>
              </a:ext>
            </a:extLst>
          </a:blip>
          <a:stretch>
            <a:fillRect/>
          </a:stretch>
        </p:blipFill>
        <p:spPr>
          <a:xfrm>
            <a:off x="6242156" y="2014678"/>
            <a:ext cx="6194321" cy="4979850"/>
          </a:xfrm>
          <a:prstGeom prst="rect">
            <a:avLst/>
          </a:prstGeom>
        </p:spPr>
      </p:pic>
    </p:spTree>
    <p:extLst>
      <p:ext uri="{BB962C8B-B14F-4D97-AF65-F5344CB8AC3E}">
        <p14:creationId xmlns:p14="http://schemas.microsoft.com/office/powerpoint/2010/main" val="1384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4" tIns="149156" rIns="186444" bIns="149156" numCol="1" spcCol="0" rtlCol="0" fromWordArt="0" anchor="t" anchorCtr="0" forceAA="0" compatLnSpc="1">
            <a:prstTxWarp prst="textNoShape">
              <a:avLst/>
            </a:prstTxWarp>
            <a:noAutofit/>
          </a:bodyPr>
          <a:lstStyle/>
          <a:p>
            <a:pPr algn="ctr" defTabSz="95056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8" y="4931538"/>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6" y="479430"/>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56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27524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7"/>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4" y="479429"/>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434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5"/>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4"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6" y="479430"/>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7577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009" y="0"/>
            <a:ext cx="12469487" cy="6994525"/>
          </a:xfrm>
          <a:prstGeom prst="rect">
            <a:avLst/>
          </a:prstGeom>
        </p:spPr>
      </p:pic>
      <p:sp>
        <p:nvSpPr>
          <p:cNvPr id="5" name="Text Placeholder 4"/>
          <p:cNvSpPr>
            <a:spLocks noGrp="1"/>
          </p:cNvSpPr>
          <p:nvPr>
            <p:ph type="body" sz="quarter" idx="12" hasCustomPrompt="1"/>
          </p:nvPr>
        </p:nvSpPr>
        <p:spPr>
          <a:xfrm>
            <a:off x="276543" y="4931537"/>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7"/>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4" y="479429"/>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9794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7" y="1212854"/>
            <a:ext cx="11885683" cy="2025170"/>
          </a:xfrm>
        </p:spPr>
        <p:txBody>
          <a:bodyPr/>
          <a:lstStyle>
            <a:lvl1pPr marL="0" indent="0">
              <a:buNone/>
              <a:defRPr>
                <a:gradFill>
                  <a:gsLst>
                    <a:gs pos="1250">
                      <a:schemeClr val="tx2"/>
                    </a:gs>
                    <a:gs pos="99000">
                      <a:schemeClr val="tx2"/>
                    </a:gs>
                  </a:gsLst>
                  <a:lin ang="5400000" scaled="0"/>
                </a:gradFill>
              </a:defRPr>
            </a:lvl1pPr>
            <a:lvl2pPr marL="349554" indent="-349554">
              <a:buFont typeface="Arial" panose="020B0604020202020204" pitchFamily="34" charset="0"/>
              <a:buChar char="•"/>
              <a:defRPr sz="2000"/>
            </a:lvl2pPr>
            <a:lvl3pPr marL="228402" indent="0">
              <a:buNone/>
              <a:defRPr/>
            </a:lvl3pPr>
            <a:lvl4pPr marL="456803" indent="0">
              <a:buNone/>
              <a:defRPr/>
            </a:lvl4pPr>
            <a:lvl5pPr marL="68520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68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4351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12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65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5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gradFill>
                  <a:gsLst>
                    <a:gs pos="1250">
                      <a:schemeClr val="tx2"/>
                    </a:gs>
                    <a:gs pos="99000">
                      <a:schemeClr val="tx2"/>
                    </a:gs>
                  </a:gsLst>
                  <a:lin ang="5400000" scaled="0"/>
                </a:gradFill>
              </a:defRPr>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99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2"/>
            <a:ext cx="5485699" cy="1973212"/>
          </a:xfrm>
        </p:spPr>
        <p:txBody>
          <a:bodyPr wrap="square">
            <a:spAutoFit/>
          </a:bodyPr>
          <a:lstStyle>
            <a:lvl1pPr marL="0" indent="0">
              <a:spcBef>
                <a:spcPts val="1224"/>
              </a:spcBef>
              <a:buClr>
                <a:schemeClr val="tx1"/>
              </a:buClr>
              <a:buFont typeface="Wingdings" pitchFamily="2" charset="2"/>
              <a:buNone/>
              <a:defRPr sz="3597"/>
            </a:lvl1pPr>
            <a:lvl2pPr marL="0" indent="0">
              <a:buNone/>
              <a:defRPr sz="2000"/>
            </a:lvl2pPr>
            <a:lvl3pPr marL="231619" indent="0">
              <a:buNone/>
              <a:tabLst/>
              <a:defRPr sz="2000"/>
            </a:lvl3pPr>
            <a:lvl4pPr marL="460064" indent="0">
              <a:buNone/>
              <a:defRPr/>
            </a:lvl4pPr>
            <a:lvl5pPr marL="68533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9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1933"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155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8"/>
            <a:ext cx="11888047" cy="595569"/>
          </a:xfrm>
        </p:spPr>
        <p:txBody>
          <a:bodyPr/>
          <a:lstStyle>
            <a:lvl1pPr algn="l" defTabSz="931933"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09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7"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562806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5"/>
            <a:ext cx="4689382" cy="1035882"/>
          </a:xfrm>
          <a:noFill/>
        </p:spPr>
        <p:txBody>
          <a:bodyPr wrap="square" tIns="91440" bIns="91440" anchor="ctr" anchorCtr="0">
            <a:spAutoFit/>
          </a:bodyPr>
          <a:lstStyle>
            <a:lvl1pPr>
              <a:defRPr sz="611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61567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625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4067492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787894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6" y="1212852"/>
            <a:ext cx="11885683" cy="2443746"/>
          </a:xfrm>
          <a:prstGeom prst="rect">
            <a:avLst/>
          </a:prstGeom>
        </p:spPr>
        <p:txBody>
          <a:bodyPr/>
          <a:lstStyle>
            <a:lvl1pPr marL="290316" indent="-290316">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115" indent="-280799">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431" indent="-2903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876" indent="-2284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320" indent="-2284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41951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08" y="2674315"/>
            <a:ext cx="11226954" cy="1737340"/>
          </a:xfrm>
        </p:spPr>
        <p:txBody>
          <a:bodyPr anchor="ctr"/>
          <a:lstStyle>
            <a:lvl1pPr>
              <a:defRPr sz="5995">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383" y="492480"/>
            <a:ext cx="1250285" cy="266701"/>
          </a:xfrm>
          <a:prstGeom prst="rect">
            <a:avLst/>
          </a:prstGeom>
        </p:spPr>
      </p:pic>
    </p:spTree>
    <p:extLst>
      <p:ext uri="{BB962C8B-B14F-4D97-AF65-F5344CB8AC3E}">
        <p14:creationId xmlns:p14="http://schemas.microsoft.com/office/powerpoint/2010/main" val="348961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4"/>
            <a:ext cx="3288506" cy="704445"/>
          </a:xfrm>
          <a:prstGeom prst="rect">
            <a:avLst/>
          </a:prstGeom>
        </p:spPr>
      </p:pic>
    </p:spTree>
    <p:extLst>
      <p:ext uri="{BB962C8B-B14F-4D97-AF65-F5344CB8AC3E}">
        <p14:creationId xmlns:p14="http://schemas.microsoft.com/office/powerpoint/2010/main" val="41235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19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7" y="3954467"/>
            <a:ext cx="10057117" cy="1829593"/>
          </a:xfrm>
          <a:noFill/>
        </p:spPr>
        <p:txBody>
          <a:bodyPr lIns="182880" tIns="146304" rIns="182880" bIns="146304">
            <a:noAutofit/>
          </a:bodyPr>
          <a:lstStyle>
            <a:lvl1pPr marL="0" indent="0">
              <a:spcBef>
                <a:spcPts val="0"/>
              </a:spcBef>
              <a:buNone/>
              <a:defRPr sz="359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208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153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Business Updat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0" y="2"/>
            <a:ext cx="11239464" cy="743644"/>
          </a:xfrm>
        </p:spPr>
        <p:txBody>
          <a:bodyPr lIns="365760" tIns="91440">
            <a:noAutofit/>
          </a:bodyPr>
          <a:lstStyle/>
          <a:p>
            <a:r>
              <a:rPr lang="en-US"/>
              <a:t>Click to edit Master title style</a:t>
            </a:r>
          </a:p>
        </p:txBody>
      </p:sp>
    </p:spTree>
    <p:extLst>
      <p:ext uri="{BB962C8B-B14F-4D97-AF65-F5344CB8AC3E}">
        <p14:creationId xmlns:p14="http://schemas.microsoft.com/office/powerpoint/2010/main" val="4950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7615" y="186524"/>
            <a:ext cx="6418986"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7137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76" userDrawn="1">
          <p15:clr>
            <a:srgbClr val="F26B43"/>
          </p15:clr>
        </p15:guide>
        <p15:guide id="2" orient="horz" pos="120" userDrawn="1">
          <p15:clr>
            <a:srgbClr val="F26B43"/>
          </p15:clr>
        </p15:guide>
        <p15:guide id="3" pos="2470" userDrawn="1">
          <p15:clr>
            <a:srgbClr val="F26B43"/>
          </p15:clr>
        </p15:guide>
        <p15:guide id="4" orient="horz" pos="2336" userDrawn="1">
          <p15:clr>
            <a:srgbClr val="F26B43"/>
          </p15:clr>
        </p15:guide>
        <p15:guide id="5" pos="4798" userDrawn="1">
          <p15:clr>
            <a:srgbClr val="F26B43"/>
          </p15:clr>
        </p15:guide>
        <p15:guide id="6" pos="4918" userDrawn="1">
          <p15:clr>
            <a:srgbClr val="F26B43"/>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4"/>
            <a:ext cx="11888047" cy="917575"/>
          </a:xfrm>
        </p:spPr>
        <p:txBody>
          <a:bodyPr/>
          <a:lstStyle>
            <a:lvl1pPr algn="l" defTabSz="931933"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219346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36464" cy="508524"/>
          </a:xfrm>
          <a:noFill/>
        </p:spPr>
        <p:txBody>
          <a:bodyPr wrap="square" lIns="0" tIns="0" rIns="0" bIns="0" anchor="t" anchorCtr="0">
            <a:spAutoFit/>
          </a:bodyPr>
          <a:lstStyle>
            <a:lvl1pPr algn="l" defTabSz="950843"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0754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6" y="3093607"/>
            <a:ext cx="6528316" cy="508524"/>
          </a:xfrm>
          <a:noFill/>
        </p:spPr>
        <p:txBody>
          <a:bodyPr wrap="square" lIns="0" tIns="0" rIns="0" bIns="0" anchor="b" anchorCtr="0">
            <a:spAutoFit/>
          </a:bodyPr>
          <a:lstStyle>
            <a:lvl1pPr algn="l" defTabSz="950843"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6" y="4056501"/>
            <a:ext cx="6528316" cy="282513"/>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p:nvGrpSpPr>
        <p:grpSpPr bwMode="ltGray">
          <a:xfrm>
            <a:off x="6380751" y="-22271"/>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42385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979909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93624" y="6565905"/>
            <a:ext cx="566666" cy="136525"/>
          </a:xfrm>
          <a:prstGeom prst="rect">
            <a:avLst/>
          </a:prstGeom>
        </p:spPr>
        <p:txBody>
          <a:bodyPr/>
          <a:lstStyle>
            <a:lvl1pPr>
              <a:defRPr>
                <a:solidFill>
                  <a:srgbClr val="000000"/>
                </a:solidFill>
              </a:defRPr>
            </a:lvl1pPr>
          </a:lstStyle>
          <a:p>
            <a:fld id="{76D761AB-54AF-45CE-9E72-4C36C05BC2E6}" type="slidenum">
              <a:rPr lang="en-US" smtClean="0"/>
              <a:t>‹#›</a:t>
            </a:fld>
            <a:endParaRPr lang="en-US"/>
          </a:p>
        </p:txBody>
      </p:sp>
      <p:sp>
        <p:nvSpPr>
          <p:cNvPr id="5" name="TextBox 4"/>
          <p:cNvSpPr txBox="1"/>
          <p:nvPr/>
        </p:nvSpPr>
        <p:spPr>
          <a:xfrm>
            <a:off x="8935667" y="6547380"/>
            <a:ext cx="2657958" cy="186521"/>
          </a:xfrm>
          <a:prstGeom prst="rect">
            <a:avLst/>
          </a:prstGeom>
          <a:noFill/>
        </p:spPr>
        <p:txBody>
          <a:bodyPr wrap="none" lIns="186417" tIns="149135" rIns="186417" bIns="149135" rtlCol="0" anchor="ctr">
            <a:noAutofit/>
          </a:bodyPr>
          <a:lstStyle/>
          <a:p>
            <a:pPr algn="r">
              <a:lnSpc>
                <a:spcPct val="90000"/>
              </a:lnSpc>
              <a:spcAft>
                <a:spcPts val="612"/>
              </a:spcAft>
            </a:pPr>
            <a:r>
              <a:rPr lang="en-US" sz="898">
                <a:solidFill>
                  <a:schemeClr val="tx2"/>
                </a:solidFill>
              </a:rPr>
              <a:t>Microsoft Confidential</a:t>
            </a:r>
          </a:p>
        </p:txBody>
      </p:sp>
    </p:spTree>
    <p:extLst>
      <p:ext uri="{BB962C8B-B14F-4D97-AF65-F5344CB8AC3E}">
        <p14:creationId xmlns:p14="http://schemas.microsoft.com/office/powerpoint/2010/main" val="1702075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442604"/>
          </a:xfrm>
        </p:spPr>
        <p:txBody>
          <a:bodyPr tIns="64008"/>
          <a:lstStyle>
            <a:lvl1pPr>
              <a:defRPr sz="2448"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707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B78697B4-9FBF-48C6-A914-184B8B099A45}" type="datetimeFigureOut">
              <a:rPr lang="en-US" smtClean="0"/>
              <a:t>3/3/2023</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57963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9"/>
            <a:ext cx="7315136" cy="1828786"/>
          </a:xfrm>
          <a:noFill/>
        </p:spPr>
        <p:txBody>
          <a:bodyPr lIns="146304" tIns="91440" rIns="146304" bIns="91440" anchor="t" anchorCtr="0"/>
          <a:lstStyle>
            <a:lvl1pPr>
              <a:defRPr sz="4694" spc="-87"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5" y="3955786"/>
            <a:ext cx="7315137" cy="1828007"/>
          </a:xfrm>
          <a:noFill/>
        </p:spPr>
        <p:txBody>
          <a:bodyPr lIns="146304" tIns="109728" rIns="146304" bIns="109728">
            <a:noAutofit/>
          </a:bodyPr>
          <a:lstStyle>
            <a:lvl1pPr marL="0" indent="0">
              <a:spcBef>
                <a:spcPts val="0"/>
              </a:spcBef>
              <a:buNone/>
              <a:defRPr sz="2779"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4170965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3902975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1_Title without Subtitl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9564" cy="917575"/>
          </a:xfrm>
        </p:spPr>
        <p:txBody>
          <a:bodyPr/>
          <a:lstStyle>
            <a:lvl1pPr>
              <a:lnSpc>
                <a:spcPct val="100000"/>
              </a:lnSpc>
              <a:defRPr sz="3672">
                <a:solidFill>
                  <a:srgbClr val="002060"/>
                </a:solidFill>
              </a:defRPr>
            </a:lvl1pPr>
          </a:lstStyle>
          <a:p>
            <a:r>
              <a:rPr lang="en-US"/>
              <a:t>Click to edit Master title style</a:t>
            </a:r>
          </a:p>
        </p:txBody>
      </p:sp>
      <p:sp>
        <p:nvSpPr>
          <p:cNvPr id="7" name="Slide Number Placeholder 1"/>
          <p:cNvSpPr>
            <a:spLocks noGrp="1"/>
          </p:cNvSpPr>
          <p:nvPr>
            <p:ph type="sldNum" sz="quarter" idx="11"/>
          </p:nvPr>
        </p:nvSpPr>
        <p:spPr>
          <a:xfrm>
            <a:off x="11845418" y="6615655"/>
            <a:ext cx="591057"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5454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2_Business Update Slide Template">
    <p:spTree>
      <p:nvGrpSpPr>
        <p:cNvPr id="1" name=""/>
        <p:cNvGrpSpPr/>
        <p:nvPr/>
      </p:nvGrpSpPr>
      <p:grpSpPr>
        <a:xfrm>
          <a:off x="0" y="0"/>
          <a:ext cx="0" cy="0"/>
          <a:chOff x="0" y="0"/>
          <a:chExt cx="0" cy="0"/>
        </a:xfrm>
      </p:grpSpPr>
      <p:sp>
        <p:nvSpPr>
          <p:cNvPr id="6" name="Title 5"/>
          <p:cNvSpPr>
            <a:spLocks noGrp="1"/>
          </p:cNvSpPr>
          <p:nvPr>
            <p:ph type="title"/>
          </p:nvPr>
        </p:nvSpPr>
        <p:spPr>
          <a:xfrm>
            <a:off x="0" y="3"/>
            <a:ext cx="11888047" cy="378871"/>
          </a:xfrm>
        </p:spPr>
        <p:txBody>
          <a:bodyPr/>
          <a:lstStyle>
            <a:lvl1pPr algn="l" defTabSz="931933" rtl="0" eaLnBrk="1" latinLnBrk="0" hangingPunct="1">
              <a:lnSpc>
                <a:spcPct val="90000"/>
              </a:lnSpc>
              <a:spcBef>
                <a:spcPct val="0"/>
              </a:spcBef>
              <a:buNone/>
              <a:defRPr lang="en-US" sz="204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
        <p:nvSpPr>
          <p:cNvPr id="7" name="Slide Number Placeholder 1"/>
          <p:cNvSpPr>
            <a:spLocks noGrp="1"/>
          </p:cNvSpPr>
          <p:nvPr>
            <p:ph type="sldNum" sz="quarter" idx="11"/>
          </p:nvPr>
        </p:nvSpPr>
        <p:spPr>
          <a:xfrm>
            <a:off x="11843907" y="6615655"/>
            <a:ext cx="590982" cy="378870"/>
          </a:xfrm>
          <a:prstGeom prst="rect">
            <a:avLst/>
          </a:prstGeom>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117377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8256113"/>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8DB59-9B40-4CDF-A0B5-4461863E2A66}"/>
              </a:ext>
            </a:extLst>
          </p:cNvPr>
          <p:cNvSpPr>
            <a:spLocks noGrp="1"/>
          </p:cNvSpPr>
          <p:nvPr>
            <p:ph type="ctrTitle"/>
          </p:nvPr>
        </p:nvSpPr>
        <p:spPr>
          <a:xfrm>
            <a:off x="1554361" y="1144707"/>
            <a:ext cx="9326166" cy="2435131"/>
          </a:xfrm>
        </p:spPr>
        <p:txBody>
          <a:bodyPr anchor="b"/>
          <a:lstStyle>
            <a:lvl1pPr algn="ctr">
              <a:defRPr sz="6114"/>
            </a:lvl1pPr>
          </a:lstStyle>
          <a:p>
            <a:r>
              <a:rPr lang="en-US"/>
              <a:t>Click to edit Master title style</a:t>
            </a:r>
          </a:p>
        </p:txBody>
      </p:sp>
      <p:sp>
        <p:nvSpPr>
          <p:cNvPr id="3" name="Subtitle 2">
            <a:extLst>
              <a:ext uri="{FF2B5EF4-FFF2-40B4-BE49-F238E27FC236}">
                <a16:creationId xmlns:a16="http://schemas.microsoft.com/office/drawing/2014/main" id="{7E515631-B59E-4572-9B2E-AC300FF00523}"/>
              </a:ext>
            </a:extLst>
          </p:cNvPr>
          <p:cNvSpPr>
            <a:spLocks noGrp="1"/>
          </p:cNvSpPr>
          <p:nvPr>
            <p:ph type="subTitle" idx="1"/>
          </p:nvPr>
        </p:nvSpPr>
        <p:spPr>
          <a:xfrm>
            <a:off x="1554361" y="3673746"/>
            <a:ext cx="9326166" cy="523733"/>
          </a:xfrm>
        </p:spPr>
        <p:txBody>
          <a:bodyPr/>
          <a:lstStyle>
            <a:lvl1pPr marL="0" indent="0" algn="ctr">
              <a:buNone/>
              <a:defRPr sz="2448"/>
            </a:lvl1pPr>
            <a:lvl2pPr marL="466073" indent="0" algn="ctr">
              <a:buNone/>
              <a:defRPr sz="2040"/>
            </a:lvl2pPr>
            <a:lvl3pPr marL="932146" indent="0" algn="ctr">
              <a:buNone/>
              <a:defRPr sz="1836"/>
            </a:lvl3pPr>
            <a:lvl4pPr marL="1398218" indent="0" algn="ctr">
              <a:buNone/>
              <a:defRPr sz="1632"/>
            </a:lvl4pPr>
            <a:lvl5pPr marL="1864291" indent="0" algn="ctr">
              <a:buNone/>
              <a:defRPr sz="1632"/>
            </a:lvl5pPr>
            <a:lvl6pPr marL="2330363" indent="0" algn="ctr">
              <a:buNone/>
              <a:defRPr sz="1632"/>
            </a:lvl6pPr>
            <a:lvl7pPr marL="2796436" indent="0" algn="ctr">
              <a:buNone/>
              <a:defRPr sz="1632"/>
            </a:lvl7pPr>
            <a:lvl8pPr marL="3262509" indent="0" algn="ctr">
              <a:buNone/>
              <a:defRPr sz="1632"/>
            </a:lvl8pPr>
            <a:lvl9pPr marL="3728580"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13B4169-FC91-4248-B72D-4118EDD73468}"/>
              </a:ext>
            </a:extLst>
          </p:cNvPr>
          <p:cNvSpPr>
            <a:spLocks noGrp="1"/>
          </p:cNvSpPr>
          <p:nvPr>
            <p:ph type="dt" sz="half" idx="10"/>
          </p:nvPr>
        </p:nvSpPr>
        <p:spPr/>
        <p:txBody>
          <a:bodyPr/>
          <a:lstStyle/>
          <a:p>
            <a:fld id="{B78697B4-9FBF-48C6-A914-184B8B099A45}" type="datetimeFigureOut">
              <a:rPr lang="en-US" smtClean="0"/>
              <a:t>3/3/2023</a:t>
            </a:fld>
            <a:endParaRPr lang="en-US"/>
          </a:p>
        </p:txBody>
      </p:sp>
      <p:sp>
        <p:nvSpPr>
          <p:cNvPr id="5" name="Footer Placeholder 4">
            <a:extLst>
              <a:ext uri="{FF2B5EF4-FFF2-40B4-BE49-F238E27FC236}">
                <a16:creationId xmlns:a16="http://schemas.microsoft.com/office/drawing/2014/main" id="{57E40227-32BE-4DCB-B01D-1792CB99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AFDC2-27F0-4BCC-91B2-76730AE6568F}"/>
              </a:ext>
            </a:extLst>
          </p:cNvPr>
          <p:cNvSpPr>
            <a:spLocks noGrp="1"/>
          </p:cNvSpPr>
          <p:nvPr>
            <p:ph type="sldNum" sz="quarter" idx="12"/>
          </p:nvPr>
        </p:nvSpPr>
        <p:spPr/>
        <p:txBody>
          <a:bodyPr/>
          <a:lstStyle/>
          <a:p>
            <a:fld id="{76D761AB-54AF-45CE-9E72-4C36C05BC2E6}" type="slidenum">
              <a:rPr lang="en-US" smtClean="0"/>
              <a:t>‹#›</a:t>
            </a:fld>
            <a:endParaRPr lang="en-US"/>
          </a:p>
        </p:txBody>
      </p:sp>
    </p:spTree>
    <p:extLst>
      <p:ext uri="{BB962C8B-B14F-4D97-AF65-F5344CB8AC3E}">
        <p14:creationId xmlns:p14="http://schemas.microsoft.com/office/powerpoint/2010/main" val="61826041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572887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662521475"/>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440264"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95990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9577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61189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70814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27933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00101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63826"/>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439488"/>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525996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4"/>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9479807"/>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00898976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4"/>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3449480"/>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39058"/>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4" y="1"/>
            <a:ext cx="6994624" cy="6994525"/>
          </a:xfrm>
          <a:blipFill>
            <a:blip r:embed="rId2">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99903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945632746"/>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753757242"/>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82875084"/>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6"/>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9501130"/>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1"/>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63324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6"/>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26" lvl="0" indent="-23312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0993539"/>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6"/>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086821"/>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2"/>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6"/>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7"/>
            <a:ext cx="2583348" cy="2583311"/>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4485488"/>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57876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5" y="2355796"/>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4"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4"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739441"/>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4" y="3213099"/>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5"/>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4262933996"/>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127893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49"/>
            <a:ext cx="11238030" cy="565027"/>
          </a:xfrm>
        </p:spPr>
        <p:txBody>
          <a:bodyPr/>
          <a:lstStyle/>
          <a:p>
            <a:r>
              <a:rPr lang="en-US"/>
              <a:t>Click to edit Master title style</a:t>
            </a:r>
          </a:p>
        </p:txBody>
      </p:sp>
    </p:spTree>
    <p:extLst>
      <p:ext uri="{BB962C8B-B14F-4D97-AF65-F5344CB8AC3E}">
        <p14:creationId xmlns:p14="http://schemas.microsoft.com/office/powerpoint/2010/main" val="4006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8867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lstStyle/>
          <a:p>
            <a:r>
              <a:rPr lang="en-US"/>
              <a:t>Click to edit Master title style</a:t>
            </a:r>
          </a:p>
        </p:txBody>
      </p:sp>
    </p:spTree>
    <p:extLst>
      <p:ext uri="{BB962C8B-B14F-4D97-AF65-F5344CB8AC3E}">
        <p14:creationId xmlns:p14="http://schemas.microsoft.com/office/powerpoint/2010/main" val="295667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9995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0246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775039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6"/>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5"/>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5"/>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79"/>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0" y="1164136"/>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16628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4729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88460302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4"/>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126" indent="0">
              <a:buNone/>
              <a:defRPr sz="1224">
                <a:gradFill flip="none" rotWithShape="1">
                  <a:gsLst>
                    <a:gs pos="82000">
                      <a:schemeClr val="bg1"/>
                    </a:gs>
                    <a:gs pos="0">
                      <a:schemeClr val="bg1"/>
                    </a:gs>
                  </a:gsLst>
                  <a:lin ang="2700000" scaled="1"/>
                  <a:tileRect/>
                </a:gradFill>
                <a:latin typeface="+mj-lt"/>
              </a:defRPr>
            </a:lvl2pPr>
            <a:lvl3pPr marL="466251" indent="0">
              <a:buNone/>
              <a:defRPr sz="1224">
                <a:gradFill flip="none" rotWithShape="1">
                  <a:gsLst>
                    <a:gs pos="82000">
                      <a:schemeClr val="bg1"/>
                    </a:gs>
                    <a:gs pos="0">
                      <a:schemeClr val="bg1"/>
                    </a:gs>
                  </a:gsLst>
                  <a:lin ang="2700000" scaled="1"/>
                  <a:tileRect/>
                </a:gradFill>
                <a:latin typeface="+mj-lt"/>
              </a:defRPr>
            </a:lvl3pPr>
            <a:lvl4pPr marL="675094" indent="0">
              <a:buNone/>
              <a:defRPr sz="1224">
                <a:gradFill flip="none" rotWithShape="1">
                  <a:gsLst>
                    <a:gs pos="82000">
                      <a:schemeClr val="bg1"/>
                    </a:gs>
                    <a:gs pos="0">
                      <a:schemeClr val="bg1"/>
                    </a:gs>
                  </a:gsLst>
                  <a:lin ang="2700000" scaled="1"/>
                  <a:tileRect/>
                </a:gradFill>
                <a:latin typeface="+mj-lt"/>
              </a:defRPr>
            </a:lvl4pPr>
            <a:lvl5pPr marL="872604"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33935399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262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177089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980226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928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358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4230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081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6070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2"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3"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0"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69"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8" y="5461148"/>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415702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45454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8037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32223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430437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88176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3" name="Graphic 2" descr="Microsoft Flow logo">
            <a:extLst>
              <a:ext uri="{FF2B5EF4-FFF2-40B4-BE49-F238E27FC236}">
                <a16:creationId xmlns:a16="http://schemas.microsoft.com/office/drawing/2014/main" id="{85DA7259-7117-4C57-B5D0-B2AF54CD36B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969" y="610341"/>
            <a:ext cx="633218" cy="432694"/>
          </a:xfrm>
          <a:prstGeom prst="rect">
            <a:avLst/>
          </a:prstGeom>
        </p:spPr>
      </p:pic>
    </p:spTree>
    <p:extLst>
      <p:ext uri="{BB962C8B-B14F-4D97-AF65-F5344CB8AC3E}">
        <p14:creationId xmlns:p14="http://schemas.microsoft.com/office/powerpoint/2010/main" val="1955799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2529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938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507751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9239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58"/>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7688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916569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grpSp>
        <p:nvGrpSpPr>
          <p:cNvPr id="60" name="Group 12">
            <a:extLst>
              <a:ext uri="{FF2B5EF4-FFF2-40B4-BE49-F238E27FC236}">
                <a16:creationId xmlns:a16="http://schemas.microsoft.com/office/drawing/2014/main" id="{0E0E57C0-7376-4944-9DCE-005185421347}"/>
              </a:ext>
            </a:extLst>
          </p:cNvPr>
          <p:cNvGrpSpPr>
            <a:grpSpLocks noChangeAspect="1"/>
          </p:cNvGrpSpPr>
          <p:nvPr userDrawn="1"/>
        </p:nvGrpSpPr>
        <p:grpSpPr bwMode="auto">
          <a:xfrm>
            <a:off x="610421" y="605113"/>
            <a:ext cx="641213" cy="487118"/>
            <a:chOff x="4543" y="2176"/>
            <a:chExt cx="258" cy="196"/>
          </a:xfrm>
          <a:solidFill>
            <a:schemeClr val="tx1"/>
          </a:solidFill>
        </p:grpSpPr>
        <p:sp>
          <p:nvSpPr>
            <p:cNvPr id="61" name="Freeform 13">
              <a:extLst>
                <a:ext uri="{FF2B5EF4-FFF2-40B4-BE49-F238E27FC236}">
                  <a16:creationId xmlns:a16="http://schemas.microsoft.com/office/drawing/2014/main" id="{0FAF9751-0C2B-4181-B0AC-15CA1A9D43EC}"/>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2" name="Freeform 14">
              <a:extLst>
                <a:ext uri="{FF2B5EF4-FFF2-40B4-BE49-F238E27FC236}">
                  <a16:creationId xmlns:a16="http://schemas.microsoft.com/office/drawing/2014/main" id="{6641E717-EED8-4EF2-A4F7-7983712AD2B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3" name="Freeform 15">
              <a:extLst>
                <a:ext uri="{FF2B5EF4-FFF2-40B4-BE49-F238E27FC236}">
                  <a16:creationId xmlns:a16="http://schemas.microsoft.com/office/drawing/2014/main" id="{17D3AA76-A13A-49B0-813F-4A379399E3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4" name="Freeform 16">
              <a:extLst>
                <a:ext uri="{FF2B5EF4-FFF2-40B4-BE49-F238E27FC236}">
                  <a16:creationId xmlns:a16="http://schemas.microsoft.com/office/drawing/2014/main" id="{02F5E2E1-F2A4-4C05-B836-EFAEDB0A32A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sp>
          <p:nvSpPr>
            <p:cNvPr id="65" name="Freeform 17">
              <a:extLst>
                <a:ext uri="{FF2B5EF4-FFF2-40B4-BE49-F238E27FC236}">
                  <a16:creationId xmlns:a16="http://schemas.microsoft.com/office/drawing/2014/main" id="{C00683F1-8475-44C7-A3C3-BFE332B4E63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146"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latin typeface="Segoe UI Semilight"/>
                <a:ea typeface="+mn-ea"/>
                <a:cs typeface="+mn-cs"/>
              </a:endParaRPr>
            </a:p>
          </p:txBody>
        </p:sp>
      </p:grpSp>
    </p:spTree>
    <p:extLst>
      <p:ext uri="{BB962C8B-B14F-4D97-AF65-F5344CB8AC3E}">
        <p14:creationId xmlns:p14="http://schemas.microsoft.com/office/powerpoint/2010/main" val="31976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77065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05178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47631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88341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501996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6" name="Power Apps 1" descr="Power Apps">
            <a:extLst>
              <a:ext uri="{FF2B5EF4-FFF2-40B4-BE49-F238E27FC236}">
                <a16:creationId xmlns:a16="http://schemas.microsoft.com/office/drawing/2014/main" id="{3CDD38F3-4197-44AB-9F9D-E38249A849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3732" y="489333"/>
            <a:ext cx="716706" cy="716695"/>
          </a:xfrm>
          <a:prstGeom prst="rect">
            <a:avLst/>
          </a:prstGeom>
        </p:spPr>
      </p:pic>
    </p:spTree>
    <p:extLst>
      <p:ext uri="{BB962C8B-B14F-4D97-AF65-F5344CB8AC3E}">
        <p14:creationId xmlns:p14="http://schemas.microsoft.com/office/powerpoint/2010/main" val="3644143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4862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0184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39" y="1465289"/>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8172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5658930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8536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26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pic>
        <p:nvPicPr>
          <p:cNvPr id="13" name="Graphic 12">
            <a:extLst>
              <a:ext uri="{FF2B5EF4-FFF2-40B4-BE49-F238E27FC236}">
                <a16:creationId xmlns:a16="http://schemas.microsoft.com/office/drawing/2014/main" id="{1A457A6F-4F3B-4634-AE7D-D23DC9778F9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2978" y="462966"/>
            <a:ext cx="690136" cy="690126"/>
          </a:xfrm>
          <a:prstGeom prst="rect">
            <a:avLst/>
          </a:prstGeom>
        </p:spPr>
      </p:pic>
    </p:spTree>
    <p:extLst>
      <p:ext uri="{BB962C8B-B14F-4D97-AF65-F5344CB8AC3E}">
        <p14:creationId xmlns:p14="http://schemas.microsoft.com/office/powerpoint/2010/main" val="19019377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6328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extLst>
                <a:ext uri="{28A0092B-C50C-407E-A947-70E740481C1C}">
                  <a14:useLocalDpi xmlns:a14="http://schemas.microsoft.com/office/drawing/2010/main"/>
                </a:ext>
              </a:extLst>
            </a:blip>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0131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extLst>
                <a:ext uri="{28A0092B-C50C-407E-A947-70E740481C1C}">
                  <a14:useLocalDpi xmlns:a14="http://schemas.microsoft.com/office/drawing/2010/main"/>
                </a:ext>
              </a:extLst>
            </a:blip>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326153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8263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53238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281529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6" y="2480215"/>
            <a:ext cx="4243405" cy="1017048"/>
          </a:xfrm>
          <a:noFill/>
        </p:spPr>
        <p:txBody>
          <a:bodyPr wrap="square" lIns="0" tIns="0" rIns="0" bIns="0" anchor="b" anchorCtr="0">
            <a:spAutoFit/>
          </a:bodyPr>
          <a:lstStyle>
            <a:lvl1pPr algn="l" defTabSz="951209"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6" y="3951630"/>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2"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6"/>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4560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262458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20805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D35DB-9503-404C-8547-CCFCA4200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A5C83E-8FE5-48F9-AC90-421D95F3A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50E02-8C91-48CD-9699-DD6771111CCD}"/>
              </a:ext>
            </a:extLst>
          </p:cNvPr>
          <p:cNvSpPr>
            <a:spLocks noGrp="1"/>
          </p:cNvSpPr>
          <p:nvPr>
            <p:ph type="dt" sz="half" idx="10"/>
          </p:nvPr>
        </p:nvSpPr>
        <p:spPr/>
        <p:txBody>
          <a:bodyPr/>
          <a:lstStyle/>
          <a:p>
            <a:fld id="{E660FD79-863E-428E-91A8-1DE0680E7FCF}" type="datetimeFigureOut">
              <a:rPr lang="en-US" smtClean="0"/>
              <a:t>3/3/2023</a:t>
            </a:fld>
            <a:endParaRPr lang="en-US"/>
          </a:p>
        </p:txBody>
      </p:sp>
      <p:sp>
        <p:nvSpPr>
          <p:cNvPr id="5" name="Footer Placeholder 4">
            <a:extLst>
              <a:ext uri="{FF2B5EF4-FFF2-40B4-BE49-F238E27FC236}">
                <a16:creationId xmlns:a16="http://schemas.microsoft.com/office/drawing/2014/main" id="{8A47F970-D67C-4041-A4DB-F7A308080C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9750B8-032B-442E-AAAF-653D6A48A3E6}"/>
              </a:ext>
            </a:extLst>
          </p:cNvPr>
          <p:cNvSpPr>
            <a:spLocks noGrp="1"/>
          </p:cNvSpPr>
          <p:nvPr>
            <p:ph type="sldNum" sz="quarter" idx="12"/>
          </p:nvPr>
        </p:nvSpPr>
        <p:spPr/>
        <p:txBody>
          <a:bodyPr/>
          <a:lstStyle/>
          <a:p>
            <a:fld id="{EBBE88A8-3403-42AB-870F-11979CF50B97}" type="slidenum">
              <a:rPr lang="en-US" smtClean="0"/>
              <a:t>‹#›</a:t>
            </a:fld>
            <a:endParaRPr lang="en-US"/>
          </a:p>
        </p:txBody>
      </p:sp>
    </p:spTree>
    <p:extLst>
      <p:ext uri="{BB962C8B-B14F-4D97-AF65-F5344CB8AC3E}">
        <p14:creationId xmlns:p14="http://schemas.microsoft.com/office/powerpoint/2010/main" val="372106370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264" y="1"/>
            <a:ext cx="6994624"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1050" y="3167433"/>
            <a:ext cx="636307" cy="7017884"/>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39977" y="0"/>
            <a:ext cx="107607"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2575" y="2838268"/>
            <a:ext cx="93261" cy="7017882"/>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1571" y="1458079"/>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4145" y="547394"/>
            <a:ext cx="1721391" cy="62660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5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520" userDrawn="1">
          <p15:clr>
            <a:srgbClr val="5ACBF0"/>
          </p15:clr>
        </p15:guide>
        <p15:guide id="3" pos="3360"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259" y="1"/>
            <a:ext cx="6994629"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838" y="597451"/>
            <a:ext cx="1393662" cy="298433"/>
          </a:xfrm>
          <a:prstGeom prst="rect">
            <a:avLst/>
          </a:prstGeom>
        </p:spPr>
      </p:pic>
      <p:sp>
        <p:nvSpPr>
          <p:cNvPr id="9" name="Title 1"/>
          <p:cNvSpPr>
            <a:spLocks noGrp="1"/>
          </p:cNvSpPr>
          <p:nvPr>
            <p:ph type="title" hasCustomPrompt="1"/>
          </p:nvPr>
        </p:nvSpPr>
        <p:spPr>
          <a:xfrm>
            <a:off x="595839" y="3039098"/>
            <a:ext cx="4726670"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9" y="4041282"/>
            <a:ext cx="472667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8311" y="332805"/>
            <a:ext cx="93262" cy="619889"/>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261" y="1"/>
            <a:ext cx="7017886"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517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18" userDrawn="1">
          <p15:clr>
            <a:srgbClr val="5ACBF0"/>
          </p15:clr>
        </p15:guide>
        <p15:guide id="4" orient="horz" pos="2160" userDrawn="1">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073644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1539808"/>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45427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4" y="1466098"/>
            <a:ext cx="5315915" cy="1682523"/>
          </a:xfrm>
        </p:spPr>
        <p:txBody>
          <a:bodyPr wrap="square">
            <a:spAutoFit/>
          </a:bodyPr>
          <a:lstStyle>
            <a:lvl1pPr marL="236363" indent="-236363">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92" indent="-174845">
              <a:buFont typeface="Wingdings" panose="05000000000000000000" pitchFamily="2" charset="2"/>
              <a:buChar char=""/>
              <a:defRPr sz="2040" b="0"/>
            </a:lvl2pPr>
            <a:lvl3pPr marL="652429" indent="-192653">
              <a:buFont typeface="Wingdings" panose="05000000000000000000" pitchFamily="2" charset="2"/>
              <a:buChar char=""/>
              <a:tabLst/>
              <a:defRPr sz="1632" b="0"/>
            </a:lvl3pPr>
            <a:lvl4pPr marL="845081" indent="-179702">
              <a:buFont typeface="Wingdings" panose="05000000000000000000" pitchFamily="2" charset="2"/>
              <a:buChar char=""/>
              <a:defRPr sz="1428" b="0"/>
            </a:lvl4pPr>
            <a:lvl5pPr marL="1044210" indent="-173226">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082472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2226697"/>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42727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0"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39" y="1705788"/>
            <a:ext cx="4808804" cy="1255614"/>
          </a:xfrm>
        </p:spPr>
        <p:txBody>
          <a:bodyPr wrap="square">
            <a:spAutoFit/>
          </a:bodyPr>
          <a:lstStyle>
            <a:lvl1pPr marL="0" indent="0">
              <a:spcBef>
                <a:spcPts val="1248"/>
              </a:spcBef>
              <a:buClr>
                <a:schemeClr val="tx1"/>
              </a:buClr>
              <a:buFont typeface="Wingdings" panose="05000000000000000000" pitchFamily="2" charset="2"/>
              <a:buNone/>
              <a:defRPr sz="2040" b="0">
                <a:latin typeface="+mn-lt"/>
                <a:cs typeface="Segoe UI" panose="020B0502040204020203" pitchFamily="34" charset="0"/>
              </a:defRPr>
            </a:lvl1pPr>
            <a:lvl2pPr marL="260648" indent="0">
              <a:buFont typeface="Wingdings" panose="05000000000000000000" pitchFamily="2" charset="2"/>
              <a:buNone/>
              <a:defRPr sz="1632" b="0">
                <a:latin typeface="+mn-lt"/>
              </a:defRPr>
            </a:lvl2pPr>
            <a:lvl3pPr marL="459776" indent="0">
              <a:buFont typeface="Wingdings" panose="05000000000000000000" pitchFamily="2" charset="2"/>
              <a:buNone/>
              <a:tabLst/>
              <a:defRPr sz="1224" b="0">
                <a:latin typeface="+mn-lt"/>
              </a:defRPr>
            </a:lvl3pPr>
            <a:lvl4pPr marL="665379" indent="0">
              <a:buFont typeface="Wingdings" panose="05000000000000000000" pitchFamily="2" charset="2"/>
              <a:buNone/>
              <a:defRPr sz="1122" b="0">
                <a:latin typeface="+mn-lt"/>
              </a:defRPr>
            </a:lvl4pPr>
            <a:lvl5pPr marL="870984"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768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926425"/>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6358606"/>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40" y="2065977"/>
            <a:ext cx="4244895"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26" indent="0">
              <a:buNone/>
              <a:defRPr/>
            </a:lvl2pPr>
            <a:lvl3pPr marL="466251" indent="0">
              <a:buNone/>
              <a:defRPr/>
            </a:lvl3pPr>
            <a:lvl4pPr marL="675094" indent="0">
              <a:buNone/>
              <a:defRPr/>
            </a:lvl4pPr>
            <a:lvl5pPr marL="87260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795640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2" y="2932237"/>
            <a:ext cx="4244895"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64086195"/>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userDrawn="1">
          <p15:clr>
            <a:srgbClr val="FBAE4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3040994"/>
            <a:ext cx="4243405"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4" y="1"/>
            <a:ext cx="6994624"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4559349"/>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33998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14"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8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90"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805"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0501347"/>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Tree>
    <p:extLst>
      <p:ext uri="{BB962C8B-B14F-4D97-AF65-F5344CB8AC3E}">
        <p14:creationId xmlns:p14="http://schemas.microsoft.com/office/powerpoint/2010/main" val="1602623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13535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9"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48521"/>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0"/>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414"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181"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690"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805"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641191"/>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7139394"/>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840" y="597451"/>
            <a:ext cx="1393463"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2"/>
            <a:ext cx="4247550"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4" name="Picture 13" descr="Man looking at Dynamics 365 on computer" title="Microsoft brand photo">
            <a:extLst>
              <a:ext uri="{FF2B5EF4-FFF2-40B4-BE49-F238E27FC236}">
                <a16:creationId xmlns:a16="http://schemas.microsoft.com/office/drawing/2014/main" id="{66D160DD-27D8-44D5-96E3-610DCDC61DF6}"/>
              </a:ext>
            </a:extLst>
          </p:cNvPr>
          <p:cNvPicPr>
            <a:picLocks noChangeAspect="1"/>
          </p:cNvPicPr>
          <p:nvPr userDrawn="1"/>
        </p:nvPicPr>
        <p:blipFill rotWithShape="1">
          <a:blip r:embed="rId3"/>
          <a:srcRect l="3433" t="16835" r="45677" b="6829"/>
          <a:stretch/>
        </p:blipFill>
        <p:spPr>
          <a:xfrm>
            <a:off x="5440264" y="1"/>
            <a:ext cx="6994624" cy="6994525"/>
          </a:xfrm>
          <a:prstGeom prst="rect">
            <a:avLst/>
          </a:prstGeom>
        </p:spPr>
      </p:pic>
    </p:spTree>
    <p:extLst>
      <p:ext uri="{BB962C8B-B14F-4D97-AF65-F5344CB8AC3E}">
        <p14:creationId xmlns:p14="http://schemas.microsoft.com/office/powerpoint/2010/main" val="31621604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3000" userDrawn="1">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209"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57963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8F8AB5-FB80-42FF-814A-B6A17F9A6099}"/>
              </a:ext>
            </a:extLst>
          </p:cNvPr>
          <p:cNvSpPr>
            <a:spLocks noGrp="1"/>
          </p:cNvSpPr>
          <p:nvPr>
            <p:ph type="ctrTitle" hasCustomPrompt="1"/>
          </p:nvPr>
        </p:nvSpPr>
        <p:spPr>
          <a:xfrm>
            <a:off x="945305" y="2416391"/>
            <a:ext cx="9326166" cy="1883336"/>
          </a:xfrm>
        </p:spPr>
        <p:txBody>
          <a:bodyPr anchor="ctr" anchorCtr="0"/>
          <a:lstStyle>
            <a:lvl1pPr algn="l">
              <a:defRPr sz="6118">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70A65832-E4EF-489D-9146-48B7A8201E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22" y="6361685"/>
            <a:ext cx="1719197" cy="736787"/>
          </a:xfrm>
          <a:prstGeom prst="rect">
            <a:avLst/>
          </a:prstGeom>
        </p:spPr>
      </p:pic>
      <p:pic>
        <p:nvPicPr>
          <p:cNvPr id="5" name="Picture 4">
            <a:extLst>
              <a:ext uri="{FF2B5EF4-FFF2-40B4-BE49-F238E27FC236}">
                <a16:creationId xmlns:a16="http://schemas.microsoft.com/office/drawing/2014/main" id="{EA5069C3-D356-4F6D-880F-570A581ADE6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47373" y="6361685"/>
            <a:ext cx="1719195" cy="736787"/>
          </a:xfrm>
          <a:prstGeom prst="rect">
            <a:avLst/>
          </a:prstGeom>
        </p:spPr>
      </p:pic>
    </p:spTree>
    <p:extLst>
      <p:ext uri="{BB962C8B-B14F-4D97-AF65-F5344CB8AC3E}">
        <p14:creationId xmlns:p14="http://schemas.microsoft.com/office/powerpoint/2010/main" val="229031859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216838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3" y="2473828"/>
            <a:ext cx="4250919" cy="1130053"/>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93637" y="4041281"/>
            <a:ext cx="424755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a:srcRect l="32559" r="10791"/>
          <a:stretch/>
        </p:blipFill>
        <p:spPr bwMode="ltGray">
          <a:xfrm>
            <a:off x="5440265" y="1"/>
            <a:ext cx="6994624" cy="6994525"/>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3818300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60"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2265990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9" y="3039098"/>
            <a:ext cx="9326166" cy="565027"/>
          </a:xfrm>
          <a:noFill/>
        </p:spPr>
        <p:txBody>
          <a:bodyPr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9" y="4041281"/>
            <a:ext cx="9326166"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67062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68558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081" indent="0">
              <a:buNone/>
              <a:defRPr/>
            </a:lvl2pPr>
            <a:lvl3pPr marL="466162" indent="0">
              <a:buNone/>
              <a:defRPr/>
            </a:lvl3pPr>
            <a:lvl4pPr marL="699243" indent="0">
              <a:buNone/>
              <a:defRPr/>
            </a:lvl4pPr>
            <a:lvl5pPr marL="9323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84549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11576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40"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0719484"/>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7" y="1463670"/>
            <a:ext cx="5315915"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598" indent="0">
              <a:buFont typeface="Wingdings" panose="05000000000000000000" pitchFamily="2" charset="2"/>
              <a:buNone/>
              <a:defRPr sz="2040" b="0"/>
            </a:lvl2pPr>
            <a:lvl3pPr marL="459688" indent="0">
              <a:buFont typeface="Wingdings" panose="05000000000000000000" pitchFamily="2" charset="2"/>
              <a:buNone/>
              <a:tabLst/>
              <a:defRPr sz="1632" b="0"/>
            </a:lvl3pPr>
            <a:lvl4pPr marL="665252" indent="0">
              <a:buFont typeface="Wingdings" panose="05000000000000000000" pitchFamily="2" charset="2"/>
              <a:buNone/>
              <a:defRPr sz="1428" b="0"/>
            </a:lvl4pPr>
            <a:lvl5pPr marL="870817"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9172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34669"/>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05219552"/>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5"/>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45351"/>
          </a:xfrm>
        </p:spPr>
        <p:txBody>
          <a:bodyPr/>
          <a:lstStyle>
            <a:lvl1pPr marL="0" indent="0">
              <a:buNone/>
              <a:defRPr sz="2244">
                <a:latin typeface="+mn-lt"/>
              </a:defRPr>
            </a:lvl1pPr>
            <a:lvl2pPr marL="233081" indent="0">
              <a:buNone/>
              <a:defRPr/>
            </a:lvl2pPr>
            <a:lvl3pPr marL="466162" indent="0">
              <a:buNone/>
              <a:defRPr/>
            </a:lvl3pPr>
            <a:lvl4pPr marL="674964" indent="0">
              <a:buNone/>
              <a:defRPr/>
            </a:lvl4pPr>
            <a:lvl5pPr marL="87243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34996"/>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userDrawn="1">
          <p15:clr>
            <a:srgbClr val="5ACBF0"/>
          </p15:clr>
        </p15:guide>
        <p15:guide id="7" orient="horz" pos="1968" userDrawn="1">
          <p15:clr>
            <a:srgbClr val="5ACBF0"/>
          </p15:clr>
        </p15:guide>
        <p15:guide id="8" orient="horz" pos="2226" userDrawn="1">
          <p15:clr>
            <a:srgbClr val="5ACBF0"/>
          </p15:clr>
        </p15:guide>
        <p15:guide id="10" pos="3729" userDrawn="1">
          <p15:clr>
            <a:srgbClr val="C35EA4"/>
          </p15:clr>
        </p15:guide>
        <p15:guide id="11" pos="2993" userDrawn="1">
          <p15:clr>
            <a:srgbClr val="5ACBF0"/>
          </p15:clr>
        </p15:guide>
        <p15:guide id="12" pos="3543" userDrawn="1">
          <p15:clr>
            <a:srgbClr val="A4A3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5"/>
            <a:ext cx="4242825" cy="113018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678080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userDrawn="1">
          <p15:clr>
            <a:srgbClr val="5ACBF0"/>
          </p15:clr>
        </p15:guide>
        <p15:guide id="7" pos="3728" userDrawn="1">
          <p15:clr>
            <a:srgbClr val="C35EA4"/>
          </p15:clr>
        </p15:guide>
        <p15:guide id="8" pos="3544" userDrawn="1">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4" y="3039060"/>
            <a:ext cx="4246062" cy="878959"/>
          </a:xfrm>
        </p:spPr>
        <p:txBody>
          <a:bodyPr anchor="t"/>
          <a:lstStyle>
            <a:lvl1pPr>
              <a:defRPr sz="2856"/>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265" y="1"/>
            <a:ext cx="6994624"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05160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userDrawn="1">
          <p15:clr>
            <a:srgbClr val="5ACBF0"/>
          </p15:clr>
        </p15:guide>
        <p15:guide id="4" pos="3731" userDrawn="1">
          <p15:clr>
            <a:srgbClr val="C35EA4"/>
          </p15:clr>
        </p15:guide>
        <p15:guide id="5" pos="2993" userDrawn="1">
          <p15:clr>
            <a:srgbClr val="5ACBF0"/>
          </p15:clr>
        </p15:guide>
        <p15:guide id="6" pos="3547" userDrawn="1">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4888"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474008603"/>
      </p:ext>
    </p:extLst>
  </p:cSld>
  <p:clrMapOvr>
    <a:masterClrMapping/>
  </p:clrMapOvr>
  <p:transition>
    <p:fade/>
  </p:transition>
  <p:extLst>
    <p:ext uri="{DCECCB84-F9BA-43D5-87BE-67443E8EF086}">
      <p15:sldGuideLst xmlns:p15="http://schemas.microsoft.com/office/powerpoint/2012/main">
        <p15:guide id="1" orient="horz" pos="2304" userDrawn="1">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1"/>
            <a:ext cx="5782223"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88724157"/>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2665" y="1"/>
            <a:ext cx="5782223"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391179835"/>
      </p:ext>
    </p:extLst>
  </p:cSld>
  <p:clrMapOvr>
    <a:masterClrMapping/>
  </p:clrMapOvr>
  <p:transition>
    <p:fade/>
  </p:transition>
  <p:extLst>
    <p:ext uri="{DCECCB84-F9BA-43D5-87BE-67443E8EF086}">
      <p15:sldGuideLst xmlns:p15="http://schemas.microsoft.com/office/powerpoint/2012/main">
        <p15:guide id="7" pos="4103" userDrawn="1">
          <p15:clr>
            <a:srgbClr val="5ACBF0"/>
          </p15:clr>
        </p15:guide>
        <p15:guide id="8" orient="horz" pos="2160"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553278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7"/>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000745"/>
      </p:ext>
    </p:extLst>
  </p:cSld>
  <p:clrMapOvr>
    <a:masterClrMapping/>
  </p:clrMapOvr>
  <p:transition>
    <p:fade/>
  </p:transition>
  <p:extLst>
    <p:ext uri="{DCECCB84-F9BA-43D5-87BE-67443E8EF086}">
      <p15:sldGuideLst xmlns:p15="http://schemas.microsoft.com/office/powerpoint/2012/main">
        <p15:guide id="5" orient="horz" pos="2880" userDrawn="1">
          <p15:clr>
            <a:srgbClr val="5ACBF0"/>
          </p15:clr>
        </p15:guide>
        <p15:guide id="6" orient="horz" pos="3600" userDrawn="1">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2"/>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8" y="2331509"/>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6699816"/>
      </p:ext>
    </p:extLst>
  </p:cSld>
  <p:clrMapOvr>
    <a:masterClrMapping/>
  </p:clrMapOvr>
  <p:transition>
    <p:fade/>
  </p:transition>
  <p:extLst>
    <p:ext uri="{DCECCB84-F9BA-43D5-87BE-67443E8EF086}">
      <p15:sldGuideLst xmlns:p15="http://schemas.microsoft.com/office/powerpoint/2012/main">
        <p15:guide id="5" orient="horz" pos="1440" userDrawn="1">
          <p15:clr>
            <a:srgbClr val="5ACBF0"/>
          </p15:clr>
        </p15:guide>
        <p15:guide id="6" orient="horz" pos="720" userDrawn="1">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7"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9"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7"/>
            <a:ext cx="547445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3553" y="2065976"/>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081" lvl="0" indent="-23308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11019425"/>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3749" userDrawn="1">
          <p15:clr>
            <a:srgbClr val="5ACBF0"/>
          </p15:clr>
        </p15:guide>
        <p15:guide id="7" pos="3929" userDrawn="1">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1"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21"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4"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5473"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5" y="5802867"/>
            <a:ext cx="3544267"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4070" y="2065976"/>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41077176"/>
      </p:ext>
    </p:extLst>
  </p:cSld>
  <p:clrMapOvr>
    <a:masterClrMapping/>
  </p:clrMapOvr>
  <p:transition>
    <p:fade/>
  </p:transition>
  <p:extLst>
    <p:ext uri="{DCECCB84-F9BA-43D5-87BE-67443E8EF086}">
      <p15:sldGuideLst xmlns:p15="http://schemas.microsoft.com/office/powerpoint/2012/main">
        <p15:guide id="3" orient="horz" pos="3584" userDrawn="1">
          <p15:clr>
            <a:srgbClr val="5ACBF0"/>
          </p15:clr>
        </p15:guide>
        <p15:guide id="4" orient="horz" pos="1276" userDrawn="1">
          <p15:clr>
            <a:srgbClr val="5ACBF0"/>
          </p15:clr>
        </p15:guide>
        <p15:guide id="5" orient="horz" pos="288" userDrawn="1">
          <p15:clr>
            <a:srgbClr val="5ACBF0"/>
          </p15:clr>
        </p15:guide>
        <p15:guide id="6" pos="2557" userDrawn="1">
          <p15:clr>
            <a:srgbClr val="5ACBF0"/>
          </p15:clr>
        </p15:guide>
        <p15:guide id="7" pos="2744" userDrawn="1">
          <p15:clr>
            <a:srgbClr val="5ACBF0"/>
          </p15:clr>
        </p15:guide>
        <p15:guide id="8" pos="4934" userDrawn="1">
          <p15:clr>
            <a:srgbClr val="5ACBF0"/>
          </p15:clr>
        </p15:guide>
        <p15:guide id="9" pos="5121" userDrawn="1">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3"/>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19"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18"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19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9620"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2" y="4848577"/>
            <a:ext cx="258334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7322" y="2065978"/>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9741044"/>
      </p:ext>
    </p:extLst>
  </p:cSld>
  <p:clrMapOvr>
    <a:masterClrMapping/>
  </p:clrMapOvr>
  <p:transition>
    <p:fade/>
  </p:transition>
  <p:extLst>
    <p:ext uri="{DCECCB84-F9BA-43D5-87BE-67443E8EF086}">
      <p15:sldGuideLst xmlns:p15="http://schemas.microsoft.com/office/powerpoint/2012/main">
        <p15:guide id="3" orient="horz" pos="2993" userDrawn="1">
          <p15:clr>
            <a:srgbClr val="5ACBF0"/>
          </p15:clr>
        </p15:guide>
        <p15:guide id="4" orient="horz" pos="1276" userDrawn="1">
          <p15:clr>
            <a:srgbClr val="5ACBF0"/>
          </p15:clr>
        </p15:guide>
        <p15:guide id="5" orient="horz" pos="288" userDrawn="1">
          <p15:clr>
            <a:srgbClr val="5ACBF0"/>
          </p15:clr>
        </p15:guide>
        <p15:guide id="6" pos="1963" userDrawn="1">
          <p15:clr>
            <a:srgbClr val="5ACBF0"/>
          </p15:clr>
        </p15:guide>
        <p15:guide id="7" pos="2150" userDrawn="1">
          <p15:clr>
            <a:srgbClr val="5ACBF0"/>
          </p15:clr>
        </p15:guide>
        <p15:guide id="8" pos="3746" userDrawn="1">
          <p15:clr>
            <a:srgbClr val="5ACBF0"/>
          </p15:clr>
        </p15:guide>
        <p15:guide id="9" pos="3932" userDrawn="1">
          <p15:clr>
            <a:srgbClr val="5ACBF0"/>
          </p15:clr>
        </p15:guide>
        <p15:guide id="10" pos="5528" userDrawn="1">
          <p15:clr>
            <a:srgbClr val="5ACBF0"/>
          </p15:clr>
        </p15:guide>
        <p15:guide id="11" pos="5714" userDrawn="1">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876" y="2355797"/>
            <a:ext cx="3245419" cy="4038043"/>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275" y="2355794"/>
            <a:ext cx="7399396" cy="4038044"/>
          </a:xfrm>
        </p:spPr>
        <p:txBody>
          <a:bodyPr anchor="t">
            <a:noAutofit/>
          </a:bodyPr>
          <a:lstStyle>
            <a:lvl1pPr marL="0" indent="0">
              <a:spcAft>
                <a:spcPts val="816"/>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875" y="2059499"/>
            <a:ext cx="3245506"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275" y="2059499"/>
            <a:ext cx="7399396"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176894"/>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1272" userDrawn="1">
          <p15:clr>
            <a:srgbClr val="5ACBF0"/>
          </p15:clr>
        </p15:guide>
        <p15:guide id="30" pos="2376" userDrawn="1">
          <p15:clr>
            <a:srgbClr val="5ACBF0"/>
          </p15:clr>
        </p15:guide>
        <p15:guide id="32" orient="horz" pos="1455" userDrawn="1">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5" y="3213100"/>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6"/>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1183631623"/>
      </p:ext>
    </p:extLst>
  </p:cSld>
  <p:clrMapOvr>
    <a:masterClrMapping/>
  </p:clrMapOvr>
  <p:transition>
    <p:fade/>
  </p:transition>
  <p:extLst>
    <p:ext uri="{DCECCB84-F9BA-43D5-87BE-67443E8EF086}">
      <p15:sldGuideLst xmlns:p15="http://schemas.microsoft.com/office/powerpoint/2012/main">
        <p15:guide id="13" pos="2744" userDrawn="1">
          <p15:clr>
            <a:srgbClr val="5ACBF0"/>
          </p15:clr>
        </p15:guide>
        <p15:guide id="29" orient="horz" pos="2160" userDrawn="1">
          <p15:clr>
            <a:srgbClr val="5ACBF0"/>
          </p15:clr>
        </p15:guide>
        <p15:guide id="30" pos="2376" userDrawn="1">
          <p15:clr>
            <a:srgbClr val="5ACBF0"/>
          </p15:clr>
        </p15:guide>
        <p15:guide id="31" pos="3113" userDrawn="1">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1807813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99982" y="3053050"/>
            <a:ext cx="11238030" cy="565027"/>
          </a:xfrm>
        </p:spPr>
        <p:txBody>
          <a:bodyPr/>
          <a:lstStyle/>
          <a:p>
            <a:r>
              <a:rPr lang="en-US"/>
              <a:t>Click to edit Master title style</a:t>
            </a:r>
          </a:p>
        </p:txBody>
      </p:sp>
    </p:spTree>
    <p:extLst>
      <p:ext uri="{BB962C8B-B14F-4D97-AF65-F5344CB8AC3E}">
        <p14:creationId xmlns:p14="http://schemas.microsoft.com/office/powerpoint/2010/main" val="13595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66360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73590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lstStyle/>
          <a:p>
            <a:r>
              <a:rPr lang="en-US"/>
              <a:t>Click to edit Master title style</a:t>
            </a:r>
          </a:p>
        </p:txBody>
      </p:sp>
    </p:spTree>
    <p:extLst>
      <p:ext uri="{BB962C8B-B14F-4D97-AF65-F5344CB8AC3E}">
        <p14:creationId xmlns:p14="http://schemas.microsoft.com/office/powerpoint/2010/main" val="1053657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703977"/>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7696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90265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7" y="2474072"/>
            <a:ext cx="5595700" cy="1130053"/>
          </a:xfrm>
          <a:noFill/>
        </p:spPr>
        <p:txBody>
          <a:bodyPr wrap="square" lIns="0" tIns="0" rIns="0" bIns="0" anchor="b" anchorCtr="0">
            <a:spAutoFit/>
          </a:bodyPr>
          <a:lstStyle>
            <a:lvl1pPr>
              <a:defRPr sz="3672" spc="-51"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7" y="4041281"/>
            <a:ext cx="5595700" cy="345294"/>
          </a:xfrm>
          <a:noFill/>
        </p:spPr>
        <p:txBody>
          <a:bodyPr wrap="square" lIns="0" tIns="0" rIns="0" bIns="0">
            <a:spAutoFit/>
          </a:bodyPr>
          <a:lstStyle>
            <a:lvl1pPr marL="0" indent="0">
              <a:spcBef>
                <a:spcPts val="0"/>
              </a:spcBef>
              <a:buNone/>
              <a:defRPr sz="2244"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
        <p:nvSpPr>
          <p:cNvPr id="10" name="Oval 9">
            <a:extLst>
              <a:ext uri="{FF2B5EF4-FFF2-40B4-BE49-F238E27FC236}">
                <a16:creationId xmlns:a16="http://schemas.microsoft.com/office/drawing/2014/main" id="{77E332A9-7AC8-4B48-88ED-35D8DA47E057}"/>
              </a:ext>
              <a:ext uri="{C183D7F6-B498-43B3-948B-1728B52AA6E4}">
                <adec:decorative xmlns:adec="http://schemas.microsoft.com/office/drawing/2017/decorative" val="1"/>
              </a:ext>
            </a:extLst>
          </p:cNvPr>
          <p:cNvSpPr/>
          <p:nvPr userDrawn="1"/>
        </p:nvSpPr>
        <p:spPr bwMode="auto">
          <a:xfrm>
            <a:off x="7767744" y="5843310"/>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099D1C97-27D7-42DD-B26A-1F4A6B3BFE99}"/>
              </a:ext>
              <a:ext uri="{C183D7F6-B498-43B3-948B-1728B52AA6E4}">
                <adec:decorative xmlns:adec="http://schemas.microsoft.com/office/drawing/2017/decorative" val="1"/>
              </a:ext>
            </a:extLst>
          </p:cNvPr>
          <p:cNvSpPr/>
          <p:nvPr userDrawn="1"/>
        </p:nvSpPr>
        <p:spPr bwMode="auto">
          <a:xfrm rot="10800000">
            <a:off x="9451056" y="4404223"/>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3B34097F-2FD9-4F27-95E0-C03AB91C32D7}"/>
              </a:ext>
              <a:ext uri="{C183D7F6-B498-43B3-948B-1728B52AA6E4}">
                <adec:decorative xmlns:adec="http://schemas.microsoft.com/office/drawing/2017/decorative" val="1"/>
              </a:ext>
            </a:extLst>
          </p:cNvPr>
          <p:cNvSpPr/>
          <p:nvPr userDrawn="1"/>
        </p:nvSpPr>
        <p:spPr bwMode="auto">
          <a:xfrm rot="10800000">
            <a:off x="7637903" y="4781241"/>
            <a:ext cx="139892" cy="1398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93AD84BA-93AA-45D0-B336-4AB1BACBED55}"/>
              </a:ext>
              <a:ext uri="{C183D7F6-B498-43B3-948B-1728B52AA6E4}">
                <adec:decorative xmlns:adec="http://schemas.microsoft.com/office/drawing/2017/decorative" val="1"/>
              </a:ext>
            </a:extLst>
          </p:cNvPr>
          <p:cNvSpPr/>
          <p:nvPr userDrawn="1"/>
        </p:nvSpPr>
        <p:spPr bwMode="auto">
          <a:xfrm rot="10800000">
            <a:off x="9226023" y="2348967"/>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EBE6AEAF-DE24-4A00-A31E-B4CC14CCA296}"/>
              </a:ext>
              <a:ext uri="{C183D7F6-B498-43B3-948B-1728B52AA6E4}">
                <adec:decorative xmlns:adec="http://schemas.microsoft.com/office/drawing/2017/decorative" val="1"/>
              </a:ext>
            </a:extLst>
          </p:cNvPr>
          <p:cNvSpPr/>
          <p:nvPr userDrawn="1"/>
        </p:nvSpPr>
        <p:spPr bwMode="auto">
          <a:xfrm>
            <a:off x="5587462" y="5153596"/>
            <a:ext cx="139892" cy="13989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59310872-288B-479F-AD54-2BC6328A0AFB}"/>
              </a:ext>
              <a:ext uri="{C183D7F6-B498-43B3-948B-1728B52AA6E4}">
                <adec:decorative xmlns:adec="http://schemas.microsoft.com/office/drawing/2017/decorative" val="1"/>
              </a:ext>
            </a:extLst>
          </p:cNvPr>
          <p:cNvSpPr/>
          <p:nvPr userDrawn="1"/>
        </p:nvSpPr>
        <p:spPr bwMode="auto">
          <a:xfrm>
            <a:off x="4547910" y="5916856"/>
            <a:ext cx="139892" cy="13989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7E994FBC-7B46-4370-B622-82906440419B}"/>
              </a:ext>
              <a:ext uri="{C183D7F6-B498-43B3-948B-1728B52AA6E4}">
                <adec:decorative xmlns:adec="http://schemas.microsoft.com/office/drawing/2017/decorative" val="1"/>
              </a:ext>
            </a:extLst>
          </p:cNvPr>
          <p:cNvSpPr/>
          <p:nvPr userDrawn="1"/>
        </p:nvSpPr>
        <p:spPr bwMode="auto">
          <a:xfrm>
            <a:off x="10683131" y="1218680"/>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22" name="Group 21">
            <a:extLst>
              <a:ext uri="{FF2B5EF4-FFF2-40B4-BE49-F238E27FC236}">
                <a16:creationId xmlns:a16="http://schemas.microsoft.com/office/drawing/2014/main" id="{E0E1B047-FB0D-4AAE-BD6C-E49C3320D885}"/>
              </a:ext>
              <a:ext uri="{C183D7F6-B498-43B3-948B-1728B52AA6E4}">
                <adec:decorative xmlns:adec="http://schemas.microsoft.com/office/drawing/2017/decorative" val="1"/>
              </a:ext>
            </a:extLst>
          </p:cNvPr>
          <p:cNvGrpSpPr/>
          <p:nvPr userDrawn="1"/>
        </p:nvGrpSpPr>
        <p:grpSpPr>
          <a:xfrm>
            <a:off x="3372641" y="1164137"/>
            <a:ext cx="8476125" cy="5854671"/>
            <a:chOff x="3306762" y="1141413"/>
            <a:chExt cx="8310563" cy="5740395"/>
          </a:xfrm>
        </p:grpSpPr>
        <p:sp>
          <p:nvSpPr>
            <p:cNvPr id="23" name="Line 5">
              <a:extLst>
                <a:ext uri="{FF2B5EF4-FFF2-40B4-BE49-F238E27FC236}">
                  <a16:creationId xmlns:a16="http://schemas.microsoft.com/office/drawing/2014/main" id="{78F4F649-2686-49FD-9536-6E1C5E55F24C}"/>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6">
              <a:extLst>
                <a:ext uri="{FF2B5EF4-FFF2-40B4-BE49-F238E27FC236}">
                  <a16:creationId xmlns:a16="http://schemas.microsoft.com/office/drawing/2014/main" id="{157FE6F5-930B-4A97-BDF2-15B60246867E}"/>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7">
              <a:extLst>
                <a:ext uri="{FF2B5EF4-FFF2-40B4-BE49-F238E27FC236}">
                  <a16:creationId xmlns:a16="http://schemas.microsoft.com/office/drawing/2014/main" id="{C6F0B5FE-9C75-469A-A5B4-112F61CCB930}"/>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8">
              <a:extLst>
                <a:ext uri="{FF2B5EF4-FFF2-40B4-BE49-F238E27FC236}">
                  <a16:creationId xmlns:a16="http://schemas.microsoft.com/office/drawing/2014/main" id="{53B585FB-9097-4254-ABF5-4321E15E743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9">
              <a:extLst>
                <a:ext uri="{FF2B5EF4-FFF2-40B4-BE49-F238E27FC236}">
                  <a16:creationId xmlns:a16="http://schemas.microsoft.com/office/drawing/2014/main" id="{897D2D13-7BA8-40E9-9032-6BF31E755027}"/>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0">
              <a:extLst>
                <a:ext uri="{FF2B5EF4-FFF2-40B4-BE49-F238E27FC236}">
                  <a16:creationId xmlns:a16="http://schemas.microsoft.com/office/drawing/2014/main" id="{097C93DB-894B-4F8E-89C7-93BD822751A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1">
              <a:extLst>
                <a:ext uri="{FF2B5EF4-FFF2-40B4-BE49-F238E27FC236}">
                  <a16:creationId xmlns:a16="http://schemas.microsoft.com/office/drawing/2014/main" id="{2DEAB2A4-67F7-49EA-BA98-C02977A5DCE3}"/>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2">
              <a:extLst>
                <a:ext uri="{FF2B5EF4-FFF2-40B4-BE49-F238E27FC236}">
                  <a16:creationId xmlns:a16="http://schemas.microsoft.com/office/drawing/2014/main" id="{837332FE-B6A1-4F57-B937-1F7E5EA122BE}"/>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3">
              <a:extLst>
                <a:ext uri="{FF2B5EF4-FFF2-40B4-BE49-F238E27FC236}">
                  <a16:creationId xmlns:a16="http://schemas.microsoft.com/office/drawing/2014/main" id="{10DA8B2D-231E-4E68-8CF1-123D6A088FB7}"/>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4">
              <a:extLst>
                <a:ext uri="{FF2B5EF4-FFF2-40B4-BE49-F238E27FC236}">
                  <a16:creationId xmlns:a16="http://schemas.microsoft.com/office/drawing/2014/main" id="{71FD5C59-EC1A-4920-A4C7-ADF4A68EB321}"/>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15">
              <a:extLst>
                <a:ext uri="{FF2B5EF4-FFF2-40B4-BE49-F238E27FC236}">
                  <a16:creationId xmlns:a16="http://schemas.microsoft.com/office/drawing/2014/main" id="{5437158E-6DFD-4E39-8944-8E7EC97F56DE}"/>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16">
              <a:extLst>
                <a:ext uri="{FF2B5EF4-FFF2-40B4-BE49-F238E27FC236}">
                  <a16:creationId xmlns:a16="http://schemas.microsoft.com/office/drawing/2014/main" id="{006FE521-BBED-47CA-AB5C-CB0D2F21FABB}"/>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17">
              <a:extLst>
                <a:ext uri="{FF2B5EF4-FFF2-40B4-BE49-F238E27FC236}">
                  <a16:creationId xmlns:a16="http://schemas.microsoft.com/office/drawing/2014/main" id="{9BA5A6E5-D9B7-4641-8AD9-FED4B492C890}"/>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18">
              <a:extLst>
                <a:ext uri="{FF2B5EF4-FFF2-40B4-BE49-F238E27FC236}">
                  <a16:creationId xmlns:a16="http://schemas.microsoft.com/office/drawing/2014/main" id="{4BA92C13-8A31-4B21-A629-FEFBC64F81AF}"/>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19">
              <a:extLst>
                <a:ext uri="{FF2B5EF4-FFF2-40B4-BE49-F238E27FC236}">
                  <a16:creationId xmlns:a16="http://schemas.microsoft.com/office/drawing/2014/main" id="{3463AE15-0B23-4856-BA58-96972ACE793C}"/>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0">
              <a:extLst>
                <a:ext uri="{FF2B5EF4-FFF2-40B4-BE49-F238E27FC236}">
                  <a16:creationId xmlns:a16="http://schemas.microsoft.com/office/drawing/2014/main" id="{501EF10A-5040-44BE-9F0B-C316180FEB4B}"/>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1">
              <a:extLst>
                <a:ext uri="{FF2B5EF4-FFF2-40B4-BE49-F238E27FC236}">
                  <a16:creationId xmlns:a16="http://schemas.microsoft.com/office/drawing/2014/main" id="{3CD58B52-9F06-4C21-88F2-E2B51D31B308}"/>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2">
              <a:extLst>
                <a:ext uri="{FF2B5EF4-FFF2-40B4-BE49-F238E27FC236}">
                  <a16:creationId xmlns:a16="http://schemas.microsoft.com/office/drawing/2014/main" id="{C299B533-8898-48FC-BD82-58C953BC69B5}"/>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3">
              <a:extLst>
                <a:ext uri="{FF2B5EF4-FFF2-40B4-BE49-F238E27FC236}">
                  <a16:creationId xmlns:a16="http://schemas.microsoft.com/office/drawing/2014/main" id="{D11B2DAE-B01F-4F44-A03D-A4F999F505D1}"/>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24">
              <a:extLst>
                <a:ext uri="{FF2B5EF4-FFF2-40B4-BE49-F238E27FC236}">
                  <a16:creationId xmlns:a16="http://schemas.microsoft.com/office/drawing/2014/main" id="{BFFD776C-7D73-4F07-A862-8E83E2CF910D}"/>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25">
              <a:extLst>
                <a:ext uri="{FF2B5EF4-FFF2-40B4-BE49-F238E27FC236}">
                  <a16:creationId xmlns:a16="http://schemas.microsoft.com/office/drawing/2014/main" id="{F56C50A5-0015-4461-951D-CB1569DC54B7}"/>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26">
              <a:extLst>
                <a:ext uri="{FF2B5EF4-FFF2-40B4-BE49-F238E27FC236}">
                  <a16:creationId xmlns:a16="http://schemas.microsoft.com/office/drawing/2014/main" id="{16E2FE36-8DDB-4E9C-A8AD-3FD202FC050E}"/>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27">
              <a:extLst>
                <a:ext uri="{FF2B5EF4-FFF2-40B4-BE49-F238E27FC236}">
                  <a16:creationId xmlns:a16="http://schemas.microsoft.com/office/drawing/2014/main" id="{39ECB3CC-618E-4F75-AAF6-D462D0604DA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28">
              <a:extLst>
                <a:ext uri="{FF2B5EF4-FFF2-40B4-BE49-F238E27FC236}">
                  <a16:creationId xmlns:a16="http://schemas.microsoft.com/office/drawing/2014/main" id="{6D4861CD-AA96-46CE-8A66-03CD187CFE0A}"/>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29">
              <a:extLst>
                <a:ext uri="{FF2B5EF4-FFF2-40B4-BE49-F238E27FC236}">
                  <a16:creationId xmlns:a16="http://schemas.microsoft.com/office/drawing/2014/main" id="{8D4D4B10-69D5-4DA7-BE78-FE852E92E316}"/>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0">
              <a:extLst>
                <a:ext uri="{FF2B5EF4-FFF2-40B4-BE49-F238E27FC236}">
                  <a16:creationId xmlns:a16="http://schemas.microsoft.com/office/drawing/2014/main" id="{4002384E-4540-4103-8B06-AD5627C2EF9C}"/>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1">
              <a:extLst>
                <a:ext uri="{FF2B5EF4-FFF2-40B4-BE49-F238E27FC236}">
                  <a16:creationId xmlns:a16="http://schemas.microsoft.com/office/drawing/2014/main" id="{C9DFFC7C-2C1F-45C4-91A8-D0795828D43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2">
              <a:extLst>
                <a:ext uri="{FF2B5EF4-FFF2-40B4-BE49-F238E27FC236}">
                  <a16:creationId xmlns:a16="http://schemas.microsoft.com/office/drawing/2014/main" id="{DF128C2C-DC84-4CEA-9A9D-789B6E63019E}"/>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33">
              <a:extLst>
                <a:ext uri="{FF2B5EF4-FFF2-40B4-BE49-F238E27FC236}">
                  <a16:creationId xmlns:a16="http://schemas.microsoft.com/office/drawing/2014/main" id="{BAE12CD2-3E11-4F0F-B19E-2F0940596A11}"/>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34">
              <a:extLst>
                <a:ext uri="{FF2B5EF4-FFF2-40B4-BE49-F238E27FC236}">
                  <a16:creationId xmlns:a16="http://schemas.microsoft.com/office/drawing/2014/main" id="{B5662F93-41F9-4105-98BA-43A8EB550367}"/>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35">
              <a:extLst>
                <a:ext uri="{FF2B5EF4-FFF2-40B4-BE49-F238E27FC236}">
                  <a16:creationId xmlns:a16="http://schemas.microsoft.com/office/drawing/2014/main" id="{1053BBA2-5FAE-47C7-900C-8719C85D0FB9}"/>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36">
              <a:extLst>
                <a:ext uri="{FF2B5EF4-FFF2-40B4-BE49-F238E27FC236}">
                  <a16:creationId xmlns:a16="http://schemas.microsoft.com/office/drawing/2014/main" id="{69DE2FF7-12EF-4D1F-86E4-4CC5A815A995}"/>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37">
              <a:extLst>
                <a:ext uri="{FF2B5EF4-FFF2-40B4-BE49-F238E27FC236}">
                  <a16:creationId xmlns:a16="http://schemas.microsoft.com/office/drawing/2014/main" id="{A4516914-CA23-427F-885C-8446EF92C676}"/>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38">
              <a:extLst>
                <a:ext uri="{FF2B5EF4-FFF2-40B4-BE49-F238E27FC236}">
                  <a16:creationId xmlns:a16="http://schemas.microsoft.com/office/drawing/2014/main" id="{4488B88E-D539-464E-90FC-205A63FEC49C}"/>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39">
              <a:extLst>
                <a:ext uri="{FF2B5EF4-FFF2-40B4-BE49-F238E27FC236}">
                  <a16:creationId xmlns:a16="http://schemas.microsoft.com/office/drawing/2014/main" id="{EB4E4146-9F64-474A-BE49-19D38DEB20B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0">
              <a:extLst>
                <a:ext uri="{FF2B5EF4-FFF2-40B4-BE49-F238E27FC236}">
                  <a16:creationId xmlns:a16="http://schemas.microsoft.com/office/drawing/2014/main" id="{59A9C892-B4AA-40A8-A563-1DD79171F1F1}"/>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1">
              <a:extLst>
                <a:ext uri="{FF2B5EF4-FFF2-40B4-BE49-F238E27FC236}">
                  <a16:creationId xmlns:a16="http://schemas.microsoft.com/office/drawing/2014/main" id="{9229C756-42BF-490B-98AC-36D52EBEEC2E}"/>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2">
              <a:extLst>
                <a:ext uri="{FF2B5EF4-FFF2-40B4-BE49-F238E27FC236}">
                  <a16:creationId xmlns:a16="http://schemas.microsoft.com/office/drawing/2014/main" id="{FA6C7F13-BE77-4FA1-9ED9-D27C77A6587E}"/>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43">
              <a:extLst>
                <a:ext uri="{FF2B5EF4-FFF2-40B4-BE49-F238E27FC236}">
                  <a16:creationId xmlns:a16="http://schemas.microsoft.com/office/drawing/2014/main" id="{54F13C5B-273C-4B4B-B50A-2E89FF506390}"/>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44">
              <a:extLst>
                <a:ext uri="{FF2B5EF4-FFF2-40B4-BE49-F238E27FC236}">
                  <a16:creationId xmlns:a16="http://schemas.microsoft.com/office/drawing/2014/main" id="{7D3FA7C6-BEEA-43B2-B8D0-4DCFEDA199B2}"/>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45">
              <a:extLst>
                <a:ext uri="{FF2B5EF4-FFF2-40B4-BE49-F238E27FC236}">
                  <a16:creationId xmlns:a16="http://schemas.microsoft.com/office/drawing/2014/main" id="{DC8C09B9-D05D-4A26-9837-3DC115B4BDE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46">
              <a:extLst>
                <a:ext uri="{FF2B5EF4-FFF2-40B4-BE49-F238E27FC236}">
                  <a16:creationId xmlns:a16="http://schemas.microsoft.com/office/drawing/2014/main" id="{F9D9124B-B279-47D1-A888-A89B8F98AC32}"/>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47">
              <a:extLst>
                <a:ext uri="{FF2B5EF4-FFF2-40B4-BE49-F238E27FC236}">
                  <a16:creationId xmlns:a16="http://schemas.microsoft.com/office/drawing/2014/main" id="{01C2C304-C982-4B24-93B1-E05CDB0E4A6D}"/>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48">
              <a:extLst>
                <a:ext uri="{FF2B5EF4-FFF2-40B4-BE49-F238E27FC236}">
                  <a16:creationId xmlns:a16="http://schemas.microsoft.com/office/drawing/2014/main" id="{5C9BB7BE-DC48-48A2-88A5-ED16AFE8277D}"/>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49">
              <a:extLst>
                <a:ext uri="{FF2B5EF4-FFF2-40B4-BE49-F238E27FC236}">
                  <a16:creationId xmlns:a16="http://schemas.microsoft.com/office/drawing/2014/main" id="{D5B2E72F-1A92-4711-B22A-7DD4E94A19FF}"/>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0">
              <a:extLst>
                <a:ext uri="{FF2B5EF4-FFF2-40B4-BE49-F238E27FC236}">
                  <a16:creationId xmlns:a16="http://schemas.microsoft.com/office/drawing/2014/main" id="{2E238C31-7DB4-4D72-AC1E-B5987B976688}"/>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1">
              <a:extLst>
                <a:ext uri="{FF2B5EF4-FFF2-40B4-BE49-F238E27FC236}">
                  <a16:creationId xmlns:a16="http://schemas.microsoft.com/office/drawing/2014/main" id="{AF32EF44-E2EF-43D6-A3B5-D3E9CA8E13E2}"/>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2">
              <a:extLst>
                <a:ext uri="{FF2B5EF4-FFF2-40B4-BE49-F238E27FC236}">
                  <a16:creationId xmlns:a16="http://schemas.microsoft.com/office/drawing/2014/main" id="{A60359A7-4B87-4F26-B42A-64E85E8CF95E}"/>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53">
              <a:extLst>
                <a:ext uri="{FF2B5EF4-FFF2-40B4-BE49-F238E27FC236}">
                  <a16:creationId xmlns:a16="http://schemas.microsoft.com/office/drawing/2014/main" id="{7109B19B-F289-44A6-93E8-201AF591254C}"/>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54">
              <a:extLst>
                <a:ext uri="{FF2B5EF4-FFF2-40B4-BE49-F238E27FC236}">
                  <a16:creationId xmlns:a16="http://schemas.microsoft.com/office/drawing/2014/main" id="{0E71C130-9579-4886-AE19-E43987026983}"/>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55">
              <a:extLst>
                <a:ext uri="{FF2B5EF4-FFF2-40B4-BE49-F238E27FC236}">
                  <a16:creationId xmlns:a16="http://schemas.microsoft.com/office/drawing/2014/main" id="{DFE82A6F-692E-4D35-A5AF-4434C6994A4A}"/>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56">
              <a:extLst>
                <a:ext uri="{FF2B5EF4-FFF2-40B4-BE49-F238E27FC236}">
                  <a16:creationId xmlns:a16="http://schemas.microsoft.com/office/drawing/2014/main" id="{14100609-7BB9-40F4-A3D2-806A0A28ADB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57">
              <a:extLst>
                <a:ext uri="{FF2B5EF4-FFF2-40B4-BE49-F238E27FC236}">
                  <a16:creationId xmlns:a16="http://schemas.microsoft.com/office/drawing/2014/main" id="{9BA0D4A2-24C1-4156-9DE4-EBD054488C23}"/>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58">
              <a:extLst>
                <a:ext uri="{FF2B5EF4-FFF2-40B4-BE49-F238E27FC236}">
                  <a16:creationId xmlns:a16="http://schemas.microsoft.com/office/drawing/2014/main" id="{2E74F2EB-0C2A-4083-8478-2B8763B2BFF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59">
              <a:extLst>
                <a:ext uri="{FF2B5EF4-FFF2-40B4-BE49-F238E27FC236}">
                  <a16:creationId xmlns:a16="http://schemas.microsoft.com/office/drawing/2014/main" id="{6FD7E3D3-02E2-4E8C-A11F-97395DCFFA09}"/>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0">
              <a:extLst>
                <a:ext uri="{FF2B5EF4-FFF2-40B4-BE49-F238E27FC236}">
                  <a16:creationId xmlns:a16="http://schemas.microsoft.com/office/drawing/2014/main" id="{3618CB0F-1A4A-4B0B-AB0C-AD304D4456E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61">
              <a:extLst>
                <a:ext uri="{FF2B5EF4-FFF2-40B4-BE49-F238E27FC236}">
                  <a16:creationId xmlns:a16="http://schemas.microsoft.com/office/drawing/2014/main" id="{A2FA7825-71F6-4968-8CEE-AB4392C6BA02}"/>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62">
              <a:extLst>
                <a:ext uri="{FF2B5EF4-FFF2-40B4-BE49-F238E27FC236}">
                  <a16:creationId xmlns:a16="http://schemas.microsoft.com/office/drawing/2014/main" id="{F799E696-2E02-45AF-977E-566965D1868A}"/>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63">
              <a:extLst>
                <a:ext uri="{FF2B5EF4-FFF2-40B4-BE49-F238E27FC236}">
                  <a16:creationId xmlns:a16="http://schemas.microsoft.com/office/drawing/2014/main" id="{B0A8226E-0006-4B1C-9FB3-CB820DBC5357}"/>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64">
              <a:extLst>
                <a:ext uri="{FF2B5EF4-FFF2-40B4-BE49-F238E27FC236}">
                  <a16:creationId xmlns:a16="http://schemas.microsoft.com/office/drawing/2014/main" id="{4FAC8AF3-CEFE-47D3-A8D8-E90726237265}"/>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65">
              <a:extLst>
                <a:ext uri="{FF2B5EF4-FFF2-40B4-BE49-F238E27FC236}">
                  <a16:creationId xmlns:a16="http://schemas.microsoft.com/office/drawing/2014/main" id="{70AA634A-4523-4CBB-93DD-0143318AFBA0}"/>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66">
              <a:extLst>
                <a:ext uri="{FF2B5EF4-FFF2-40B4-BE49-F238E27FC236}">
                  <a16:creationId xmlns:a16="http://schemas.microsoft.com/office/drawing/2014/main" id="{38C31E7E-89A4-4129-A83A-7A416F98E533}"/>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67">
              <a:extLst>
                <a:ext uri="{FF2B5EF4-FFF2-40B4-BE49-F238E27FC236}">
                  <a16:creationId xmlns:a16="http://schemas.microsoft.com/office/drawing/2014/main" id="{98A6BB91-610C-4EE3-A3E2-43CD6A3D6DC4}"/>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68">
              <a:extLst>
                <a:ext uri="{FF2B5EF4-FFF2-40B4-BE49-F238E27FC236}">
                  <a16:creationId xmlns:a16="http://schemas.microsoft.com/office/drawing/2014/main" id="{88089C3A-918E-47B4-9FB4-56A9CE15D8A1}"/>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69">
              <a:extLst>
                <a:ext uri="{FF2B5EF4-FFF2-40B4-BE49-F238E27FC236}">
                  <a16:creationId xmlns:a16="http://schemas.microsoft.com/office/drawing/2014/main" id="{D5F389F5-A675-4D1C-B311-50A2513EF626}"/>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70">
              <a:extLst>
                <a:ext uri="{FF2B5EF4-FFF2-40B4-BE49-F238E27FC236}">
                  <a16:creationId xmlns:a16="http://schemas.microsoft.com/office/drawing/2014/main" id="{EB3C9934-E7F2-4C6E-925B-8BAF1A31D4A3}"/>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71">
              <a:extLst>
                <a:ext uri="{FF2B5EF4-FFF2-40B4-BE49-F238E27FC236}">
                  <a16:creationId xmlns:a16="http://schemas.microsoft.com/office/drawing/2014/main" id="{CDA15C54-94C3-4F30-9AC1-E8DD51907B63}"/>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73">
              <a:extLst>
                <a:ext uri="{FF2B5EF4-FFF2-40B4-BE49-F238E27FC236}">
                  <a16:creationId xmlns:a16="http://schemas.microsoft.com/office/drawing/2014/main" id="{604B7C8C-5C2D-412C-B3C6-F909D2BD4B3B}"/>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74">
              <a:extLst>
                <a:ext uri="{FF2B5EF4-FFF2-40B4-BE49-F238E27FC236}">
                  <a16:creationId xmlns:a16="http://schemas.microsoft.com/office/drawing/2014/main" id="{92707423-2BCB-4B9A-85CE-095CC861D37A}"/>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75">
              <a:extLst>
                <a:ext uri="{FF2B5EF4-FFF2-40B4-BE49-F238E27FC236}">
                  <a16:creationId xmlns:a16="http://schemas.microsoft.com/office/drawing/2014/main" id="{1D667B2E-D8E1-4DFD-9DDF-FF17892B7A78}"/>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76">
              <a:extLst>
                <a:ext uri="{FF2B5EF4-FFF2-40B4-BE49-F238E27FC236}">
                  <a16:creationId xmlns:a16="http://schemas.microsoft.com/office/drawing/2014/main" id="{9FA77E99-9CDC-4D3D-B401-A133DBD40227}"/>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77">
              <a:extLst>
                <a:ext uri="{FF2B5EF4-FFF2-40B4-BE49-F238E27FC236}">
                  <a16:creationId xmlns:a16="http://schemas.microsoft.com/office/drawing/2014/main" id="{B9AA8620-280C-48FD-92A2-163297E3AAC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78">
              <a:extLst>
                <a:ext uri="{FF2B5EF4-FFF2-40B4-BE49-F238E27FC236}">
                  <a16:creationId xmlns:a16="http://schemas.microsoft.com/office/drawing/2014/main" id="{D7DC62DB-C91F-441E-A703-6B101C2CF4EA}"/>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6" name="Line 79">
              <a:extLst>
                <a:ext uri="{FF2B5EF4-FFF2-40B4-BE49-F238E27FC236}">
                  <a16:creationId xmlns:a16="http://schemas.microsoft.com/office/drawing/2014/main" id="{2FA5FA27-6377-4E14-8C01-EFEA62178001}"/>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7" name="Line 80">
              <a:extLst>
                <a:ext uri="{FF2B5EF4-FFF2-40B4-BE49-F238E27FC236}">
                  <a16:creationId xmlns:a16="http://schemas.microsoft.com/office/drawing/2014/main" id="{5DC9DA0C-3F87-4F0E-A940-CB12A62712A5}"/>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8" name="Line 81">
              <a:extLst>
                <a:ext uri="{FF2B5EF4-FFF2-40B4-BE49-F238E27FC236}">
                  <a16:creationId xmlns:a16="http://schemas.microsoft.com/office/drawing/2014/main" id="{E3947F21-7248-4417-AD30-BB7C81A40084}"/>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9" name="Line 82">
              <a:extLst>
                <a:ext uri="{FF2B5EF4-FFF2-40B4-BE49-F238E27FC236}">
                  <a16:creationId xmlns:a16="http://schemas.microsoft.com/office/drawing/2014/main" id="{889C332D-3029-44CD-8490-B21BA6A42AB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0" name="Line 83">
              <a:extLst>
                <a:ext uri="{FF2B5EF4-FFF2-40B4-BE49-F238E27FC236}">
                  <a16:creationId xmlns:a16="http://schemas.microsoft.com/office/drawing/2014/main" id="{FF0D06C0-ECF1-45EB-A940-44E1FB5A4D58}"/>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1" name="Line 85">
              <a:extLst>
                <a:ext uri="{FF2B5EF4-FFF2-40B4-BE49-F238E27FC236}">
                  <a16:creationId xmlns:a16="http://schemas.microsoft.com/office/drawing/2014/main" id="{3C62133F-6987-4E09-A288-453A3AA9729A}"/>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2" name="Line 86">
              <a:extLst>
                <a:ext uri="{FF2B5EF4-FFF2-40B4-BE49-F238E27FC236}">
                  <a16:creationId xmlns:a16="http://schemas.microsoft.com/office/drawing/2014/main" id="{2A8CBD82-C929-4062-BF31-B88117798E06}"/>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3" name="Line 87">
              <a:extLst>
                <a:ext uri="{FF2B5EF4-FFF2-40B4-BE49-F238E27FC236}">
                  <a16:creationId xmlns:a16="http://schemas.microsoft.com/office/drawing/2014/main" id="{5C7B05FB-6DD9-434C-BAF1-F951E9A2B0A1}"/>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4" name="Line 88">
              <a:extLst>
                <a:ext uri="{FF2B5EF4-FFF2-40B4-BE49-F238E27FC236}">
                  <a16:creationId xmlns:a16="http://schemas.microsoft.com/office/drawing/2014/main" id="{FD7077EC-87F8-43A5-ABC2-FC35A28F1E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5" name="Line 89">
              <a:extLst>
                <a:ext uri="{FF2B5EF4-FFF2-40B4-BE49-F238E27FC236}">
                  <a16:creationId xmlns:a16="http://schemas.microsoft.com/office/drawing/2014/main" id="{F530EE20-DB07-4434-AE75-D671A09575B6}"/>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6" name="Line 90">
              <a:extLst>
                <a:ext uri="{FF2B5EF4-FFF2-40B4-BE49-F238E27FC236}">
                  <a16:creationId xmlns:a16="http://schemas.microsoft.com/office/drawing/2014/main" id="{185EDF36-FFD0-4828-B5D4-0370C14676CD}"/>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7" name="Line 91">
              <a:extLst>
                <a:ext uri="{FF2B5EF4-FFF2-40B4-BE49-F238E27FC236}">
                  <a16:creationId xmlns:a16="http://schemas.microsoft.com/office/drawing/2014/main" id="{571FC727-1FFB-4540-93A0-AAE67F5A276C}"/>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8" name="Line 92">
              <a:extLst>
                <a:ext uri="{FF2B5EF4-FFF2-40B4-BE49-F238E27FC236}">
                  <a16:creationId xmlns:a16="http://schemas.microsoft.com/office/drawing/2014/main" id="{793D7673-14CC-483F-846F-82050428F643}"/>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9" name="Line 93">
              <a:extLst>
                <a:ext uri="{FF2B5EF4-FFF2-40B4-BE49-F238E27FC236}">
                  <a16:creationId xmlns:a16="http://schemas.microsoft.com/office/drawing/2014/main" id="{578E0ED5-F9FF-49EC-B9CA-DEF7EED2DF5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0" name="Line 94">
              <a:extLst>
                <a:ext uri="{FF2B5EF4-FFF2-40B4-BE49-F238E27FC236}">
                  <a16:creationId xmlns:a16="http://schemas.microsoft.com/office/drawing/2014/main" id="{643ADAFC-4370-4FE3-980C-AF8C2BCF5BA0}"/>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1" name="Line 95">
              <a:extLst>
                <a:ext uri="{FF2B5EF4-FFF2-40B4-BE49-F238E27FC236}">
                  <a16:creationId xmlns:a16="http://schemas.microsoft.com/office/drawing/2014/main" id="{A44131FC-D7ED-4F40-A740-BC675C478D02}"/>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2" name="Line 96">
              <a:extLst>
                <a:ext uri="{FF2B5EF4-FFF2-40B4-BE49-F238E27FC236}">
                  <a16:creationId xmlns:a16="http://schemas.microsoft.com/office/drawing/2014/main" id="{A0C97284-E9C0-45ED-B183-BF1E247BD7BF}"/>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3" name="Line 97">
              <a:extLst>
                <a:ext uri="{FF2B5EF4-FFF2-40B4-BE49-F238E27FC236}">
                  <a16:creationId xmlns:a16="http://schemas.microsoft.com/office/drawing/2014/main" id="{F8AD6D93-78C2-4380-9155-64249828CDD5}"/>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4" name="Line 98">
              <a:extLst>
                <a:ext uri="{FF2B5EF4-FFF2-40B4-BE49-F238E27FC236}">
                  <a16:creationId xmlns:a16="http://schemas.microsoft.com/office/drawing/2014/main" id="{7B9D3534-F852-4DE9-B766-E2C1A4829477}"/>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5" name="Line 99">
              <a:extLst>
                <a:ext uri="{FF2B5EF4-FFF2-40B4-BE49-F238E27FC236}">
                  <a16:creationId xmlns:a16="http://schemas.microsoft.com/office/drawing/2014/main" id="{BB8F33A3-6506-4555-91B7-F8BAB57BB21B}"/>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6" name="Line 100">
              <a:extLst>
                <a:ext uri="{FF2B5EF4-FFF2-40B4-BE49-F238E27FC236}">
                  <a16:creationId xmlns:a16="http://schemas.microsoft.com/office/drawing/2014/main" id="{540DB7D2-AFA9-4804-8DBA-22CE6C778575}"/>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17" name="Oval 116">
            <a:extLst>
              <a:ext uri="{FF2B5EF4-FFF2-40B4-BE49-F238E27FC236}">
                <a16:creationId xmlns:a16="http://schemas.microsoft.com/office/drawing/2014/main" id="{C2E78ACB-27C6-43D4-A12A-AE15588B46BF}"/>
              </a:ext>
              <a:ext uri="{C183D7F6-B498-43B3-948B-1728B52AA6E4}">
                <adec:decorative xmlns:adec="http://schemas.microsoft.com/office/drawing/2017/decorative" val="1"/>
              </a:ext>
            </a:extLst>
          </p:cNvPr>
          <p:cNvSpPr/>
          <p:nvPr userDrawn="1"/>
        </p:nvSpPr>
        <p:spPr bwMode="auto">
          <a:xfrm rot="10800000">
            <a:off x="10182870" y="6517874"/>
            <a:ext cx="139892" cy="1398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4751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56"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flip="none" rotWithShape="1">
                  <a:gsLst>
                    <a:gs pos="82000">
                      <a:schemeClr val="bg1"/>
                    </a:gs>
                    <a:gs pos="0">
                      <a:schemeClr val="bg1"/>
                    </a:gs>
                  </a:gsLst>
                  <a:lin ang="2700000" scaled="1"/>
                  <a:tileRect/>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553739600"/>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1"/>
            <a:ext cx="12434888"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1"/>
            <a:ext cx="5782223" cy="6994525"/>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56"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605819" y="2386365"/>
            <a:ext cx="3730467" cy="2057515"/>
          </a:xfrm>
        </p:spPr>
        <p:txBody>
          <a:bodyPr>
            <a:noAutofit/>
          </a:bodyPr>
          <a:lstStyle>
            <a:lvl1pPr marL="0" indent="0">
              <a:lnSpc>
                <a:spcPct val="110000"/>
              </a:lnSpc>
              <a:spcBef>
                <a:spcPts val="0"/>
              </a:spcBef>
              <a:spcAft>
                <a:spcPts val="1224"/>
              </a:spcAft>
              <a:buNone/>
              <a:defRPr sz="1224">
                <a:gradFill>
                  <a:gsLst>
                    <a:gs pos="100000">
                      <a:schemeClr val="tx1"/>
                    </a:gs>
                    <a:gs pos="0">
                      <a:schemeClr val="tx1"/>
                    </a:gs>
                  </a:gsLst>
                  <a:lin ang="5400000" scaled="0"/>
                </a:gradFill>
                <a:latin typeface="+mj-lt"/>
              </a:defRPr>
            </a:lvl1pPr>
            <a:lvl2pPr marL="233081" indent="0">
              <a:buNone/>
              <a:defRPr sz="1224">
                <a:gradFill flip="none" rotWithShape="1">
                  <a:gsLst>
                    <a:gs pos="82000">
                      <a:schemeClr val="bg1"/>
                    </a:gs>
                    <a:gs pos="0">
                      <a:schemeClr val="bg1"/>
                    </a:gs>
                  </a:gsLst>
                  <a:lin ang="2700000" scaled="1"/>
                  <a:tileRect/>
                </a:gradFill>
                <a:latin typeface="+mj-lt"/>
              </a:defRPr>
            </a:lvl2pPr>
            <a:lvl3pPr marL="466162" indent="0">
              <a:buNone/>
              <a:defRPr sz="1224">
                <a:gradFill flip="none" rotWithShape="1">
                  <a:gsLst>
                    <a:gs pos="82000">
                      <a:schemeClr val="bg1"/>
                    </a:gs>
                    <a:gs pos="0">
                      <a:schemeClr val="bg1"/>
                    </a:gs>
                  </a:gsLst>
                  <a:lin ang="2700000" scaled="1"/>
                  <a:tileRect/>
                </a:gradFill>
                <a:latin typeface="+mj-lt"/>
              </a:defRPr>
            </a:lvl3pPr>
            <a:lvl4pPr marL="674964" indent="0">
              <a:buNone/>
              <a:defRPr sz="1224">
                <a:gradFill flip="none" rotWithShape="1">
                  <a:gsLst>
                    <a:gs pos="82000">
                      <a:schemeClr val="bg1"/>
                    </a:gs>
                    <a:gs pos="0">
                      <a:schemeClr val="bg1"/>
                    </a:gs>
                  </a:gsLst>
                  <a:lin ang="2700000" scaled="1"/>
                  <a:tileRect/>
                </a:gradFill>
                <a:latin typeface="+mj-lt"/>
              </a:defRPr>
            </a:lvl4pPr>
            <a:lvl5pPr marL="872436" indent="0">
              <a:buNone/>
              <a:defRPr sz="1224">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760649656"/>
      </p:ext>
    </p:extLst>
  </p:cSld>
  <p:clrMapOvr>
    <a:masterClrMapping/>
  </p:clrMapOvr>
  <p:transition>
    <p:fade/>
  </p:transition>
  <p:extLst>
    <p:ext uri="{DCECCB84-F9BA-43D5-87BE-67443E8EF086}">
      <p15:sldGuideLst xmlns:p15="http://schemas.microsoft.com/office/powerpoint/2012/main">
        <p15:guide id="7" pos="3576" userDrawn="1">
          <p15:clr>
            <a:srgbClr val="5ACBF0"/>
          </p15:clr>
        </p15:guide>
        <p15:guide id="8" orient="horz" pos="2160" userDrawn="1">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95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23892"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277390"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40257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255241" y="1741995"/>
            <a:ext cx="3880110" cy="2313508"/>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381250" y="1864532"/>
            <a:ext cx="3643461" cy="2049418"/>
          </a:xfrm>
          <a:solidFill>
            <a:srgbClr val="E6E6E6"/>
          </a:solidFill>
        </p:spPr>
        <p:txBody>
          <a:bodyPr lIns="0" tIns="0" bIns="182880" anchor="ctr" anchorCtr="0">
            <a:noAutofit/>
          </a:bodyPr>
          <a:lstStyle>
            <a:lvl1pPr marL="0" indent="0" algn="ctr">
              <a:buNone/>
              <a:defRPr sz="1632">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84150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240942" y="1465289"/>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93312" y="1749259"/>
            <a:ext cx="7420597" cy="3286800"/>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856992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964813" y="509181"/>
            <a:ext cx="7953004" cy="4741964"/>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217445" y="745099"/>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99984" y="1866103"/>
            <a:ext cx="4492932" cy="1130053"/>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5036059"/>
            <a:ext cx="12434888" cy="19584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73491"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452170"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430849" y="5461149"/>
            <a:ext cx="3544267" cy="251123"/>
          </a:xfrm>
        </p:spPr>
        <p:txBody>
          <a:bodyPr anchor="t" anchorCtr="0"/>
          <a:lstStyle>
            <a:lvl1pPr marL="0" indent="0" algn="ctr">
              <a:spcBef>
                <a:spcPts val="0"/>
              </a:spcBef>
              <a:buNone/>
              <a:defRPr sz="1632">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868564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userDrawn="1">
          <p15:clr>
            <a:srgbClr val="FBAE40"/>
          </p15:clr>
        </p15:guide>
        <p15:guide id="2" pos="6125" userDrawn="1">
          <p15:clr>
            <a:srgbClr val="5ACBF0"/>
          </p15:clr>
        </p15:guide>
        <p15:guide id="3" orient="horz" pos="1911"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0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240942" y="1465289"/>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93312" y="1749260"/>
            <a:ext cx="7420597" cy="4174027"/>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27573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0"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95840" y="1465289"/>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5588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96877" y="2480215"/>
            <a:ext cx="4243405" cy="1017048"/>
          </a:xfrm>
          <a:noFill/>
        </p:spPr>
        <p:txBody>
          <a:bodyPr wrap="square" lIns="0" tIns="0" rIns="0" bIns="0" anchor="b" anchorCtr="0">
            <a:spAutoFit/>
          </a:bodyPr>
          <a:lstStyle>
            <a:lvl1pPr algn="l" defTabSz="951026" rtl="0" eaLnBrk="1" latinLnBrk="0" hangingPunct="1">
              <a:lnSpc>
                <a:spcPct val="90000"/>
              </a:lnSpc>
              <a:spcBef>
                <a:spcPct val="0"/>
              </a:spcBef>
              <a:buNone/>
              <a:defRPr lang="en-US" sz="3672" b="0" kern="1200" cap="none" spc="-51"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96877" y="3951631"/>
            <a:ext cx="4243405"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964813" y="1363920"/>
            <a:ext cx="7953004" cy="474196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217445" y="1589917"/>
            <a:ext cx="6217444" cy="4289974"/>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20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5734650" y="1705789"/>
            <a:ext cx="6009158" cy="3582949"/>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marL="0" marR="0" lvl="0" indent="0" algn="ctr" defTabSz="95075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5935791" y="1920351"/>
            <a:ext cx="5606879" cy="3153825"/>
          </a:xfrm>
          <a:solidFill>
            <a:srgbClr val="E6E6E6"/>
          </a:solidFill>
        </p:spPr>
        <p:txBody>
          <a:bodyPr lIns="0" tIns="0" bIns="1463040" anchor="ctr" anchorCtr="0">
            <a:noAutofit/>
          </a:bodyPr>
          <a:lstStyle>
            <a:lvl1pPr marL="0" indent="0" algn="ctr">
              <a:buNone/>
              <a:defRPr sz="1836">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95840" y="1705788"/>
            <a:ext cx="4808804" cy="1255614"/>
          </a:xfrm>
        </p:spPr>
        <p:txBody>
          <a:bodyPr wrap="square">
            <a:spAutoFit/>
          </a:bodyPr>
          <a:lstStyle>
            <a:lvl1pPr marL="0" indent="0">
              <a:spcBef>
                <a:spcPts val="1247"/>
              </a:spcBef>
              <a:buClr>
                <a:schemeClr val="tx1"/>
              </a:buClr>
              <a:buFont typeface="Wingdings" panose="05000000000000000000" pitchFamily="2" charset="2"/>
              <a:buNone/>
              <a:defRPr sz="2040" b="0">
                <a:latin typeface="+mn-lt"/>
                <a:cs typeface="Segoe UI" panose="020B0502040204020203" pitchFamily="34" charset="0"/>
              </a:defRPr>
            </a:lvl1pPr>
            <a:lvl2pPr marL="260598" indent="0">
              <a:buFont typeface="Wingdings" panose="05000000000000000000" pitchFamily="2" charset="2"/>
              <a:buNone/>
              <a:defRPr sz="1632" b="0">
                <a:latin typeface="+mn-lt"/>
              </a:defRPr>
            </a:lvl2pPr>
            <a:lvl3pPr marL="459688" indent="0">
              <a:buFont typeface="Wingdings" panose="05000000000000000000" pitchFamily="2" charset="2"/>
              <a:buNone/>
              <a:tabLst/>
              <a:defRPr sz="1224" b="0">
                <a:latin typeface="+mn-lt"/>
              </a:defRPr>
            </a:lvl3pPr>
            <a:lvl4pPr marL="665252" indent="0">
              <a:buFont typeface="Wingdings" panose="05000000000000000000" pitchFamily="2" charset="2"/>
              <a:buNone/>
              <a:defRPr sz="1122" b="0">
                <a:latin typeface="+mn-lt"/>
              </a:defRPr>
            </a:lvl4pPr>
            <a:lvl5pPr marL="870817" indent="0">
              <a:buFont typeface="Wingdings" panose="05000000000000000000" pitchFamily="2" charset="2"/>
              <a:buNone/>
              <a:tabLst/>
              <a:defRPr sz="1122"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098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91"/>
            <a:ext cx="11238030" cy="1946203"/>
          </a:xfrm>
        </p:spPr>
        <p:txBody>
          <a:bodyPr/>
          <a:lstStyle>
            <a:lvl1pPr marL="0" indent="0">
              <a:buNone/>
              <a:defRPr sz="285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53346" indent="0">
              <a:buNone/>
              <a:defRPr sz="2448">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96066" indent="0">
              <a:buNone/>
              <a:defRPr sz="204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30531"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71599" indent="0">
              <a:buNone/>
              <a:defRPr sz="1836">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3794125"/>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99887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417549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05100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382669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41279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2"/>
            </a:solidFill>
          </a:ln>
        </p:spPr>
        <p:txBody>
          <a:bodyPr wrap="square" lIns="182880" tIns="182880" rIns="182880" bIns="182880" anchor="t" anchorCtr="0">
            <a:noAutofit/>
          </a:bodyPr>
          <a:lstStyle>
            <a:lvl1pPr marL="0" indent="0">
              <a:buNone/>
              <a:defRPr sz="1122">
                <a:gradFill flip="none" rotWithShape="1">
                  <a:gsLst>
                    <a:gs pos="82000">
                      <a:schemeClr val="accent1"/>
                    </a:gs>
                    <a:gs pos="0">
                      <a:schemeClr val="accent1"/>
                    </a:gs>
                  </a:gsLst>
                  <a:lin ang="2700000" scaled="1"/>
                  <a:tileRect/>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2"/>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flip="none" rotWithShape="1">
                  <a:gsLst>
                    <a:gs pos="82000">
                      <a:schemeClr val="accent1"/>
                    </a:gs>
                    <a:gs pos="0">
                      <a:schemeClr val="accent1"/>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flip="none" rotWithShape="1">
                  <a:gsLst>
                    <a:gs pos="82000">
                      <a:schemeClr val="accent1"/>
                    </a:gs>
                    <a:gs pos="0">
                      <a:schemeClr val="accent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3775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3"/>
            <a:ext cx="464434" cy="464427"/>
          </a:xfrm>
          <a:prstGeom prst="rect">
            <a:avLst/>
          </a:prstGeom>
        </p:spPr>
      </p:pic>
    </p:spTree>
    <p:extLst>
      <p:ext uri="{BB962C8B-B14F-4D97-AF65-F5344CB8AC3E}">
        <p14:creationId xmlns:p14="http://schemas.microsoft.com/office/powerpoint/2010/main" val="471456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948299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304095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02764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043243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5632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451172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566327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62810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1783564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3782" y="631372"/>
            <a:ext cx="464434" cy="464427"/>
          </a:xfrm>
          <a:prstGeom prst="rect">
            <a:avLst/>
          </a:prstGeom>
        </p:spPr>
      </p:pic>
    </p:spTree>
    <p:extLst>
      <p:ext uri="{BB962C8B-B14F-4D97-AF65-F5344CB8AC3E}">
        <p14:creationId xmlns:p14="http://schemas.microsoft.com/office/powerpoint/2010/main" val="358657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7672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68954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4262209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6069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83346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49976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566681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2022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8"/>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281246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1"/>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3746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602318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5"/>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7" y="4930172"/>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93568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6"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2"/>
            <a:ext cx="5315915"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377132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9" y="1463672"/>
            <a:ext cx="11238029" cy="439465"/>
          </a:xfrm>
        </p:spPr>
        <p:txBody>
          <a:bodyPr wrap="square">
            <a:spAutoFit/>
          </a:bodyPr>
          <a:lstStyle>
            <a:lvl1pPr marL="0" indent="0">
              <a:spcBef>
                <a:spcPts val="1247"/>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598" indent="0">
              <a:buFont typeface="Arial" panose="020B0604020202020204" pitchFamily="34" charset="0"/>
              <a:buNone/>
              <a:defRPr sz="2040" b="0"/>
            </a:lvl2pPr>
            <a:lvl3pPr marL="459688" indent="0">
              <a:buFont typeface="Arial" panose="020B0604020202020204" pitchFamily="34" charset="0"/>
              <a:buNone/>
              <a:tabLst/>
              <a:defRPr sz="1632" b="0"/>
            </a:lvl3pPr>
            <a:lvl4pPr marL="665252" indent="0">
              <a:buFont typeface="Arial" panose="020B0604020202020204" pitchFamily="34" charset="0"/>
              <a:buNone/>
              <a:defRPr sz="1428" b="0"/>
            </a:lvl4pPr>
            <a:lvl5pPr marL="870817"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255173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8"/>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3" y="2080209"/>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081" lvl="0" indent="-233081">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3"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081"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3"/>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3"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70" tIns="186470" rIns="186470" bIns="186470" rtlCol="0" anchor="b" anchorCtr="0">
            <a:noAutofit/>
          </a:bodyPr>
          <a:lstStyle/>
          <a:p>
            <a:pPr marR="0" lvl="0" indent="0" defTabSz="951026"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6" y="5172255"/>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6"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6" y="4423787"/>
            <a:ext cx="1865233"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6"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9" y="4423787"/>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9"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9" y="5172255"/>
            <a:ext cx="1398924" cy="254262"/>
          </a:xfrm>
          <a:prstGeom prst="rect">
            <a:avLst/>
          </a:prstGeom>
          <a:noFill/>
        </p:spPr>
        <p:txBody>
          <a:bodyPr vert="horz" wrap="square" lIns="0" tIns="46617" rIns="93235" bIns="46617"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9"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9"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9" y="5963108"/>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081" indent="0">
              <a:buNone/>
              <a:defRPr>
                <a:gradFill flip="none" rotWithShape="1">
                  <a:gsLst>
                    <a:gs pos="82000">
                      <a:schemeClr val="bg1"/>
                    </a:gs>
                    <a:gs pos="0">
                      <a:schemeClr val="bg1"/>
                    </a:gs>
                  </a:gsLst>
                  <a:lin ang="2700000" scaled="1"/>
                  <a:tileRect/>
                </a:gradFill>
              </a:defRPr>
            </a:lvl2pPr>
            <a:lvl3pPr marL="466162" indent="0">
              <a:buNone/>
              <a:defRPr>
                <a:gradFill flip="none" rotWithShape="1">
                  <a:gsLst>
                    <a:gs pos="82000">
                      <a:schemeClr val="bg1"/>
                    </a:gs>
                    <a:gs pos="0">
                      <a:schemeClr val="bg1"/>
                    </a:gs>
                  </a:gsLst>
                  <a:lin ang="2700000" scaled="1"/>
                  <a:tileRect/>
                </a:gradFill>
              </a:defRPr>
            </a:lvl3pPr>
            <a:lvl4pPr marL="674964" indent="0">
              <a:buNone/>
              <a:defRPr>
                <a:gradFill flip="none" rotWithShape="1">
                  <a:gsLst>
                    <a:gs pos="82000">
                      <a:schemeClr val="bg1"/>
                    </a:gs>
                    <a:gs pos="0">
                      <a:schemeClr val="bg1"/>
                    </a:gs>
                  </a:gsLst>
                  <a:lin ang="2700000" scaled="1"/>
                  <a:tileRect/>
                </a:gradFill>
              </a:defRPr>
            </a:lvl4pPr>
            <a:lvl5pPr marL="872436"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609446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8056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5"/>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751"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346519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565"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2"/>
            <a:ext cx="3129447" cy="298433"/>
          </a:xfrm>
          <a:prstGeom prst="rect">
            <a:avLst/>
          </a:prstGeom>
        </p:spPr>
      </p:pic>
    </p:spTree>
    <p:extLst>
      <p:ext uri="{BB962C8B-B14F-4D97-AF65-F5344CB8AC3E}">
        <p14:creationId xmlns:p14="http://schemas.microsoft.com/office/powerpoint/2010/main" val="1570116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928337"/>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87E63E9-A049-4B7E-B301-CA7FC7291D01}"/>
              </a:ext>
            </a:extLst>
          </p:cNvPr>
          <p:cNvPicPr>
            <a:picLocks noChangeAspect="1"/>
          </p:cNvPicPr>
          <p:nvPr userDrawn="1"/>
        </p:nvPicPr>
        <p:blipFill rotWithShape="1">
          <a:blip r:embed="rId2"/>
          <a:srcRect r="11678"/>
          <a:stretch/>
        </p:blipFill>
        <p:spPr>
          <a:xfrm>
            <a:off x="5244462" y="754264"/>
            <a:ext cx="7190427" cy="5726707"/>
          </a:xfrm>
          <a:prstGeom prst="rect">
            <a:avLst/>
          </a:prstGeom>
        </p:spPr>
      </p:pic>
      <p:sp>
        <p:nvSpPr>
          <p:cNvPr id="9" name="Title 1"/>
          <p:cNvSpPr>
            <a:spLocks noGrp="1"/>
          </p:cNvSpPr>
          <p:nvPr>
            <p:ph type="title" hasCustomPrompt="1"/>
          </p:nvPr>
        </p:nvSpPr>
        <p:spPr>
          <a:xfrm>
            <a:off x="595838" y="2474072"/>
            <a:ext cx="5260417" cy="1130053"/>
          </a:xfrm>
          <a:noFill/>
        </p:spPr>
        <p:txBody>
          <a:bodyPr wrap="square"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1"/>
            <a:ext cx="5260417" cy="345294"/>
          </a:xfrm>
          <a:noFill/>
        </p:spPr>
        <p:txBody>
          <a:bodyPr wrap="square" lIns="0" tIns="0" rIns="0" bIns="0">
            <a:spAutoFit/>
          </a:bodyPr>
          <a:lstStyle>
            <a:lvl1pPr marL="0" indent="0">
              <a:spcBef>
                <a:spcPts val="0"/>
              </a:spcBef>
              <a:buNone/>
              <a:defRPr sz="2244" spc="0" baseline="0">
                <a:gradFill>
                  <a:gsLst>
                    <a:gs pos="0">
                      <a:schemeClr val="tx1"/>
                    </a:gs>
                    <a:gs pos="100000">
                      <a:schemeClr val="tx1"/>
                    </a:gs>
                  </a:gsLst>
                  <a:lin ang="5400000" scaled="1"/>
                </a:gra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912514F0-1D0F-D648-A778-D69EBECC7E50}"/>
              </a:ext>
            </a:extLst>
          </p:cNvPr>
          <p:cNvCxnSpPr>
            <a:cxnSpLocks/>
          </p:cNvCxnSpPr>
          <p:nvPr userDrawn="1"/>
        </p:nvCxnSpPr>
        <p:spPr>
          <a:xfrm>
            <a:off x="2264857" y="453924"/>
            <a:ext cx="0" cy="57123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CF75E99F-26AB-574E-ABE5-45483F275B8C}"/>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2616357" y="515023"/>
            <a:ext cx="434086" cy="434141"/>
          </a:xfrm>
          <a:prstGeom prst="rect">
            <a:avLst/>
          </a:prstGeom>
          <a:noFill/>
          <a:extLst>
            <a:ext uri="{909E8E84-426E-40DD-AFC4-6F175D3DCCD1}">
              <a14:hiddenFill xmlns:a14="http://schemas.microsoft.com/office/drawing/2010/main">
                <a:solidFill>
                  <a:srgbClr val="FFFFFF"/>
                </a:solidFill>
              </a14:hiddenFill>
            </a:ext>
          </a:extLst>
        </p:spPr>
      </p:pic>
      <p:pic>
        <p:nvPicPr>
          <p:cNvPr id="11" name="MS logo gray - EMF" descr="Microsoft logo, gray text version">
            <a:extLst>
              <a:ext uri="{FF2B5EF4-FFF2-40B4-BE49-F238E27FC236}">
                <a16:creationId xmlns:a16="http://schemas.microsoft.com/office/drawing/2014/main" id="{AF0B0B24-3255-904E-9106-E8030FD59FE9}"/>
              </a:ext>
            </a:extLst>
          </p:cNvPr>
          <p:cNvPicPr>
            <a:picLocks noChangeAspect="1"/>
          </p:cNvPicPr>
          <p:nvPr userDrawn="1"/>
        </p:nvPicPr>
        <p:blipFill>
          <a:blip r:embed="rId4"/>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6860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0" userDrawn="1">
          <p15:clr>
            <a:srgbClr val="5ACBF0"/>
          </p15:clr>
        </p15:guide>
        <p15:guide id="4" orient="horz" pos="2160" userDrawn="1">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7809" y="466302"/>
            <a:ext cx="11242861" cy="565027"/>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40" y="1463669"/>
            <a:ext cx="1124806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Tree>
    <p:extLst>
      <p:ext uri="{BB962C8B-B14F-4D97-AF65-F5344CB8AC3E}">
        <p14:creationId xmlns:p14="http://schemas.microsoft.com/office/powerpoint/2010/main" val="58470024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guide id="6" pos="5149"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27234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9" name="Rectangle 8">
            <a:hlinkClick r:id="rId3" action="ppaction://hlinksldjump"/>
            <a:extLst>
              <a:ext uri="{FF2B5EF4-FFF2-40B4-BE49-F238E27FC236}">
                <a16:creationId xmlns:a16="http://schemas.microsoft.com/office/drawing/2014/main" id="{946C478C-2B4E-DD4C-BC83-9CCC28E4DF5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18589146"/>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Center">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632843"/>
            <a:ext cx="11246449" cy="565027"/>
          </a:xfrm>
        </p:spPr>
        <p:txBody>
          <a:bodyPr/>
          <a:lstStyle>
            <a:lvl1pPr algn="ctr">
              <a:defRPr/>
            </a:lvl1pPr>
          </a:lstStyle>
          <a:p>
            <a:r>
              <a:rPr lang="en-US"/>
              <a:t>Click to edit Master title style</a:t>
            </a:r>
          </a:p>
        </p:txBody>
      </p:sp>
      <p:sp>
        <p:nvSpPr>
          <p:cNvPr id="6" name="Text Placeholder 5">
            <a:extLst>
              <a:ext uri="{FF2B5EF4-FFF2-40B4-BE49-F238E27FC236}">
                <a16:creationId xmlns:a16="http://schemas.microsoft.com/office/drawing/2014/main" id="{DA02F9E5-CB62-924A-BFA5-F90E7D6ED364}"/>
              </a:ext>
            </a:extLst>
          </p:cNvPr>
          <p:cNvSpPr>
            <a:spLocks noGrp="1"/>
          </p:cNvSpPr>
          <p:nvPr>
            <p:ph type="body" sz="quarter" idx="10"/>
          </p:nvPr>
        </p:nvSpPr>
        <p:spPr>
          <a:xfrm>
            <a:off x="599077" y="1312172"/>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402738581"/>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434876137"/>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ED94B9E7-E417-1242-93C3-E29A4C898AC0}"/>
              </a:ext>
            </a:extLst>
          </p:cNvPr>
          <p:cNvGrpSpPr/>
          <p:nvPr userDrawn="1"/>
        </p:nvGrpSpPr>
        <p:grpSpPr>
          <a:xfrm>
            <a:off x="3446242" y="732119"/>
            <a:ext cx="8895800" cy="5722883"/>
            <a:chOff x="3378926" y="717827"/>
            <a:chExt cx="8722040" cy="5611179"/>
          </a:xfrm>
        </p:grpSpPr>
        <p:sp>
          <p:nvSpPr>
            <p:cNvPr id="27" name="Rectangle 26">
              <a:extLst>
                <a:ext uri="{FF2B5EF4-FFF2-40B4-BE49-F238E27FC236}">
                  <a16:creationId xmlns:a16="http://schemas.microsoft.com/office/drawing/2014/main" id="{C481C596-E605-EE40-9AAD-B584AE94823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8" name="Picture 27">
              <a:extLst>
                <a:ext uri="{FF2B5EF4-FFF2-40B4-BE49-F238E27FC236}">
                  <a16:creationId xmlns:a16="http://schemas.microsoft.com/office/drawing/2014/main" id="{5FD62A5C-CEF4-F346-9BDD-A5F097004A4C}"/>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4"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5"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1" name="Text Placeholder 5">
            <a:extLst>
              <a:ext uri="{FF2B5EF4-FFF2-40B4-BE49-F238E27FC236}">
                <a16:creationId xmlns:a16="http://schemas.microsoft.com/office/drawing/2014/main" id="{664720FE-10AB-4C4C-8C0A-0EDF010B36EA}"/>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2" name="Picture Placeholder 9">
            <a:extLst>
              <a:ext uri="{FF2B5EF4-FFF2-40B4-BE49-F238E27FC236}">
                <a16:creationId xmlns:a16="http://schemas.microsoft.com/office/drawing/2014/main" id="{6500F9A9-40CB-A748-9302-235ED5A5B2C0}"/>
              </a:ext>
            </a:extLst>
          </p:cNvPr>
          <p:cNvSpPr>
            <a:spLocks noGrp="1"/>
          </p:cNvSpPr>
          <p:nvPr>
            <p:ph type="pic" sz="quarter" idx="12" hasCustomPrompt="1"/>
          </p:nvPr>
        </p:nvSpPr>
        <p:spPr>
          <a:xfrm>
            <a:off x="4119057" y="1502529"/>
            <a:ext cx="75719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6216134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Individual: PPT for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0805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owerPoint for data</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8" name="Rectangle 7">
            <a:hlinkClick r:id="rId3" action="ppaction://hlinksldjump"/>
            <a:extLst>
              <a:ext uri="{FF2B5EF4-FFF2-40B4-BE49-F238E27FC236}">
                <a16:creationId xmlns:a16="http://schemas.microsoft.com/office/drawing/2014/main" id="{9E854198-71AA-4E4B-B806-765A97887A5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40991940"/>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GIF)">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C443DA5-FD3B-5A43-A534-BEC40A029956}"/>
              </a:ext>
            </a:extLst>
          </p:cNvPr>
          <p:cNvGrpSpPr/>
          <p:nvPr userDrawn="1"/>
        </p:nvGrpSpPr>
        <p:grpSpPr>
          <a:xfrm>
            <a:off x="3446242" y="732119"/>
            <a:ext cx="8895800" cy="5722883"/>
            <a:chOff x="3378926" y="717827"/>
            <a:chExt cx="8722040" cy="5611179"/>
          </a:xfrm>
        </p:grpSpPr>
        <p:sp>
          <p:nvSpPr>
            <p:cNvPr id="26" name="Rectangle 25">
              <a:extLst>
                <a:ext uri="{FF2B5EF4-FFF2-40B4-BE49-F238E27FC236}">
                  <a16:creationId xmlns:a16="http://schemas.microsoft.com/office/drawing/2014/main" id="{3FBE1B4C-4E8A-A04D-9689-2140F013C03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7" name="Picture 26">
              <a:extLst>
                <a:ext uri="{FF2B5EF4-FFF2-40B4-BE49-F238E27FC236}">
                  <a16:creationId xmlns:a16="http://schemas.microsoft.com/office/drawing/2014/main" id="{B119DE0F-F2B9-6F43-8FCF-CDD2D2278F48}"/>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4"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5"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4" name="Text Placeholder 5">
            <a:extLst>
              <a:ext uri="{FF2B5EF4-FFF2-40B4-BE49-F238E27FC236}">
                <a16:creationId xmlns:a16="http://schemas.microsoft.com/office/drawing/2014/main" id="{B82A3978-F824-B545-BE74-B2C10DD5E00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5" name="Picture Placeholder 9">
            <a:extLst>
              <a:ext uri="{FF2B5EF4-FFF2-40B4-BE49-F238E27FC236}">
                <a16:creationId xmlns:a16="http://schemas.microsoft.com/office/drawing/2014/main" id="{173398F4-01E1-384A-9E3C-69660A4313DF}"/>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7041379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583676204"/>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Individual: Augmented analytics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8" y="160421"/>
            <a:ext cx="1850297" cy="310499"/>
            <a:chOff x="164128" y="157289"/>
            <a:chExt cx="1814155"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2171"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ugmented analytics</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0" y="2932237"/>
            <a:ext cx="4495200" cy="1130053"/>
          </a:xfrm>
        </p:spPr>
        <p:txBody>
          <a:bodyPr anchor="ctr"/>
          <a:lstStyle>
            <a:lvl1pPr algn="l">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C1AB6F95-B5F2-0745-A330-3FE54C991CA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939D6BE1-06CD-4047-A78C-8967A53A4F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4912767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71360952"/>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Individual: Insights on the move (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7" y="160421"/>
            <a:ext cx="1851932" cy="310499"/>
            <a:chOff x="164128" y="157289"/>
            <a:chExt cx="1815758"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373774"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individual</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1375377"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sights on the move</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Rectangle 17">
            <a:hlinkClick r:id="rId3" action="ppaction://hlinksldjump"/>
            <a:extLst>
              <a:ext uri="{FF2B5EF4-FFF2-40B4-BE49-F238E27FC236}">
                <a16:creationId xmlns:a16="http://schemas.microsoft.com/office/drawing/2014/main" id="{5F0E7DDB-AE18-624B-8778-654CBB93692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9" name="Rectangle 18">
            <a:hlinkClick r:id="rId4" action="ppaction://hlinksldjump"/>
            <a:extLst>
              <a:ext uri="{FF2B5EF4-FFF2-40B4-BE49-F238E27FC236}">
                <a16:creationId xmlns:a16="http://schemas.microsoft.com/office/drawing/2014/main" id="{EE65DBDC-3526-124E-9D71-66A9A85AFF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Title 2">
            <a:extLst>
              <a:ext uri="{FF2B5EF4-FFF2-40B4-BE49-F238E27FC236}">
                <a16:creationId xmlns:a16="http://schemas.microsoft.com/office/drawing/2014/main" id="{22BAD942-B6C2-964E-897D-D987E43FA38B}"/>
              </a:ext>
            </a:extLst>
          </p:cNvPr>
          <p:cNvSpPr>
            <a:spLocks noGrp="1"/>
          </p:cNvSpPr>
          <p:nvPr>
            <p:ph type="title"/>
          </p:nvPr>
        </p:nvSpPr>
        <p:spPr>
          <a:xfrm>
            <a:off x="594222" y="2954083"/>
            <a:ext cx="2887547" cy="878959"/>
          </a:xfrm>
        </p:spPr>
        <p:txBody>
          <a:bodyPr anchor="b"/>
          <a:lstStyle>
            <a:lvl1pPr algn="l">
              <a:defRPr sz="2856"/>
            </a:lvl1pPr>
          </a:lstStyle>
          <a:p>
            <a:r>
              <a:rPr lang="en-US"/>
              <a:t>Click to edit Master title style</a:t>
            </a:r>
          </a:p>
        </p:txBody>
      </p:sp>
      <p:sp>
        <p:nvSpPr>
          <p:cNvPr id="21" name="Text Placeholder 5">
            <a:extLst>
              <a:ext uri="{FF2B5EF4-FFF2-40B4-BE49-F238E27FC236}">
                <a16:creationId xmlns:a16="http://schemas.microsoft.com/office/drawing/2014/main" id="{DF0461B8-1601-E343-A49B-7992EA1D27A9}"/>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6885962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362219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486585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eam: Productivity (GIF)">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2A3F70C-57C4-0249-AC49-86167446B80E}"/>
              </a:ext>
            </a:extLst>
          </p:cNvPr>
          <p:cNvGrpSpPr/>
          <p:nvPr userDrawn="1"/>
        </p:nvGrpSpPr>
        <p:grpSpPr>
          <a:xfrm>
            <a:off x="3446242" y="732119"/>
            <a:ext cx="8895800" cy="5722883"/>
            <a:chOff x="3378926" y="717827"/>
            <a:chExt cx="8722040" cy="5611179"/>
          </a:xfrm>
        </p:grpSpPr>
        <p:sp>
          <p:nvSpPr>
            <p:cNvPr id="25" name="Rectangle 24">
              <a:extLst>
                <a:ext uri="{FF2B5EF4-FFF2-40B4-BE49-F238E27FC236}">
                  <a16:creationId xmlns:a16="http://schemas.microsoft.com/office/drawing/2014/main" id="{0604B5B0-120B-4944-9CE7-7A035A730413}"/>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12A41C04-6C72-0C45-B3BD-C2E9083E8AB5}"/>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4"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5"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2" name="Text Placeholder 5">
            <a:extLst>
              <a:ext uri="{FF2B5EF4-FFF2-40B4-BE49-F238E27FC236}">
                <a16:creationId xmlns:a16="http://schemas.microsoft.com/office/drawing/2014/main" id="{3FB1DC5C-0508-BA4D-90B6-30E164B7848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3" name="Picture Placeholder 9">
            <a:extLst>
              <a:ext uri="{FF2B5EF4-FFF2-40B4-BE49-F238E27FC236}">
                <a16:creationId xmlns:a16="http://schemas.microsoft.com/office/drawing/2014/main" id="{24B40957-4743-D044-ABC0-AFEE4B3A211D}"/>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502216558"/>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Team: Productiv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8" name="Rectangle 17">
            <a:hlinkClick r:id="rId4" action="ppaction://hlinksldjump"/>
            <a:extLst>
              <a:ext uri="{FF2B5EF4-FFF2-40B4-BE49-F238E27FC236}">
                <a16:creationId xmlns:a16="http://schemas.microsoft.com/office/drawing/2014/main" id="{0CAABA03-DC80-9B43-A42A-6439FABCCF8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3521607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Team: Productiv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783869"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Productivity</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8" name="Text Placeholder 5">
            <a:extLst>
              <a:ext uri="{FF2B5EF4-FFF2-40B4-BE49-F238E27FC236}">
                <a16:creationId xmlns:a16="http://schemas.microsoft.com/office/drawing/2014/main" id="{14C12FDB-0D1D-2D4E-92AD-F6E526CCE019}"/>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9" name="Rectangle 18">
            <a:hlinkClick r:id="rId3" action="ppaction://hlinksldjump"/>
            <a:extLst>
              <a:ext uri="{FF2B5EF4-FFF2-40B4-BE49-F238E27FC236}">
                <a16:creationId xmlns:a16="http://schemas.microsoft.com/office/drawing/2014/main" id="{E1CEA93B-0C2F-5748-B22E-9A53155774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4E27974-37DE-4141-B19A-087B3F94DA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55841409"/>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eam: Action (GIF)">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6A20E4B-53A0-8C4F-85C9-A968DE2F59B4}"/>
              </a:ext>
            </a:extLst>
          </p:cNvPr>
          <p:cNvGrpSpPr/>
          <p:nvPr userDrawn="1"/>
        </p:nvGrpSpPr>
        <p:grpSpPr>
          <a:xfrm>
            <a:off x="3446242" y="732119"/>
            <a:ext cx="8895800" cy="5722883"/>
            <a:chOff x="3378926" y="717827"/>
            <a:chExt cx="8722040" cy="5611179"/>
          </a:xfrm>
        </p:grpSpPr>
        <p:sp>
          <p:nvSpPr>
            <p:cNvPr id="29" name="Rectangle 28">
              <a:extLst>
                <a:ext uri="{FF2B5EF4-FFF2-40B4-BE49-F238E27FC236}">
                  <a16:creationId xmlns:a16="http://schemas.microsoft.com/office/drawing/2014/main" id="{CD942E42-B799-4D45-8E28-FA0CEB45EA3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0" name="Picture 29">
              <a:extLst>
                <a:ext uri="{FF2B5EF4-FFF2-40B4-BE49-F238E27FC236}">
                  <a16:creationId xmlns:a16="http://schemas.microsoft.com/office/drawing/2014/main" id="{31483085-6237-E646-BB26-FB291AC0296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4"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5"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3" name="Text Placeholder 5">
            <a:extLst>
              <a:ext uri="{FF2B5EF4-FFF2-40B4-BE49-F238E27FC236}">
                <a16:creationId xmlns:a16="http://schemas.microsoft.com/office/drawing/2014/main" id="{3309986B-9024-2644-86D1-33D6057DACB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4" name="Picture Placeholder 9">
            <a:extLst>
              <a:ext uri="{FF2B5EF4-FFF2-40B4-BE49-F238E27FC236}">
                <a16:creationId xmlns:a16="http://schemas.microsoft.com/office/drawing/2014/main" id="{2203B53F-2EC9-0945-8FBF-B933716278C5}"/>
              </a:ext>
            </a:extLst>
          </p:cNvPr>
          <p:cNvSpPr>
            <a:spLocks noGrp="1"/>
          </p:cNvSpPr>
          <p:nvPr>
            <p:ph type="pic" sz="quarter" idx="12" hasCustomPrompt="1"/>
          </p:nvPr>
        </p:nvSpPr>
        <p:spPr>
          <a:xfrm>
            <a:off x="4120641" y="1499780"/>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68527995"/>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eam: Ac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L="0" marR="0" lvl="0" indent="0" algn="ctr" defTabSz="932146"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421590"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Ac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527B52B8-9645-DE4D-9A4E-C54C2247F5E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41CDD019-04F7-3940-9FF8-96CB94ACBBD0}"/>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20160834"/>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GIF)">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A3F65FF-2942-254A-89F7-2D8FAC7FDAAE}"/>
              </a:ext>
            </a:extLst>
          </p:cNvPr>
          <p:cNvGrpSpPr/>
          <p:nvPr userDrawn="1"/>
        </p:nvGrpSpPr>
        <p:grpSpPr>
          <a:xfrm>
            <a:off x="3446242" y="732119"/>
            <a:ext cx="8895800" cy="5722883"/>
            <a:chOff x="3378926" y="717827"/>
            <a:chExt cx="8722040" cy="5611179"/>
          </a:xfrm>
        </p:grpSpPr>
        <p:sp>
          <p:nvSpPr>
            <p:cNvPr id="28" name="Rectangle 27">
              <a:extLst>
                <a:ext uri="{FF2B5EF4-FFF2-40B4-BE49-F238E27FC236}">
                  <a16:creationId xmlns:a16="http://schemas.microsoft.com/office/drawing/2014/main" id="{474B0D5B-B12F-7641-BDDE-864C374C4AE4}"/>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9" name="Picture 28">
              <a:extLst>
                <a:ext uri="{FF2B5EF4-FFF2-40B4-BE49-F238E27FC236}">
                  <a16:creationId xmlns:a16="http://schemas.microsoft.com/office/drawing/2014/main" id="{A111AEBB-FF18-3447-84D2-984796510E8F}"/>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25" name="Picture Placeholder 9">
            <a:extLst>
              <a:ext uri="{FF2B5EF4-FFF2-40B4-BE49-F238E27FC236}">
                <a16:creationId xmlns:a16="http://schemas.microsoft.com/office/drawing/2014/main" id="{99A58F40-3C2D-4B46-BE4E-B175053C28D6}"/>
              </a:ext>
            </a:extLst>
          </p:cNvPr>
          <p:cNvSpPr>
            <a:spLocks noGrp="1"/>
          </p:cNvSpPr>
          <p:nvPr>
            <p:ph type="pic" sz="quarter" idx="12" hasCustomPrompt="1"/>
          </p:nvPr>
        </p:nvSpPr>
        <p:spPr>
          <a:xfrm>
            <a:off x="4122575" y="1503649"/>
            <a:ext cx="7574756" cy="282513"/>
          </a:xfrm>
          <a:solidFill>
            <a:schemeClr val="bg1">
              <a:lumMod val="95000"/>
              <a:lumOff val="5000"/>
            </a:schemeClr>
          </a:solidFill>
        </p:spPr>
        <p:txBody>
          <a:bodyPr/>
          <a:lstStyle>
            <a:lvl1pPr marL="0" indent="0">
              <a:buNone/>
              <a:defRPr sz="1836"/>
            </a:lvl1pPr>
          </a:lstStyle>
          <a:p>
            <a:r>
              <a:rPr lang="en-US"/>
              <a:t>Add GIF</a:t>
            </a:r>
          </a:p>
        </p:txBody>
      </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0" name="Rectangle 19">
            <a:hlinkClick r:id="rId4"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5"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Text Placeholder 5">
            <a:extLst>
              <a:ext uri="{FF2B5EF4-FFF2-40B4-BE49-F238E27FC236}">
                <a16:creationId xmlns:a16="http://schemas.microsoft.com/office/drawing/2014/main" id="{F7D37F6A-A6CB-9445-A929-0C041FA5B468}"/>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17891762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Rectangle 18">
            <a:hlinkClick r:id="rId3" action="ppaction://hlinksldjump"/>
            <a:extLst>
              <a:ext uri="{FF2B5EF4-FFF2-40B4-BE49-F238E27FC236}">
                <a16:creationId xmlns:a16="http://schemas.microsoft.com/office/drawing/2014/main" id="{14FE28F4-6DD2-9043-85EF-7DBC76A823E2}"/>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0" name="Rectangle 19">
            <a:hlinkClick r:id="rId4" action="ppaction://hlinksldjump"/>
            <a:extLst>
              <a:ext uri="{FF2B5EF4-FFF2-40B4-BE49-F238E27FC236}">
                <a16:creationId xmlns:a16="http://schemas.microsoft.com/office/drawing/2014/main" id="{8033620B-E92D-154B-A6C5-393EBA655DA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85254694"/>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eam: Collabora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9" name="Text Placeholder 5">
            <a:extLst>
              <a:ext uri="{FF2B5EF4-FFF2-40B4-BE49-F238E27FC236}">
                <a16:creationId xmlns:a16="http://schemas.microsoft.com/office/drawing/2014/main" id="{1E4D005F-C534-C049-9B1E-F09CAE467CC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0" name="Rectangle 19">
            <a:hlinkClick r:id="rId3" action="ppaction://hlinksldjump"/>
            <a:extLst>
              <a:ext uri="{FF2B5EF4-FFF2-40B4-BE49-F238E27FC236}">
                <a16:creationId xmlns:a16="http://schemas.microsoft.com/office/drawing/2014/main" id="{983DAB79-D91F-F04A-8088-92F3AC4C29C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63461625-D20F-7A4A-9D4D-004C56AF6069}"/>
              </a:ext>
            </a:extLst>
          </p:cNvPr>
          <p:cNvGrpSpPr/>
          <p:nvPr userDrawn="1"/>
        </p:nvGrpSpPr>
        <p:grpSpPr>
          <a:xfrm>
            <a:off x="167399" y="160421"/>
            <a:ext cx="1624676" cy="310499"/>
            <a:chOff x="164128" y="157289"/>
            <a:chExt cx="1592941" cy="304438"/>
          </a:xfrm>
        </p:grpSpPr>
        <p:sp>
          <p:nvSpPr>
            <p:cNvPr id="11" name="Freeform 10">
              <a:extLst>
                <a:ext uri="{FF2B5EF4-FFF2-40B4-BE49-F238E27FC236}">
                  <a16:creationId xmlns:a16="http://schemas.microsoft.com/office/drawing/2014/main" id="{4E9E07C5-B71C-1F43-AC4D-685F907056A0}"/>
                </a:ext>
              </a:extLst>
            </p:cNvPr>
            <p:cNvSpPr/>
            <p:nvPr/>
          </p:nvSpPr>
          <p:spPr>
            <a:xfrm>
              <a:off x="164128" y="162769"/>
              <a:ext cx="143481" cy="215490"/>
            </a:xfrm>
            <a:custGeom>
              <a:avLst/>
              <a:gdLst>
                <a:gd name="connsiteX0" fmla="*/ 1954449 w 1954449"/>
                <a:gd name="connsiteY0" fmla="*/ 0 h 2935321"/>
                <a:gd name="connsiteX1" fmla="*/ 1954449 w 1954449"/>
                <a:gd name="connsiteY1" fmla="*/ 1927180 h 2935321"/>
                <a:gd name="connsiteX2" fmla="*/ 1952518 w 1954449"/>
                <a:gd name="connsiteY2" fmla="*/ 1930525 h 2935321"/>
                <a:gd name="connsiteX3" fmla="*/ 212160 w 1954449"/>
                <a:gd name="connsiteY3" fmla="*/ 2935321 h 2935321"/>
                <a:gd name="connsiteX4" fmla="*/ 160177 w 1954449"/>
                <a:gd name="connsiteY4" fmla="*/ 2827412 h 2935321"/>
                <a:gd name="connsiteX5" fmla="*/ 0 w 1954449"/>
                <a:gd name="connsiteY5" fmla="*/ 2034029 h 2935321"/>
                <a:gd name="connsiteX6" fmla="*/ 1829862 w 1954449"/>
                <a:gd name="connsiteY6" fmla="*/ 6292 h 2935321"/>
                <a:gd name="connsiteX7" fmla="*/ 1954449 w 1954449"/>
                <a:gd name="connsiteY7" fmla="*/ 0 h 29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449" h="2935321">
                  <a:moveTo>
                    <a:pt x="1954449" y="0"/>
                  </a:moveTo>
                  <a:lnTo>
                    <a:pt x="1954449" y="1927180"/>
                  </a:lnTo>
                  <a:lnTo>
                    <a:pt x="1952518" y="1930525"/>
                  </a:lnTo>
                  <a:lnTo>
                    <a:pt x="212160" y="2935321"/>
                  </a:lnTo>
                  <a:lnTo>
                    <a:pt x="160177" y="2827412"/>
                  </a:lnTo>
                  <a:cubicBezTo>
                    <a:pt x="57036" y="2583558"/>
                    <a:pt x="0" y="2315453"/>
                    <a:pt x="0" y="2034029"/>
                  </a:cubicBezTo>
                  <a:cubicBezTo>
                    <a:pt x="0" y="978685"/>
                    <a:pt x="802056" y="110671"/>
                    <a:pt x="1829862" y="6292"/>
                  </a:cubicBezTo>
                  <a:lnTo>
                    <a:pt x="1954449"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2" name="Freeform 11">
              <a:extLst>
                <a:ext uri="{FF2B5EF4-FFF2-40B4-BE49-F238E27FC236}">
                  <a16:creationId xmlns:a16="http://schemas.microsoft.com/office/drawing/2014/main" id="{A1D376ED-2D1A-F142-990F-EBAB315B62B6}"/>
                </a:ext>
              </a:extLst>
            </p:cNvPr>
            <p:cNvSpPr/>
            <p:nvPr/>
          </p:nvSpPr>
          <p:spPr>
            <a:xfrm>
              <a:off x="319631" y="162755"/>
              <a:ext cx="143765" cy="215504"/>
            </a:xfrm>
            <a:custGeom>
              <a:avLst/>
              <a:gdLst>
                <a:gd name="connsiteX0" fmla="*/ 0 w 1958310"/>
                <a:gd name="connsiteY0" fmla="*/ 0 h 2935517"/>
                <a:gd name="connsiteX1" fmla="*/ 128449 w 1958310"/>
                <a:gd name="connsiteY1" fmla="*/ 6487 h 2935517"/>
                <a:gd name="connsiteX2" fmla="*/ 1958310 w 1958310"/>
                <a:gd name="connsiteY2" fmla="*/ 2034224 h 2935517"/>
                <a:gd name="connsiteX3" fmla="*/ 1798134 w 1958310"/>
                <a:gd name="connsiteY3" fmla="*/ 2827607 h 2935517"/>
                <a:gd name="connsiteX4" fmla="*/ 1746150 w 1958310"/>
                <a:gd name="connsiteY4" fmla="*/ 2935517 h 2935517"/>
                <a:gd name="connsiteX5" fmla="*/ 0 w 1958310"/>
                <a:gd name="connsiteY5" fmla="*/ 1927376 h 2935517"/>
                <a:gd name="connsiteX6" fmla="*/ 0 w 1958310"/>
                <a:gd name="connsiteY6" fmla="*/ 0 h 293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310" h="2935517">
                  <a:moveTo>
                    <a:pt x="0" y="0"/>
                  </a:moveTo>
                  <a:lnTo>
                    <a:pt x="128449" y="6487"/>
                  </a:lnTo>
                  <a:cubicBezTo>
                    <a:pt x="1156255" y="110866"/>
                    <a:pt x="1958310" y="978880"/>
                    <a:pt x="1958310" y="2034224"/>
                  </a:cubicBezTo>
                  <a:cubicBezTo>
                    <a:pt x="1958310" y="2315648"/>
                    <a:pt x="1901274" y="2583753"/>
                    <a:pt x="1798134" y="2827607"/>
                  </a:cubicBezTo>
                  <a:lnTo>
                    <a:pt x="1746150" y="2935517"/>
                  </a:lnTo>
                  <a:lnTo>
                    <a:pt x="0" y="1927376"/>
                  </a:lnTo>
                  <a:lnTo>
                    <a:pt x="0" y="0"/>
                  </a:lnTo>
                  <a:close/>
                </a:path>
              </a:pathLst>
            </a:custGeom>
            <a:solidFill>
              <a:srgbClr val="0078D4"/>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3" name="Freeform 12">
              <a:extLst>
                <a:ext uri="{FF2B5EF4-FFF2-40B4-BE49-F238E27FC236}">
                  <a16:creationId xmlns:a16="http://schemas.microsoft.com/office/drawing/2014/main" id="{FB484B68-2E25-A04D-A216-0D7B3E91835F}"/>
                </a:ext>
              </a:extLst>
            </p:cNvPr>
            <p:cNvSpPr/>
            <p:nvPr/>
          </p:nvSpPr>
          <p:spPr>
            <a:xfrm>
              <a:off x="185467" y="314742"/>
              <a:ext cx="256591" cy="146985"/>
            </a:xfrm>
            <a:custGeom>
              <a:avLst/>
              <a:gdLst>
                <a:gd name="connsiteX0" fmla="*/ 1747596 w 3495192"/>
                <a:gd name="connsiteY0" fmla="*/ 0 h 2002169"/>
                <a:gd name="connsiteX1" fmla="*/ 3495192 w 3495192"/>
                <a:gd name="connsiteY1" fmla="*/ 1008975 h 2002169"/>
                <a:gd name="connsiteX2" fmla="*/ 3437754 w 3495192"/>
                <a:gd name="connsiteY2" fmla="*/ 1103520 h 2002169"/>
                <a:gd name="connsiteX3" fmla="*/ 1747596 w 3495192"/>
                <a:gd name="connsiteY3" fmla="*/ 2002169 h 2002169"/>
                <a:gd name="connsiteX4" fmla="*/ 57438 w 3495192"/>
                <a:gd name="connsiteY4" fmla="*/ 1103520 h 2002169"/>
                <a:gd name="connsiteX5" fmla="*/ 0 w 3495192"/>
                <a:gd name="connsiteY5" fmla="*/ 1008975 h 2002169"/>
                <a:gd name="connsiteX6" fmla="*/ 1747596 w 3495192"/>
                <a:gd name="connsiteY6" fmla="*/ 0 h 20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192" h="2002169">
                  <a:moveTo>
                    <a:pt x="1747596" y="0"/>
                  </a:moveTo>
                  <a:lnTo>
                    <a:pt x="3495192" y="1008975"/>
                  </a:lnTo>
                  <a:lnTo>
                    <a:pt x="3437754" y="1103520"/>
                  </a:lnTo>
                  <a:cubicBezTo>
                    <a:pt x="3071464" y="1645700"/>
                    <a:pt x="2451160" y="2002169"/>
                    <a:pt x="1747596" y="2002169"/>
                  </a:cubicBezTo>
                  <a:cubicBezTo>
                    <a:pt x="1044034" y="2002169"/>
                    <a:pt x="423728" y="1645700"/>
                    <a:pt x="57438" y="1103520"/>
                  </a:cubicBezTo>
                  <a:lnTo>
                    <a:pt x="0" y="1008975"/>
                  </a:lnTo>
                  <a:lnTo>
                    <a:pt x="1747596" y="0"/>
                  </a:lnTo>
                  <a:close/>
                </a:path>
              </a:pathLst>
            </a:custGeom>
            <a:solidFill>
              <a:schemeClr val="tx1"/>
            </a:solidFill>
            <a:ln w="9525" cap="flat">
              <a:noFill/>
              <a:prstDash val="solid"/>
              <a:miter/>
            </a:ln>
            <a:effectLst/>
          </p:spPr>
          <p:txBody>
            <a:bodyPr wrap="square" rtlCol="0" anchor="ctr">
              <a:noAutofit/>
              <a:scene3d>
                <a:camera prst="orthographicFront">
                  <a:rot lat="0" lon="0" rev="0"/>
                </a:camera>
                <a:lightRig rig="threePt" dir="t"/>
              </a:scene3d>
            </a:bodyPr>
            <a:lstStyle/>
            <a:p>
              <a:pPr marR="0" lvl="0" indent="0" algn="ctr" defTabSz="932146" fontAlgn="auto">
                <a:lnSpc>
                  <a:spcPct val="100000"/>
                </a:lnSpc>
                <a:spcBef>
                  <a:spcPts val="0"/>
                </a:spcBef>
                <a:spcAft>
                  <a:spcPts val="0"/>
                </a:spcAft>
                <a:buClrTx/>
                <a:buSzTx/>
                <a:buFontTx/>
                <a:buNone/>
                <a:tabLst/>
              </a:pPr>
              <a:endParaRPr kumimoji="0" lang="en-US" sz="1599" b="1" i="0" u="none" strike="noStrike" kern="0" cap="none" spc="0" normalizeH="0" baseline="0" noProof="0">
                <a:ln>
                  <a:noFill/>
                </a:ln>
                <a:solidFill>
                  <a:srgbClr val="FFFFFF"/>
                </a:solidFill>
                <a:effectLst/>
                <a:uLnTx/>
                <a:uFillTx/>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80D9BE76-87BC-F348-8D26-C4FDD88EC9D8}"/>
                </a:ext>
              </a:extLst>
            </p:cNvPr>
            <p:cNvSpPr/>
            <p:nvPr/>
          </p:nvSpPr>
          <p:spPr bwMode="auto">
            <a:xfrm>
              <a:off x="221991" y="220565"/>
              <a:ext cx="183387" cy="18335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04509" y="157289"/>
              <a:ext cx="1152560" cy="125547"/>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team</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04509" y="286486"/>
              <a:ext cx="884858" cy="172676"/>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Collaboration</a:t>
              </a:r>
            </a:p>
          </p:txBody>
        </p:sp>
      </p:grpSp>
      <p:sp>
        <p:nvSpPr>
          <p:cNvPr id="21" name="Rectangle 20">
            <a:hlinkClick r:id="rId4" action="ppaction://hlinksldjump"/>
            <a:extLst>
              <a:ext uri="{FF2B5EF4-FFF2-40B4-BE49-F238E27FC236}">
                <a16:creationId xmlns:a16="http://schemas.microsoft.com/office/drawing/2014/main" id="{E0167D9F-FE90-FE4E-A57B-5129370186C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5943546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9CA2706-205E-F942-8E10-EC5975650595}"/>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95C52724-0AC2-C040-BCC2-2F2706D258B9}"/>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3363910-F0AA-0549-ACA3-41BA0617046A}"/>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9D289437-9436-B341-8583-3D4AF11F02A5}"/>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44F44FC3-4674-524D-9DF7-304F1F579030}"/>
              </a:ext>
            </a:extLst>
          </p:cNvPr>
          <p:cNvSpPr>
            <a:spLocks noGrp="1"/>
          </p:cNvSpPr>
          <p:nvPr>
            <p:ph type="pic" sz="quarter" idx="12" hasCustomPrompt="1"/>
          </p:nvPr>
        </p:nvSpPr>
        <p:spPr>
          <a:xfrm>
            <a:off x="4123537" y="1501715"/>
            <a:ext cx="7578428"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49906289"/>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7" name="Rectangle 16">
            <a:hlinkClick r:id="rId3" action="ppaction://hlinksldjump"/>
            <a:extLst>
              <a:ext uri="{FF2B5EF4-FFF2-40B4-BE49-F238E27FC236}">
                <a16:creationId xmlns:a16="http://schemas.microsoft.com/office/drawing/2014/main" id="{33A372C3-A621-5348-A03A-0A3F62BF7015}"/>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7" name="Rectangle 26">
            <a:hlinkClick r:id="rId4" action="ppaction://hlinksldjump"/>
            <a:extLst>
              <a:ext uri="{FF2B5EF4-FFF2-40B4-BE49-F238E27FC236}">
                <a16:creationId xmlns:a16="http://schemas.microsoft.com/office/drawing/2014/main" id="{30AE3878-1970-7745-BE41-1111CB48A8C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971321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865630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Organization: Trust &amp; compliance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3427"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Trust &amp; compliance</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2ED458E9-62FD-5043-B54C-C937062ECDEF}"/>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65E0800-6D5A-2346-8E4B-3826F77EAEAE}"/>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199DD6D7-2CB6-F642-95B4-2331A0807676}"/>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52020928"/>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A4850900-6446-994F-B853-D67BE1DABDCD}"/>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51CE142F-EF96-D341-A620-0F23983E8C4C}"/>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1B38D6FF-23A6-C34C-B448-8D86D99D7646}"/>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7C064D4B-8DD3-9F41-B9CB-81570EAB2CEB}"/>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5DAA8108-ABA2-7E4B-A4FB-364161DA0D1A}"/>
              </a:ext>
            </a:extLst>
          </p:cNvPr>
          <p:cNvSpPr>
            <a:spLocks noGrp="1"/>
          </p:cNvSpPr>
          <p:nvPr>
            <p:ph type="pic" sz="quarter" idx="12" hasCustomPrompt="1"/>
          </p:nvPr>
        </p:nvSpPr>
        <p:spPr>
          <a:xfrm>
            <a:off x="4123537"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072526843"/>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055EEBAA-1997-6442-AB78-0D42744B31B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30B599-8C58-0D45-B050-0CED826D22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0995437"/>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Organization: Operations &amp; auditability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667636"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Operations &amp; auditabi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78C5BC32-59AB-A449-AEDE-C4AAD39E578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44D4327D-63EB-A240-B2D4-72C510EE39E7}"/>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8B33380C-7EDE-7745-89F5-1D31A6D46E1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05585348"/>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44069BF-9F5E-854E-8B39-833F94B2C9D4}"/>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708033A3-5FA6-9543-9D16-7523DCEAE426}"/>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B2C2BF1-1C0D-E34D-B06B-5C59CEAA3C0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2954083"/>
            <a:ext cx="2896430"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0F99FBB5-8E3E-0A4B-90BB-2F4734D62BEC}"/>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94F16DAE-F32B-D846-830B-056FFC363898}"/>
              </a:ext>
            </a:extLst>
          </p:cNvPr>
          <p:cNvSpPr>
            <a:spLocks noGrp="1"/>
          </p:cNvSpPr>
          <p:nvPr>
            <p:ph type="pic" sz="quarter" idx="11" hasCustomPrompt="1"/>
          </p:nvPr>
        </p:nvSpPr>
        <p:spPr>
          <a:xfrm>
            <a:off x="4122575" y="1501714"/>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427879648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Organization: Information qualit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rgbClr val="243A5E"/>
                </a:solidFill>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1285061" cy="176114"/>
          </a:xfrm>
          <a:prstGeom prst="rect">
            <a:avLst/>
          </a:prstGeom>
          <a:noFill/>
        </p:spPr>
        <p:txBody>
          <a:bodyPr wrap="none" lIns="0" tIns="0" rIns="0" bIns="0" rtlCol="0">
            <a:spAutoFit/>
          </a:bodyPr>
          <a:lstStyle/>
          <a:p>
            <a:r>
              <a:rPr lang="en-US" sz="1122" b="1">
                <a:solidFill>
                  <a:schemeClr val="accent2"/>
                </a:solidFill>
                <a:latin typeface="Segoe UI Semibold"/>
                <a:cs typeface="Segoe UI" panose="020B0502040204020203" pitchFamily="34" charset="0"/>
              </a:rPr>
              <a:t>Information quality</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FBCDD758-0747-454F-BA54-54508631306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23E23B41-3107-CF46-B350-7FA1EFD01B2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32339499"/>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GIF)">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0182AC3E-ED44-BB47-A975-0AE96DA7BD66}"/>
              </a:ext>
            </a:extLst>
          </p:cNvPr>
          <p:cNvGrpSpPr/>
          <p:nvPr userDrawn="1"/>
        </p:nvGrpSpPr>
        <p:grpSpPr>
          <a:xfrm>
            <a:off x="3446242" y="732119"/>
            <a:ext cx="8895800" cy="5722883"/>
            <a:chOff x="3378926" y="717827"/>
            <a:chExt cx="8722040" cy="5611179"/>
          </a:xfrm>
        </p:grpSpPr>
        <p:sp>
          <p:nvSpPr>
            <p:cNvPr id="30" name="Rectangle 29">
              <a:extLst>
                <a:ext uri="{FF2B5EF4-FFF2-40B4-BE49-F238E27FC236}">
                  <a16:creationId xmlns:a16="http://schemas.microsoft.com/office/drawing/2014/main" id="{1BEF76F9-E087-0849-8267-F4E005594A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1" name="Picture 30">
              <a:extLst>
                <a:ext uri="{FF2B5EF4-FFF2-40B4-BE49-F238E27FC236}">
                  <a16:creationId xmlns:a16="http://schemas.microsoft.com/office/drawing/2014/main" id="{585C6C47-DB30-D149-8A6B-C55BD505BB4E}"/>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87547" cy="878930"/>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2" name="Text Placeholder 5">
            <a:extLst>
              <a:ext uri="{FF2B5EF4-FFF2-40B4-BE49-F238E27FC236}">
                <a16:creationId xmlns:a16="http://schemas.microsoft.com/office/drawing/2014/main" id="{CFA442A1-4BEA-5348-8FB9-8C512C72D101}"/>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3" name="Picture Placeholder 9">
            <a:extLst>
              <a:ext uri="{FF2B5EF4-FFF2-40B4-BE49-F238E27FC236}">
                <a16:creationId xmlns:a16="http://schemas.microsoft.com/office/drawing/2014/main" id="{C8C86257-A219-5D44-8D10-325932141407}"/>
              </a:ext>
            </a:extLst>
          </p:cNvPr>
          <p:cNvSpPr>
            <a:spLocks noGrp="1"/>
          </p:cNvSpPr>
          <p:nvPr>
            <p:ph type="pic" sz="quarter" idx="11"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1000932507"/>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BFB452D2-3495-9745-B210-479C18A431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13ED36F5-706E-4644-97F1-CACED378948B}"/>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1415480"/>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Organization: Adoption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626182"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Adop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Text Placeholder 5">
            <a:extLst>
              <a:ext uri="{FF2B5EF4-FFF2-40B4-BE49-F238E27FC236}">
                <a16:creationId xmlns:a16="http://schemas.microsoft.com/office/drawing/2014/main" id="{4E1FBAD6-64D5-D644-9AC7-6303D802FD71}"/>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28" name="Rectangle 27">
            <a:hlinkClick r:id="rId3" action="ppaction://hlinksldjump"/>
            <a:extLst>
              <a:ext uri="{FF2B5EF4-FFF2-40B4-BE49-F238E27FC236}">
                <a16:creationId xmlns:a16="http://schemas.microsoft.com/office/drawing/2014/main" id="{20DFDB25-ECBC-AE4F-9C08-96E8A61491EB}"/>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4" action="ppaction://hlinksldjump"/>
            <a:extLst>
              <a:ext uri="{FF2B5EF4-FFF2-40B4-BE49-F238E27FC236}">
                <a16:creationId xmlns:a16="http://schemas.microsoft.com/office/drawing/2014/main" id="{461D5DD9-3F0F-794A-A08A-063EFFAEED81}"/>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075986763"/>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F3482CE-701A-114A-BE72-52ECDF834CE0}"/>
              </a:ext>
            </a:extLst>
          </p:cNvPr>
          <p:cNvGrpSpPr/>
          <p:nvPr userDrawn="1"/>
        </p:nvGrpSpPr>
        <p:grpSpPr>
          <a:xfrm>
            <a:off x="3446242" y="732119"/>
            <a:ext cx="8895800" cy="5722883"/>
            <a:chOff x="3378926" y="717827"/>
            <a:chExt cx="8722040" cy="5611179"/>
          </a:xfrm>
        </p:grpSpPr>
        <p:sp>
          <p:nvSpPr>
            <p:cNvPr id="34" name="Rectangle 33">
              <a:extLst>
                <a:ext uri="{FF2B5EF4-FFF2-40B4-BE49-F238E27FC236}">
                  <a16:creationId xmlns:a16="http://schemas.microsoft.com/office/drawing/2014/main" id="{40CFC068-D72B-DA4F-82DB-F04364C9ACF5}"/>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5" name="Picture 34">
              <a:extLst>
                <a:ext uri="{FF2B5EF4-FFF2-40B4-BE49-F238E27FC236}">
                  <a16:creationId xmlns:a16="http://schemas.microsoft.com/office/drawing/2014/main" id="{D79A2110-DD7C-A94D-A127-5F75376F2881}"/>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8DCED002-34D0-7944-B034-1CD5EC62CF56}"/>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0BFF32A6-8013-2E40-9622-07A2CAC50AD3}"/>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2" y="2954111"/>
            <a:ext cx="2860901" cy="878930"/>
          </a:xfrm>
        </p:spPr>
        <p:txBody>
          <a:bodyPr anchor="b"/>
          <a:lstStyle>
            <a:lvl1pPr algn="l">
              <a:defRPr sz="2856"/>
            </a:lvl1pPr>
          </a:lstStyle>
          <a:p>
            <a:r>
              <a:rPr lang="en-US"/>
              <a:t>Click to edit Master title style</a:t>
            </a:r>
          </a:p>
        </p:txBody>
      </p:sp>
      <p:sp>
        <p:nvSpPr>
          <p:cNvPr id="27" name="Text Placeholder 5">
            <a:extLst>
              <a:ext uri="{FF2B5EF4-FFF2-40B4-BE49-F238E27FC236}">
                <a16:creationId xmlns:a16="http://schemas.microsoft.com/office/drawing/2014/main" id="{6DF6C9F0-5DAE-CB42-8727-887A0AEDB46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5EC58D2-C99D-0948-A914-66AFE3AB0C10}"/>
              </a:ext>
            </a:extLst>
          </p:cNvPr>
          <p:cNvSpPr>
            <a:spLocks noGrp="1"/>
          </p:cNvSpPr>
          <p:nvPr>
            <p:ph type="pic" sz="quarter" idx="11" hasCustomPrompt="1"/>
          </p:nvPr>
        </p:nvSpPr>
        <p:spPr>
          <a:xfrm>
            <a:off x="4122575" y="1511231"/>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297549183"/>
      </p:ext>
    </p:extLst>
  </p:cSld>
  <p:clrMapOvr>
    <a:masterClrMapping/>
  </p:clrMapOvr>
  <p:transition>
    <p:fade/>
  </p:transition>
  <p:extLst>
    <p:ext uri="{DCECCB84-F9BA-43D5-87BE-67443E8EF086}">
      <p15:sldGuideLst xmlns:p15="http://schemas.microsoft.com/office/powerpoint/2012/main">
        <p15:guide id="1" orient="horz" pos="2370" userDrawn="1">
          <p15:clr>
            <a:srgbClr val="FBAE40"/>
          </p15:clr>
        </p15:guide>
        <p15:guide id="2" orient="horz" pos="2452"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3"/>
            </a:solidFill>
          </a:ln>
        </p:spPr>
        <p:txBody>
          <a:bodyPr wrap="square" lIns="182880" tIns="182880" rIns="182880" bIns="182880" anchor="t" anchorCtr="0">
            <a:noAutofit/>
          </a:bodyPr>
          <a:lstStyle>
            <a:lvl1pPr marL="0" indent="0">
              <a:buNone/>
              <a:defRPr sz="1122">
                <a:gradFill>
                  <a:gsLst>
                    <a:gs pos="82000">
                      <a:schemeClr val="accent3"/>
                    </a:gs>
                    <a:gs pos="0">
                      <a:schemeClr val="accent3"/>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3"/>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3"/>
                    </a:gs>
                    <a:gs pos="0">
                      <a:schemeClr val="accent3"/>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3"/>
                    </a:gs>
                    <a:gs pos="0">
                      <a:schemeClr val="accent3"/>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701393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96374807"/>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Organization: Connectivity, transform &amp; prep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05511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Connectivity, transform &amp; prep</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319EA6C-D4C0-2E46-B312-C10EEF1307E3}"/>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95D9C29-052E-1742-9CDF-ACFA951C4C3E}"/>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994BD4FD-3141-104D-8ADC-FBA831D66217}"/>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2936279"/>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GIF)">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3E1809D-E5DB-4C4B-8445-53AF04C4E87A}"/>
              </a:ext>
            </a:extLst>
          </p:cNvPr>
          <p:cNvGrpSpPr/>
          <p:nvPr userDrawn="1"/>
        </p:nvGrpSpPr>
        <p:grpSpPr>
          <a:xfrm>
            <a:off x="3446242" y="732119"/>
            <a:ext cx="8895800" cy="5722883"/>
            <a:chOff x="3378926" y="717827"/>
            <a:chExt cx="8722040" cy="5611179"/>
          </a:xfrm>
        </p:grpSpPr>
        <p:sp>
          <p:nvSpPr>
            <p:cNvPr id="31" name="Rectangle 30">
              <a:extLst>
                <a:ext uri="{FF2B5EF4-FFF2-40B4-BE49-F238E27FC236}">
                  <a16:creationId xmlns:a16="http://schemas.microsoft.com/office/drawing/2014/main" id="{ADC57B56-FF9D-CE4F-B6EE-42E0CF456818}"/>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FC4D89FE-561A-4D42-87DB-9A38AFD6037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8" name="Rectangle 27">
            <a:hlinkClick r:id="rId4" action="ppaction://hlinksldjump"/>
            <a:extLst>
              <a:ext uri="{FF2B5EF4-FFF2-40B4-BE49-F238E27FC236}">
                <a16:creationId xmlns:a16="http://schemas.microsoft.com/office/drawing/2014/main" id="{B5CA339E-E10C-C046-A87F-AB1AD9F6777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Rectangle 28">
            <a:hlinkClick r:id="rId5" action="ppaction://hlinksldjump"/>
            <a:extLst>
              <a:ext uri="{FF2B5EF4-FFF2-40B4-BE49-F238E27FC236}">
                <a16:creationId xmlns:a16="http://schemas.microsoft.com/office/drawing/2014/main" id="{12BAC764-DF06-9647-8E0C-1DD2D4B1F7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DC7CEEBC-C183-F448-A7ED-B9F437B3271D}"/>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B99FE3D4-78FB-3141-B631-F0787CD24EBC}"/>
              </a:ext>
            </a:extLst>
          </p:cNvPr>
          <p:cNvSpPr>
            <a:spLocks noGrp="1"/>
          </p:cNvSpPr>
          <p:nvPr>
            <p:ph type="pic" sz="quarter" idx="12" hasCustomPrompt="1"/>
          </p:nvPr>
        </p:nvSpPr>
        <p:spPr>
          <a:xfrm>
            <a:off x="4122575"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91782996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934460991"/>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zation: Big data (Title +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54933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Big data</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441930E-F2F1-564F-8BA6-3C39B6A3A9A9}"/>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28" name="Rectangle 27">
            <a:hlinkClick r:id="rId4" action="ppaction://hlinksldjump"/>
            <a:extLst>
              <a:ext uri="{FF2B5EF4-FFF2-40B4-BE49-F238E27FC236}">
                <a16:creationId xmlns:a16="http://schemas.microsoft.com/office/drawing/2014/main" id="{2E628810-5232-9F49-AD70-92C982EC301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9" name="Text Placeholder 5">
            <a:extLst>
              <a:ext uri="{FF2B5EF4-FFF2-40B4-BE49-F238E27FC236}">
                <a16:creationId xmlns:a16="http://schemas.microsoft.com/office/drawing/2014/main" id="{CE70B7EB-0653-034C-8CF6-91E37CDCBB85}"/>
              </a:ext>
            </a:extLst>
          </p:cNvPr>
          <p:cNvSpPr>
            <a:spLocks noGrp="1"/>
          </p:cNvSpPr>
          <p:nvPr>
            <p:ph type="body" sz="quarter" idx="10"/>
          </p:nvPr>
        </p:nvSpPr>
        <p:spPr>
          <a:xfrm>
            <a:off x="599077" y="1402647"/>
            <a:ext cx="11307976" cy="439465"/>
          </a:xfrm>
        </p:spPr>
        <p:txBody>
          <a:bodyPr/>
          <a:lstStyle>
            <a:lvl1pPr marL="0" indent="0" algn="ctr">
              <a:buNone/>
              <a:defRPr>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Tree>
    <p:extLst>
      <p:ext uri="{BB962C8B-B14F-4D97-AF65-F5344CB8AC3E}">
        <p14:creationId xmlns:p14="http://schemas.microsoft.com/office/powerpoint/2010/main" val="31044242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GIF)">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422A1800-8348-1F43-B08C-59E62B0495E2}"/>
              </a:ext>
            </a:extLst>
          </p:cNvPr>
          <p:cNvGrpSpPr/>
          <p:nvPr userDrawn="1"/>
        </p:nvGrpSpPr>
        <p:grpSpPr>
          <a:xfrm>
            <a:off x="3446242" y="732119"/>
            <a:ext cx="8895800" cy="5722883"/>
            <a:chOff x="3378926" y="717827"/>
            <a:chExt cx="8722040" cy="5611179"/>
          </a:xfrm>
        </p:grpSpPr>
        <p:sp>
          <p:nvSpPr>
            <p:cNvPr id="38" name="Rectangle 37">
              <a:extLst>
                <a:ext uri="{FF2B5EF4-FFF2-40B4-BE49-F238E27FC236}">
                  <a16:creationId xmlns:a16="http://schemas.microsoft.com/office/drawing/2014/main" id="{5F092EC2-0DBE-AF41-B591-115C2B6F2271}"/>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C78A8A6E-2B8D-7049-91AD-EB9C4E162A34}"/>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2"/>
            <a:ext cx="2887547"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31513F8A-6F08-214A-81C7-29A8AC6A44DC}"/>
              </a:ext>
            </a:extLst>
          </p:cNvPr>
          <p:cNvSpPr>
            <a:spLocks noGrp="1"/>
          </p:cNvSpPr>
          <p:nvPr>
            <p:ph type="body" sz="quarter" idx="11"/>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4" name="Picture Placeholder 9">
            <a:extLst>
              <a:ext uri="{FF2B5EF4-FFF2-40B4-BE49-F238E27FC236}">
                <a16:creationId xmlns:a16="http://schemas.microsoft.com/office/drawing/2014/main" id="{7CDB50A8-E272-3C47-982D-16B24A805F15}"/>
              </a:ext>
            </a:extLst>
          </p:cNvPr>
          <p:cNvSpPr>
            <a:spLocks noGrp="1"/>
          </p:cNvSpPr>
          <p:nvPr>
            <p:ph type="pic" sz="quarter" idx="12" hasCustomPrompt="1"/>
          </p:nvPr>
        </p:nvSpPr>
        <p:spPr>
          <a:xfrm>
            <a:off x="4122576" y="1501715"/>
            <a:ext cx="7574756" cy="282513"/>
          </a:xfrm>
          <a:solidFill>
            <a:schemeClr val="bg1">
              <a:lumMod val="95000"/>
              <a:lumOff val="5000"/>
            </a:schemeClr>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88249477"/>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Organization: Semantic model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2" y="292189"/>
            <a:ext cx="1829497"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semantic models</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628F6330-E0BE-184F-A818-57661FE59E1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200091A-C529-F741-AA52-0E476CFC2032}"/>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77001809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GIF)">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348131C-9254-2041-AF81-91DC6B80475F}"/>
              </a:ext>
            </a:extLst>
          </p:cNvPr>
          <p:cNvGrpSpPr/>
          <p:nvPr userDrawn="1"/>
        </p:nvGrpSpPr>
        <p:grpSpPr>
          <a:xfrm>
            <a:off x="3446242" y="732119"/>
            <a:ext cx="8895800" cy="5722883"/>
            <a:chOff x="3378926" y="717827"/>
            <a:chExt cx="8722040" cy="5611179"/>
          </a:xfrm>
        </p:grpSpPr>
        <p:sp>
          <p:nvSpPr>
            <p:cNvPr id="35" name="Rectangle 34">
              <a:extLst>
                <a:ext uri="{FF2B5EF4-FFF2-40B4-BE49-F238E27FC236}">
                  <a16:creationId xmlns:a16="http://schemas.microsoft.com/office/drawing/2014/main" id="{4C8AFA8E-626E-3448-B7EA-51CE8DBB4A37}"/>
                </a:ext>
              </a:extLst>
            </p:cNvPr>
            <p:cNvSpPr/>
            <p:nvPr userDrawn="1"/>
          </p:nvSpPr>
          <p:spPr bwMode="auto">
            <a:xfrm>
              <a:off x="4014651" y="1480457"/>
              <a:ext cx="7445829" cy="418882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4A708574-F76D-084A-BA1E-87E4263B12D9}"/>
                </a:ext>
              </a:extLst>
            </p:cNvPr>
            <p:cNvPicPr>
              <a:picLocks noChangeAspect="1"/>
            </p:cNvPicPr>
            <p:nvPr userDrawn="1"/>
          </p:nvPicPr>
          <p:blipFill>
            <a:blip r:embed="rId2"/>
            <a:stretch>
              <a:fillRect/>
            </a:stretch>
          </p:blipFill>
          <p:spPr>
            <a:xfrm>
              <a:off x="3378926" y="717827"/>
              <a:ext cx="8722040" cy="5611179"/>
            </a:xfrm>
            <a:prstGeom prst="rect">
              <a:avLst/>
            </a:prstGeom>
          </p:spPr>
        </p:pic>
      </p:grpSp>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3"/>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94221" y="2954083"/>
            <a:ext cx="2825373" cy="878959"/>
          </a:xfrm>
        </p:spPr>
        <p:txBody>
          <a:bodyPr anchor="b"/>
          <a:lstStyle>
            <a:lvl1pPr algn="l">
              <a:defRPr sz="2856"/>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4"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5"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kern="1200" spc="0" baseline="0">
                <a:solidFill>
                  <a:schemeClr val="tx2"/>
                </a:solidFill>
                <a:latin typeface="+mj-lt"/>
                <a:ea typeface="+mn-ea"/>
                <a:cs typeface="Segoe UI" panose="020B0502040204020203" pitchFamily="34" charset="0"/>
              </a:rPr>
              <a:t>Empowering every organization</a:t>
            </a:r>
          </a:p>
        </p:txBody>
      </p:sp>
      <p:sp>
        <p:nvSpPr>
          <p:cNvPr id="31" name="Text Placeholder 5">
            <a:extLst>
              <a:ext uri="{FF2B5EF4-FFF2-40B4-BE49-F238E27FC236}">
                <a16:creationId xmlns:a16="http://schemas.microsoft.com/office/drawing/2014/main" id="{BAD38AB6-A744-C045-BCCD-2AFA7EFF08B0}"/>
              </a:ext>
            </a:extLst>
          </p:cNvPr>
          <p:cNvSpPr>
            <a:spLocks noGrp="1"/>
          </p:cNvSpPr>
          <p:nvPr>
            <p:ph type="body" sz="quarter" idx="10"/>
          </p:nvPr>
        </p:nvSpPr>
        <p:spPr>
          <a:xfrm>
            <a:off x="599077" y="3987291"/>
            <a:ext cx="2876553" cy="627807"/>
          </a:xfrm>
        </p:spPr>
        <p:txBody>
          <a:bodyPr/>
          <a:lstStyle>
            <a:lvl1pPr marL="0" indent="0" algn="l">
              <a:buNone/>
              <a:defRPr sz="2040">
                <a:gradFill>
                  <a:gsLst>
                    <a:gs pos="0">
                      <a:schemeClr val="accent2"/>
                    </a:gs>
                    <a:gs pos="100000">
                      <a:srgbClr val="243A5E"/>
                    </a:gs>
                  </a:gsLst>
                  <a:lin ang="2700000" scaled="0"/>
                </a:gradFill>
                <a:latin typeface="+mj-lt"/>
              </a:defRPr>
            </a:lvl1pPr>
            <a:lvl2pPr marL="233126" indent="0" algn="ctr">
              <a:buNone/>
              <a:defRPr/>
            </a:lvl2pPr>
            <a:lvl3pPr marL="466251" indent="0" algn="ctr">
              <a:buNone/>
              <a:defRPr/>
            </a:lvl3pPr>
            <a:lvl4pPr marL="675094" indent="0" algn="ctr">
              <a:buNone/>
              <a:defRPr/>
            </a:lvl4pPr>
            <a:lvl5pPr marL="872604" indent="0" algn="ctr">
              <a:buNone/>
              <a:defRPr/>
            </a:lvl5pPr>
          </a:lstStyle>
          <a:p>
            <a:pPr lvl="0"/>
            <a:r>
              <a:rPr lang="en-US"/>
              <a:t>Click to edit Master text styles</a:t>
            </a:r>
          </a:p>
        </p:txBody>
      </p:sp>
      <p:sp>
        <p:nvSpPr>
          <p:cNvPr id="32" name="Picture Placeholder 9">
            <a:extLst>
              <a:ext uri="{FF2B5EF4-FFF2-40B4-BE49-F238E27FC236}">
                <a16:creationId xmlns:a16="http://schemas.microsoft.com/office/drawing/2014/main" id="{4916A006-2DE4-A843-B4C0-CD7F4EF25679}"/>
              </a:ext>
            </a:extLst>
          </p:cNvPr>
          <p:cNvSpPr>
            <a:spLocks noGrp="1"/>
          </p:cNvSpPr>
          <p:nvPr>
            <p:ph type="pic" sz="quarter" idx="11" hasCustomPrompt="1"/>
          </p:nvPr>
        </p:nvSpPr>
        <p:spPr>
          <a:xfrm>
            <a:off x="4122575" y="1501715"/>
            <a:ext cx="7574756" cy="282513"/>
          </a:xfrm>
          <a:solidFill>
            <a:schemeClr val="bg1"/>
          </a:solidFill>
        </p:spPr>
        <p:txBody>
          <a:bodyPr/>
          <a:lstStyle>
            <a:lvl1pPr marL="0" indent="0">
              <a:buNone/>
              <a:defRPr sz="1836"/>
            </a:lvl1pPr>
          </a:lstStyle>
          <a:p>
            <a:r>
              <a:rPr lang="en-US"/>
              <a:t>Add GIF</a:t>
            </a:r>
          </a:p>
        </p:txBody>
      </p:sp>
    </p:spTree>
    <p:extLst>
      <p:ext uri="{BB962C8B-B14F-4D97-AF65-F5344CB8AC3E}">
        <p14:creationId xmlns:p14="http://schemas.microsoft.com/office/powerpoint/2010/main" val="3200575844"/>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Organization: Report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7F927AA-87CB-7545-9BEA-01C66161C09D}"/>
              </a:ext>
            </a:extLst>
          </p:cNvPr>
          <p:cNvSpPr/>
          <p:nvPr userDrawn="1"/>
        </p:nvSpPr>
        <p:spPr bwMode="auto">
          <a:xfrm>
            <a:off x="0" y="1"/>
            <a:ext cx="12434888" cy="6113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lvl="0"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79D9B98-B555-C346-A35D-7C1B2A40756A}"/>
              </a:ext>
            </a:extLst>
          </p:cNvPr>
          <p:cNvGrpSpPr/>
          <p:nvPr userDrawn="1"/>
        </p:nvGrpSpPr>
        <p:grpSpPr>
          <a:xfrm>
            <a:off x="167398" y="165997"/>
            <a:ext cx="304999" cy="298841"/>
            <a:chOff x="6165604" y="1026138"/>
            <a:chExt cx="4774742" cy="4788376"/>
          </a:xfrm>
        </p:grpSpPr>
        <p:sp>
          <p:nvSpPr>
            <p:cNvPr id="18" name="Freeform 17">
              <a:extLst>
                <a:ext uri="{FF2B5EF4-FFF2-40B4-BE49-F238E27FC236}">
                  <a16:creationId xmlns:a16="http://schemas.microsoft.com/office/drawing/2014/main" id="{95736337-A332-1F48-9F57-D21D1A1BBE91}"/>
                </a:ext>
              </a:extLst>
            </p:cNvPr>
            <p:cNvSpPr/>
            <p:nvPr userDrawn="1"/>
          </p:nvSpPr>
          <p:spPr>
            <a:xfrm>
              <a:off x="6165604" y="1741945"/>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19" name="Freeform 18">
              <a:extLst>
                <a:ext uri="{FF2B5EF4-FFF2-40B4-BE49-F238E27FC236}">
                  <a16:creationId xmlns:a16="http://schemas.microsoft.com/office/drawing/2014/main" id="{D97CCD11-332A-C44D-A042-972153260795}"/>
                </a:ext>
              </a:extLst>
            </p:cNvPr>
            <p:cNvSpPr/>
            <p:nvPr userDrawn="1"/>
          </p:nvSpPr>
          <p:spPr>
            <a:xfrm>
              <a:off x="6902456" y="1026138"/>
              <a:ext cx="1635159"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0" name="Freeform 19">
              <a:extLst>
                <a:ext uri="{FF2B5EF4-FFF2-40B4-BE49-F238E27FC236}">
                  <a16:creationId xmlns:a16="http://schemas.microsoft.com/office/drawing/2014/main" id="{9C4D00FB-32E3-634C-97A6-72FDDD2A0ADF}"/>
                </a:ext>
              </a:extLst>
            </p:cNvPr>
            <p:cNvSpPr/>
            <p:nvPr userDrawn="1"/>
          </p:nvSpPr>
          <p:spPr>
            <a:xfrm>
              <a:off x="8614452" y="1028317"/>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1" name="Freeform 20">
              <a:extLst>
                <a:ext uri="{FF2B5EF4-FFF2-40B4-BE49-F238E27FC236}">
                  <a16:creationId xmlns:a16="http://schemas.microsoft.com/office/drawing/2014/main" id="{1A26C858-5975-7946-A4D4-0E3E0154FDC3}"/>
                </a:ext>
              </a:extLst>
            </p:cNvPr>
            <p:cNvSpPr/>
            <p:nvPr userDrawn="1"/>
          </p:nvSpPr>
          <p:spPr>
            <a:xfrm>
              <a:off x="8711613" y="1764897"/>
              <a:ext cx="2228733" cy="1566894"/>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2" name="Freeform 21">
              <a:extLst>
                <a:ext uri="{FF2B5EF4-FFF2-40B4-BE49-F238E27FC236}">
                  <a16:creationId xmlns:a16="http://schemas.microsoft.com/office/drawing/2014/main" id="{658602A3-421C-4342-BDD5-AC791A745845}"/>
                </a:ext>
              </a:extLst>
            </p:cNvPr>
            <p:cNvSpPr/>
            <p:nvPr userDrawn="1"/>
          </p:nvSpPr>
          <p:spPr>
            <a:xfrm rot="10800000">
              <a:off x="8665496" y="3508861"/>
              <a:ext cx="2274849" cy="1589845"/>
            </a:xfrm>
            <a:custGeom>
              <a:avLst/>
              <a:gdLst>
                <a:gd name="connsiteX0" fmla="*/ 691360 w 2304872"/>
                <a:gd name="connsiteY0" fmla="*/ 0 h 1610830"/>
                <a:gd name="connsiteX1" fmla="*/ 2304872 w 2304872"/>
                <a:gd name="connsiteY1" fmla="*/ 1610830 h 1610830"/>
                <a:gd name="connsiteX2" fmla="*/ 0 w 2304872"/>
                <a:gd name="connsiteY2" fmla="*/ 1610830 h 1610830"/>
                <a:gd name="connsiteX3" fmla="*/ 8353 w 2304872"/>
                <a:gd name="connsiteY3" fmla="*/ 1445686 h 1610830"/>
                <a:gd name="connsiteX4" fmla="*/ 635114 w 2304872"/>
                <a:gd name="connsiteY4" fmla="*/ 55820 h 1610830"/>
                <a:gd name="connsiteX5" fmla="*/ 691360 w 2304872"/>
                <a:gd name="connsiteY5" fmla="*/ 0 h 16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872" h="1610830">
                  <a:moveTo>
                    <a:pt x="691360" y="0"/>
                  </a:moveTo>
                  <a:lnTo>
                    <a:pt x="2304872" y="1610830"/>
                  </a:lnTo>
                  <a:lnTo>
                    <a:pt x="0" y="1610830"/>
                  </a:lnTo>
                  <a:lnTo>
                    <a:pt x="8353" y="1445686"/>
                  </a:lnTo>
                  <a:cubicBezTo>
                    <a:pt x="62640" y="912024"/>
                    <a:pt x="290683" y="429644"/>
                    <a:pt x="635114" y="55820"/>
                  </a:cubicBezTo>
                  <a:lnTo>
                    <a:pt x="69136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3" name="Freeform 22">
              <a:extLst>
                <a:ext uri="{FF2B5EF4-FFF2-40B4-BE49-F238E27FC236}">
                  <a16:creationId xmlns:a16="http://schemas.microsoft.com/office/drawing/2014/main" id="{F5EF783F-CE01-4C4E-A28E-29747ED8E52C}"/>
                </a:ext>
              </a:extLst>
            </p:cNvPr>
            <p:cNvSpPr/>
            <p:nvPr userDrawn="1"/>
          </p:nvSpPr>
          <p:spPr>
            <a:xfrm rot="10800000">
              <a:off x="8568337" y="3520351"/>
              <a:ext cx="1635158" cy="2294163"/>
            </a:xfrm>
            <a:custGeom>
              <a:avLst/>
              <a:gdLst>
                <a:gd name="connsiteX0" fmla="*/ 1656739 w 1656739"/>
                <a:gd name="connsiteY0" fmla="*/ 0 h 2324445"/>
                <a:gd name="connsiteX1" fmla="*/ 1656739 w 1656739"/>
                <a:gd name="connsiteY1" fmla="*/ 2324445 h 2324445"/>
                <a:gd name="connsiteX2" fmla="*/ 0 w 1656739"/>
                <a:gd name="connsiteY2" fmla="*/ 670461 h 2324445"/>
                <a:gd name="connsiteX3" fmla="*/ 43110 w 1656739"/>
                <a:gd name="connsiteY3" fmla="*/ 627679 h 2324445"/>
                <a:gd name="connsiteX4" fmla="*/ 1439849 w 1656739"/>
                <a:gd name="connsiteY4" fmla="*/ 10252 h 2324445"/>
                <a:gd name="connsiteX5" fmla="*/ 1656739 w 1656739"/>
                <a:gd name="connsiteY5" fmla="*/ 0 h 232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6739" h="2324445">
                  <a:moveTo>
                    <a:pt x="1656739" y="0"/>
                  </a:moveTo>
                  <a:lnTo>
                    <a:pt x="1656739" y="2324445"/>
                  </a:lnTo>
                  <a:lnTo>
                    <a:pt x="0" y="670461"/>
                  </a:lnTo>
                  <a:lnTo>
                    <a:pt x="43110" y="627679"/>
                  </a:lnTo>
                  <a:cubicBezTo>
                    <a:pt x="419622" y="286040"/>
                    <a:pt x="904325" y="61139"/>
                    <a:pt x="1439849" y="10252"/>
                  </a:cubicBezTo>
                  <a:lnTo>
                    <a:pt x="1656739"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4" name="Freeform 23">
              <a:extLst>
                <a:ext uri="{FF2B5EF4-FFF2-40B4-BE49-F238E27FC236}">
                  <a16:creationId xmlns:a16="http://schemas.microsoft.com/office/drawing/2014/main" id="{E6B37F5A-7DF1-DD4C-8238-983048467AC3}"/>
                </a:ext>
              </a:extLst>
            </p:cNvPr>
            <p:cNvSpPr/>
            <p:nvPr userDrawn="1"/>
          </p:nvSpPr>
          <p:spPr>
            <a:xfrm rot="10800000">
              <a:off x="6879328" y="3520351"/>
              <a:ext cx="1612168" cy="2291983"/>
            </a:xfrm>
            <a:custGeom>
              <a:avLst/>
              <a:gdLst>
                <a:gd name="connsiteX0" fmla="*/ 0 w 1633446"/>
                <a:gd name="connsiteY0" fmla="*/ 0 h 2322236"/>
                <a:gd name="connsiteX1" fmla="*/ 170165 w 1633446"/>
                <a:gd name="connsiteY1" fmla="*/ 8043 h 2322236"/>
                <a:gd name="connsiteX2" fmla="*/ 1566906 w 1633446"/>
                <a:gd name="connsiteY2" fmla="*/ 625470 h 2322236"/>
                <a:gd name="connsiteX3" fmla="*/ 1633446 w 1633446"/>
                <a:gd name="connsiteY3" fmla="*/ 691505 h 2322236"/>
                <a:gd name="connsiteX4" fmla="*/ 0 w 1633446"/>
                <a:gd name="connsiteY4" fmla="*/ 2322236 h 2322236"/>
                <a:gd name="connsiteX5" fmla="*/ 0 w 1633446"/>
                <a:gd name="connsiteY5" fmla="*/ 0 h 232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3446" h="2322236">
                  <a:moveTo>
                    <a:pt x="0" y="0"/>
                  </a:moveTo>
                  <a:lnTo>
                    <a:pt x="170165" y="8043"/>
                  </a:lnTo>
                  <a:cubicBezTo>
                    <a:pt x="705689" y="58930"/>
                    <a:pt x="1190393" y="283831"/>
                    <a:pt x="1566906" y="625470"/>
                  </a:cubicBezTo>
                  <a:lnTo>
                    <a:pt x="1633446" y="691505"/>
                  </a:lnTo>
                  <a:lnTo>
                    <a:pt x="0" y="2322236"/>
                  </a:lnTo>
                  <a:lnTo>
                    <a:pt x="0" y="0"/>
                  </a:lnTo>
                  <a:close/>
                </a:path>
              </a:pathLst>
            </a:custGeom>
            <a:solidFill>
              <a:srgbClr val="0078D4"/>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sp>
          <p:nvSpPr>
            <p:cNvPr id="25" name="Freeform 24">
              <a:extLst>
                <a:ext uri="{FF2B5EF4-FFF2-40B4-BE49-F238E27FC236}">
                  <a16:creationId xmlns:a16="http://schemas.microsoft.com/office/drawing/2014/main" id="{B974714F-59A6-3048-9B6F-5B5A06BF2FC6}"/>
                </a:ext>
              </a:extLst>
            </p:cNvPr>
            <p:cNvSpPr/>
            <p:nvPr userDrawn="1"/>
          </p:nvSpPr>
          <p:spPr>
            <a:xfrm rot="10800000">
              <a:off x="6165604" y="3508863"/>
              <a:ext cx="2228733" cy="1566893"/>
            </a:xfrm>
            <a:custGeom>
              <a:avLst/>
              <a:gdLst>
                <a:gd name="connsiteX0" fmla="*/ 1590220 w 2258148"/>
                <a:gd name="connsiteY0" fmla="*/ 0 h 1587576"/>
                <a:gd name="connsiteX1" fmla="*/ 1623034 w 2258148"/>
                <a:gd name="connsiteY1" fmla="*/ 32566 h 1587576"/>
                <a:gd name="connsiteX2" fmla="*/ 2249794 w 2258148"/>
                <a:gd name="connsiteY2" fmla="*/ 1422432 h 1587576"/>
                <a:gd name="connsiteX3" fmla="*/ 2258148 w 2258148"/>
                <a:gd name="connsiteY3" fmla="*/ 1587576 h 1587576"/>
                <a:gd name="connsiteX4" fmla="*/ 0 w 2258148"/>
                <a:gd name="connsiteY4" fmla="*/ 1587576 h 1587576"/>
                <a:gd name="connsiteX5" fmla="*/ 1590220 w 2258148"/>
                <a:gd name="connsiteY5" fmla="*/ 0 h 158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148" h="1587576">
                  <a:moveTo>
                    <a:pt x="1590220" y="0"/>
                  </a:moveTo>
                  <a:lnTo>
                    <a:pt x="1623034" y="32566"/>
                  </a:lnTo>
                  <a:cubicBezTo>
                    <a:pt x="1967464" y="406390"/>
                    <a:pt x="2195508" y="888770"/>
                    <a:pt x="2249794" y="1422432"/>
                  </a:cubicBezTo>
                  <a:lnTo>
                    <a:pt x="2258148" y="1587576"/>
                  </a:lnTo>
                  <a:lnTo>
                    <a:pt x="0" y="1587576"/>
                  </a:lnTo>
                  <a:lnTo>
                    <a:pt x="1590220" y="0"/>
                  </a:lnTo>
                  <a:close/>
                </a:path>
              </a:pathLst>
            </a:custGeom>
            <a:solidFill>
              <a:schemeClr val="tx1"/>
            </a:solidFill>
            <a:ln w="6350" cap="flat">
              <a:solidFill>
                <a:schemeClr val="bg1"/>
              </a:solidFill>
              <a:prstDash val="solid"/>
              <a:miter/>
            </a:ln>
            <a:effectLst/>
          </p:spPr>
          <p:txBody>
            <a:bodyPr wrap="square" rtlCol="0" anchor="ctr">
              <a:noAutofit/>
              <a:scene3d>
                <a:camera prst="orthographicFront">
                  <a:rot lat="0" lon="0" rev="0"/>
                </a:camera>
                <a:lightRig rig="threePt" dir="t"/>
              </a:scene3d>
            </a:bodyPr>
            <a:lstStyle/>
            <a:p>
              <a:pPr lvl="0" algn="ctr" defTabSz="932146"/>
              <a:endParaRPr lang="en-US" sz="1599" b="1" kern="0">
                <a:solidFill>
                  <a:srgbClr val="FFFFFF"/>
                </a:solidFill>
                <a:latin typeface="Segoe UI Semibold"/>
                <a:cs typeface="Segoe UI" panose="020B0502040204020203" pitchFamily="34" charset="0"/>
              </a:endParaRPr>
            </a:p>
          </p:txBody>
        </p:sp>
      </p:grpSp>
      <p:sp>
        <p:nvSpPr>
          <p:cNvPr id="14" name="Rounded Rectangle 13">
            <a:extLst>
              <a:ext uri="{FF2B5EF4-FFF2-40B4-BE49-F238E27FC236}">
                <a16:creationId xmlns:a16="http://schemas.microsoft.com/office/drawing/2014/main" id="{80D9BE76-87BC-F348-8D26-C4FDD88EC9D8}"/>
              </a:ext>
            </a:extLst>
          </p:cNvPr>
          <p:cNvSpPr/>
          <p:nvPr/>
        </p:nvSpPr>
        <p:spPr bwMode="auto">
          <a:xfrm>
            <a:off x="226414" y="224956"/>
            <a:ext cx="187040" cy="187002"/>
          </a:xfrm>
          <a:prstGeom prst="roundRect">
            <a:avLst>
              <a:gd name="adj" fmla="val 50000"/>
            </a:avLst>
          </a:prstGeom>
          <a:solidFill>
            <a:schemeClr val="accent1"/>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714" err="1">
              <a:solidFill>
                <a:srgbClr val="000000"/>
              </a:solidFill>
              <a:latin typeface="Segoe UI Semibold"/>
              <a:cs typeface="Segoe UI" panose="020B0502040204020203" pitchFamily="34" charset="0"/>
            </a:endParaRPr>
          </a:p>
        </p:txBody>
      </p:sp>
      <p:sp>
        <p:nvSpPr>
          <p:cNvPr id="16" name="TextBox 15">
            <a:extLst>
              <a:ext uri="{FF2B5EF4-FFF2-40B4-BE49-F238E27FC236}">
                <a16:creationId xmlns:a16="http://schemas.microsoft.com/office/drawing/2014/main" id="{641A289A-9181-1E4A-AD35-D3A4F297E0C6}"/>
              </a:ext>
            </a:extLst>
          </p:cNvPr>
          <p:cNvSpPr txBox="1"/>
          <p:nvPr/>
        </p:nvSpPr>
        <p:spPr>
          <a:xfrm>
            <a:off x="616553" y="292189"/>
            <a:ext cx="2290549" cy="176114"/>
          </a:xfrm>
          <a:prstGeom prst="rect">
            <a:avLst/>
          </a:prstGeom>
          <a:noFill/>
        </p:spPr>
        <p:txBody>
          <a:bodyPr wrap="none" lIns="0" tIns="0" rIns="0" bIns="0" rtlCol="0">
            <a:spAutoFit/>
          </a:bodyPr>
          <a:lstStyle/>
          <a:p>
            <a:pPr marL="0" algn="l" defTabSz="932504" rtl="0" eaLnBrk="1" latinLnBrk="0" hangingPunct="1"/>
            <a:r>
              <a:rPr lang="en-US" sz="1122" b="1" kern="1200">
                <a:solidFill>
                  <a:schemeClr val="accent2"/>
                </a:solidFill>
                <a:latin typeface="Segoe UI Semibold"/>
                <a:ea typeface="+mn-ea"/>
                <a:cs typeface="Segoe UI" panose="020B0502040204020203" pitchFamily="34" charset="0"/>
              </a:rPr>
              <a:t>Enterprise reporting &amp; distribution</a:t>
            </a:r>
          </a:p>
        </p:txBody>
      </p:sp>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699263" y="2900378"/>
            <a:ext cx="6994525" cy="1193773"/>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userDrawn="1">
            <p:ph type="title"/>
          </p:nvPr>
        </p:nvSpPr>
        <p:spPr>
          <a:xfrm>
            <a:off x="594221" y="834364"/>
            <a:ext cx="11246449" cy="565027"/>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813752" y="222990"/>
            <a:ext cx="453739" cy="165394"/>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27" name="Rectangle 26">
            <a:hlinkClick r:id="rId3" action="ppaction://hlinksldjump"/>
            <a:extLst>
              <a:ext uri="{FF2B5EF4-FFF2-40B4-BE49-F238E27FC236}">
                <a16:creationId xmlns:a16="http://schemas.microsoft.com/office/drawing/2014/main" id="{D833B2F9-3794-2E47-8328-A0621580EB81}"/>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28" name="Rectangle 27">
            <a:hlinkClick r:id="rId4" action="ppaction://hlinksldjump"/>
            <a:extLst>
              <a:ext uri="{FF2B5EF4-FFF2-40B4-BE49-F238E27FC236}">
                <a16:creationId xmlns:a16="http://schemas.microsoft.com/office/drawing/2014/main" id="{6141C7E0-1239-1542-A5A6-462DEEB33ADE}"/>
              </a:ext>
            </a:extLst>
          </p:cNvPr>
          <p:cNvSpPr/>
          <p:nvPr userDrawn="1"/>
        </p:nvSpPr>
        <p:spPr bwMode="auto">
          <a:xfrm>
            <a:off x="0" y="1"/>
            <a:ext cx="2232627" cy="611373"/>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Title 2">
            <a:extLst>
              <a:ext uri="{FF2B5EF4-FFF2-40B4-BE49-F238E27FC236}">
                <a16:creationId xmlns:a16="http://schemas.microsoft.com/office/drawing/2014/main" id="{8761C415-BCF7-214A-BE49-BD4CB663DD36}"/>
              </a:ext>
            </a:extLst>
          </p:cNvPr>
          <p:cNvSpPr txBox="1">
            <a:spLocks/>
          </p:cNvSpPr>
          <p:nvPr/>
        </p:nvSpPr>
        <p:spPr>
          <a:xfrm>
            <a:off x="616553" y="160421"/>
            <a:ext cx="1538477" cy="128046"/>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indent="0" algn="l" defTabSz="951209"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CA" sz="816" b="0" kern="1200" cap="none" spc="0" baseline="0">
                <a:ln w="3175">
                  <a:noFill/>
                </a:ln>
                <a:solidFill>
                  <a:schemeClr val="tx2"/>
                </a:solidFill>
                <a:effectLst/>
                <a:latin typeface="+mj-lt"/>
                <a:ea typeface="+mn-ea"/>
                <a:cs typeface="Segoe UI" panose="020B0502040204020203" pitchFamily="34" charset="0"/>
              </a:rPr>
              <a:t>Empowering every organization</a:t>
            </a:r>
          </a:p>
        </p:txBody>
      </p:sp>
    </p:spTree>
    <p:extLst>
      <p:ext uri="{BB962C8B-B14F-4D97-AF65-F5344CB8AC3E}">
        <p14:creationId xmlns:p14="http://schemas.microsoft.com/office/powerpoint/2010/main" val="1072993570"/>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solidFill>
                  <a:schemeClr val="tx1"/>
                </a:solidFill>
                <a:cs typeface="Segoe UI" pitchFamily="34" charset="0"/>
              </a:rPr>
              <a:t>© Copyright Microsoft Corporation. All rights reserved. </a:t>
            </a:r>
          </a:p>
        </p:txBody>
      </p:sp>
      <p:pic>
        <p:nvPicPr>
          <p:cNvPr id="5" name="MS logo gray - EMF" descr="Microsoft logo, gray text version">
            <a:extLst>
              <a:ext uri="{FF2B5EF4-FFF2-40B4-BE49-F238E27FC236}">
                <a16:creationId xmlns:a16="http://schemas.microsoft.com/office/drawing/2014/main" id="{82665ECD-7F1D-7243-AF57-A5771ECA1D87}"/>
              </a:ext>
            </a:extLst>
          </p:cNvPr>
          <p:cNvPicPr>
            <a:picLocks noChangeAspect="1"/>
          </p:cNvPicPr>
          <p:nvPr userDrawn="1"/>
        </p:nvPicPr>
        <p:blipFill>
          <a:blip r:embed="rId2"/>
          <a:stretch>
            <a:fillRect/>
          </a:stretch>
        </p:blipFill>
        <p:spPr bwMode="black">
          <a:xfrm>
            <a:off x="595838" y="597451"/>
            <a:ext cx="1393662" cy="298433"/>
          </a:xfrm>
          <a:prstGeom prst="rect">
            <a:avLst/>
          </a:prstGeom>
        </p:spPr>
      </p:pic>
    </p:spTree>
    <p:extLst>
      <p:ext uri="{BB962C8B-B14F-4D97-AF65-F5344CB8AC3E}">
        <p14:creationId xmlns:p14="http://schemas.microsoft.com/office/powerpoint/2010/main" val="37153825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50408" y="463089"/>
            <a:ext cx="801002"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783" y="623042"/>
            <a:ext cx="462251" cy="462244"/>
          </a:xfrm>
          <a:prstGeom prst="rect">
            <a:avLst/>
          </a:prstGeom>
        </p:spPr>
      </p:pic>
    </p:spTree>
    <p:extLst>
      <p:ext uri="{BB962C8B-B14F-4D97-AF65-F5344CB8AC3E}">
        <p14:creationId xmlns:p14="http://schemas.microsoft.com/office/powerpoint/2010/main" val="2939944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361" y="3673745"/>
            <a:ext cx="932616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26EC1BD-4F0B-4D5A-8551-0DFF0F9B2C4B}" type="datetimeFigureOut">
              <a:rPr lang="en-US" smtClean="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0668581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69538493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422" y="1743775"/>
            <a:ext cx="10725091"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422" y="4680828"/>
            <a:ext cx="10725091"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6EC1BD-4F0B-4D5A-8551-0DFF0F9B2C4B}" type="datetimeFigureOut">
              <a:rPr lang="en-US" smtClean="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10957674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8"/>
            <a:ext cx="5284827"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6EC1BD-4F0B-4D5A-8551-0DFF0F9B2C4B}" type="datetimeFigureOut">
              <a:rPr lang="en-US" smtClean="0"/>
              <a:t>3/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73850961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518" y="372394"/>
            <a:ext cx="10725091" cy="1351952"/>
          </a:xfrm>
        </p:spPr>
        <p:txBody>
          <a:bodyPr/>
          <a:lstStyle/>
          <a:p>
            <a:r>
              <a:rPr lang="en-US"/>
              <a:t>Click to edit Master title style</a:t>
            </a:r>
          </a:p>
        </p:txBody>
      </p:sp>
      <p:sp>
        <p:nvSpPr>
          <p:cNvPr id="3" name="Text Placeholder 2"/>
          <p:cNvSpPr>
            <a:spLocks noGrp="1"/>
          </p:cNvSpPr>
          <p:nvPr>
            <p:ph type="body" idx="1"/>
          </p:nvPr>
        </p:nvSpPr>
        <p:spPr>
          <a:xfrm>
            <a:off x="856519" y="1714631"/>
            <a:ext cx="5260540"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519" y="2554944"/>
            <a:ext cx="5260540"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162" y="1714631"/>
            <a:ext cx="5286447"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162" y="2554944"/>
            <a:ext cx="5286447"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6EC1BD-4F0B-4D5A-8551-0DFF0F9B2C4B}" type="datetimeFigureOut">
              <a:rPr lang="en-US" smtClean="0"/>
              <a:t>3/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25032125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6EC1BD-4F0B-4D5A-8551-0DFF0F9B2C4B}" type="datetimeFigureOut">
              <a:rPr lang="en-US" smtClean="0"/>
              <a:t>3/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97650551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6EC1BD-4F0B-4D5A-8551-0DFF0F9B2C4B}" type="datetimeFigureOut">
              <a:rPr lang="en-US" smtClean="0"/>
              <a:t>3/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4246853282"/>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6447" y="1007083"/>
            <a:ext cx="6295162"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3758683044"/>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519" y="466302"/>
            <a:ext cx="4010575" cy="1632056"/>
          </a:xfrm>
        </p:spPr>
        <p:txBody>
          <a:bodyPr anchor="b"/>
          <a:lstStyle>
            <a:lvl1pPr>
              <a:defRPr sz="3264"/>
            </a:lvl1pPr>
          </a:lstStyle>
          <a:p>
            <a:r>
              <a:rPr lang="en-US"/>
              <a:t>Click to edit Master title style</a:t>
            </a:r>
          </a:p>
        </p:txBody>
      </p:sp>
      <p:sp>
        <p:nvSpPr>
          <p:cNvPr id="3" name="Picture Placeholder 2"/>
          <p:cNvSpPr>
            <a:spLocks noGrp="1" noChangeAspect="1"/>
          </p:cNvSpPr>
          <p:nvPr>
            <p:ph type="pic" idx="1"/>
          </p:nvPr>
        </p:nvSpPr>
        <p:spPr>
          <a:xfrm>
            <a:off x="5286447" y="1007083"/>
            <a:ext cx="6295162"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p>
        </p:txBody>
      </p:sp>
      <p:sp>
        <p:nvSpPr>
          <p:cNvPr id="4" name="Text Placeholder 3"/>
          <p:cNvSpPr>
            <a:spLocks noGrp="1"/>
          </p:cNvSpPr>
          <p:nvPr>
            <p:ph type="body" sz="half" idx="2"/>
          </p:nvPr>
        </p:nvSpPr>
        <p:spPr>
          <a:xfrm>
            <a:off x="856519" y="2098357"/>
            <a:ext cx="4010575"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26EC1BD-4F0B-4D5A-8551-0DFF0F9B2C4B}" type="datetimeFigureOut">
              <a:rPr lang="en-US" smtClean="0"/>
              <a:t>3/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87786425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23470002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209973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717" y="372394"/>
            <a:ext cx="2681273"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4899" y="372394"/>
            <a:ext cx="7888382"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6EC1BD-4F0B-4D5A-8551-0DFF0F9B2C4B}" type="datetimeFigureOut">
              <a:rPr lang="en-US" smtClean="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08E3E-1A5C-4948-933C-80D7EF951324}" type="slidenum">
              <a:rPr lang="en-US" smtClean="0"/>
              <a:t>‹#›</a:t>
            </a:fld>
            <a:endParaRPr lang="en-US"/>
          </a:p>
        </p:txBody>
      </p:sp>
    </p:spTree>
    <p:extLst>
      <p:ext uri="{BB962C8B-B14F-4D97-AF65-F5344CB8AC3E}">
        <p14:creationId xmlns:p14="http://schemas.microsoft.com/office/powerpoint/2010/main" val="197019931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003353"/>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507471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3553145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697494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rgbClr val="6A4B16"/>
            </a:solidFill>
          </a:ln>
        </p:spPr>
        <p:txBody>
          <a:bodyPr wrap="square" lIns="182880" tIns="182880" rIns="182880" bIns="182880" anchor="t" anchorCtr="0">
            <a:noAutofit/>
          </a:bodyPr>
          <a:lstStyle>
            <a:lvl1pPr marL="0" indent="0">
              <a:buNone/>
              <a:defRPr sz="1122">
                <a:gradFill>
                  <a:gsLst>
                    <a:gs pos="82000">
                      <a:srgbClr val="6A4B16"/>
                    </a:gs>
                    <a:gs pos="0">
                      <a:srgbClr val="6A4B1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rgbClr val="6A4B1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rgbClr val="6A4B16"/>
                    </a:gs>
                    <a:gs pos="0">
                      <a:srgbClr val="6A4B1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rgbClr val="6A4B16"/>
                    </a:gs>
                    <a:gs pos="0">
                      <a:srgbClr val="6A4B1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28375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accent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D59D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D59DFF"/>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E165A012-D3EE-47EF-B8B3-CEB2C68B6C93}"/>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EB9B3534-AB58-46E6-A28E-642FE73C96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7755" y="630433"/>
            <a:ext cx="466308" cy="466302"/>
          </a:xfrm>
          <a:prstGeom prst="rect">
            <a:avLst/>
          </a:prstGeom>
        </p:spPr>
      </p:pic>
    </p:spTree>
    <p:extLst>
      <p:ext uri="{BB962C8B-B14F-4D97-AF65-F5344CB8AC3E}">
        <p14:creationId xmlns:p14="http://schemas.microsoft.com/office/powerpoint/2010/main" val="2558972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26" indent="0">
              <a:buNone/>
              <a:defRPr/>
            </a:lvl2pPr>
            <a:lvl3pPr marL="466251" indent="0">
              <a:buNone/>
              <a:defRPr/>
            </a:lvl3pPr>
            <a:lvl4pPr marL="699377" indent="0">
              <a:buNone/>
              <a:defRPr/>
            </a:lvl4pPr>
            <a:lvl5pPr marL="93250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68041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86137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2279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21578995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67208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5"/>
            </a:solidFill>
          </a:ln>
        </p:spPr>
        <p:txBody>
          <a:bodyPr wrap="square" lIns="182880" tIns="182880" rIns="182880" bIns="182880" anchor="t" anchorCtr="0">
            <a:noAutofit/>
          </a:bodyPr>
          <a:lstStyle>
            <a:lvl1pPr marL="0" indent="0">
              <a:buNone/>
              <a:defRPr sz="1122">
                <a:gradFill>
                  <a:gsLst>
                    <a:gs pos="82000">
                      <a:schemeClr val="accent5"/>
                    </a:gs>
                    <a:gs pos="0">
                      <a:schemeClr val="accent5"/>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5"/>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5"/>
                    </a:gs>
                    <a:gs pos="0">
                      <a:schemeClr val="accent5"/>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5"/>
                    </a:gs>
                    <a:gs pos="0">
                      <a:schemeClr val="accent5"/>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630120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9" y="4941507"/>
            <a:ext cx="6210967" cy="207083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50408" y="463089"/>
            <a:ext cx="801002" cy="800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30027" y="642705"/>
            <a:ext cx="466308" cy="466302"/>
          </a:xfrm>
          <a:prstGeom prst="rect">
            <a:avLst/>
          </a:prstGeom>
        </p:spPr>
      </p:pic>
    </p:spTree>
    <p:extLst>
      <p:ext uri="{BB962C8B-B14F-4D97-AF65-F5344CB8AC3E}">
        <p14:creationId xmlns:p14="http://schemas.microsoft.com/office/powerpoint/2010/main" val="402668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3070320"/>
            <a:ext cx="11238030" cy="565027"/>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174055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99982" y="2505294"/>
            <a:ext cx="4603037" cy="1130053"/>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6044199" y="597451"/>
            <a:ext cx="5796471" cy="5796389"/>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428" y="4930171"/>
            <a:ext cx="6220682" cy="2082166"/>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10446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userDrawn="1">
          <p15:clr>
            <a:srgbClr val="FBAE40"/>
          </p15:clr>
        </p15:guide>
        <p15:guide id="2" pos="6133"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973335" y="3168585"/>
            <a:ext cx="4068865" cy="3859942"/>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6065805" y="3241"/>
            <a:ext cx="6369085" cy="6991284"/>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5315915"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spTree>
    <p:extLst>
      <p:ext uri="{BB962C8B-B14F-4D97-AF65-F5344CB8AC3E}">
        <p14:creationId xmlns:p14="http://schemas.microsoft.com/office/powerpoint/2010/main" val="792661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95838" y="1463671"/>
            <a:ext cx="11238029" cy="439465"/>
          </a:xfrm>
        </p:spPr>
        <p:txBody>
          <a:bodyPr wrap="square">
            <a:spAutoFit/>
          </a:bodyPr>
          <a:lstStyle>
            <a:lvl1pPr marL="0" indent="0">
              <a:spcBef>
                <a:spcPts val="1248"/>
              </a:spcBef>
              <a:buClr>
                <a:schemeClr val="tx1"/>
              </a:buClr>
              <a:buFont typeface="Arial" panose="020B0604020202020204" pitchFamily="34" charset="0"/>
              <a:buNone/>
              <a:defRPr sz="2856" b="0">
                <a:latin typeface="Segoe UI" panose="020B0502040204020203" pitchFamily="34" charset="0"/>
                <a:cs typeface="Segoe UI" panose="020B0502040204020203" pitchFamily="34" charset="0"/>
              </a:defRPr>
            </a:lvl1pPr>
            <a:lvl2pPr marL="260648" indent="0">
              <a:buFont typeface="Arial" panose="020B0604020202020204" pitchFamily="34" charset="0"/>
              <a:buNone/>
              <a:defRPr sz="2040" b="0"/>
            </a:lvl2pPr>
            <a:lvl3pPr marL="459776" indent="0">
              <a:buFont typeface="Arial" panose="020B0604020202020204" pitchFamily="34" charset="0"/>
              <a:buNone/>
              <a:tabLst/>
              <a:defRPr sz="1632" b="0"/>
            </a:lvl3pPr>
            <a:lvl4pPr marL="665379" indent="0">
              <a:buFont typeface="Arial" panose="020B0604020202020204" pitchFamily="34" charset="0"/>
              <a:buNone/>
              <a:defRPr sz="1428" b="0"/>
            </a:lvl4pPr>
            <a:lvl5pPr marL="870984" indent="0">
              <a:buFont typeface="Arial" panose="020B0604020202020204" pitchFamily="34" charset="0"/>
              <a:buNone/>
              <a:tabLst/>
              <a:defRPr sz="1428"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9094230" y="3168585"/>
            <a:ext cx="4068865" cy="3859942"/>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814741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8"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0"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493016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284931"/>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guide id="4" pos="3660" userDrawn="1">
          <p15:clr>
            <a:srgbClr val="5ACBF0"/>
          </p15:clr>
        </p15:guide>
        <p15:guide id="5" pos="4022"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96876" y="1217131"/>
            <a:ext cx="8183032" cy="807752"/>
          </a:xfrm>
          <a:noFill/>
        </p:spPr>
        <p:txBody>
          <a:bodyPr vert="horz" wrap="square" lIns="0" tIns="0" rIns="0" bIns="0" rtlCol="0">
            <a:noAutofit/>
          </a:bodyPr>
          <a:lstStyle>
            <a:lvl1pPr>
              <a:defRPr lang="en-US" sz="2448"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8074497" y="4858987"/>
            <a:ext cx="1235376" cy="2154115"/>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36"/>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99982" y="2080208"/>
            <a:ext cx="8183033" cy="192135"/>
          </a:xfrm>
          <a:noFill/>
        </p:spPr>
        <p:txBody>
          <a:bodyPr vert="horz" wrap="square" lIns="0" tIns="0" rIns="0" bIns="0" rtlCol="0">
            <a:spAutoFit/>
          </a:bodyPr>
          <a:lstStyle>
            <a:lvl1pPr marL="0" indent="0">
              <a:buNone/>
              <a:defRPr lang="en-US" sz="1224" baseline="0" dirty="0" smtClean="0">
                <a:gradFill flip="none" rotWithShape="1">
                  <a:gsLst>
                    <a:gs pos="82000">
                      <a:schemeClr val="bg1"/>
                    </a:gs>
                    <a:gs pos="0">
                      <a:schemeClr val="bg1"/>
                    </a:gs>
                  </a:gsLst>
                  <a:lin ang="2700000" scaled="1"/>
                  <a:tileRect/>
                </a:gradFill>
                <a:latin typeface="+mn-lt"/>
              </a:defRPr>
            </a:lvl1pPr>
          </a:lstStyle>
          <a:p>
            <a:pPr marL="233126" lvl="0" indent="-233126">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99982" y="4330980"/>
            <a:ext cx="4018830" cy="2286146"/>
          </a:xfrm>
          <a:solidFill>
            <a:schemeClr val="tx1"/>
          </a:solidFill>
          <a:ln w="22225">
            <a:solidFill>
              <a:schemeClr val="accent6"/>
            </a:solidFill>
          </a:ln>
        </p:spPr>
        <p:txBody>
          <a:bodyPr wrap="square" lIns="182880" tIns="182880" rIns="182880" bIns="182880" anchor="t" anchorCtr="0">
            <a:noAutofit/>
          </a:bodyPr>
          <a:lstStyle>
            <a:lvl1pPr marL="0" indent="0">
              <a:buNone/>
              <a:defRPr sz="1122">
                <a:gradFill>
                  <a:gsLst>
                    <a:gs pos="82000">
                      <a:schemeClr val="accent6"/>
                    </a:gs>
                    <a:gs pos="0">
                      <a:schemeClr val="accent6"/>
                    </a:gs>
                  </a:gsLst>
                  <a:lin ang="2700000" scaled="1"/>
                </a:gradFill>
                <a:latin typeface="+mj-lt"/>
              </a:defRPr>
            </a:lvl1pPr>
            <a:lvl2pPr marL="233126"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256416" y="2"/>
            <a:ext cx="3178472" cy="43947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99982" y="497435"/>
            <a:ext cx="1771571" cy="466302"/>
          </a:xfrm>
          <a:noFill/>
        </p:spPr>
        <p:txBody>
          <a:bodyPr wrap="square" anchor="ctr" anchorCtr="0">
            <a:noAutofit/>
          </a:bodyPr>
          <a:lstStyle>
            <a:lvl1pPr marL="0" indent="0" algn="l">
              <a:buNone/>
              <a:defRPr sz="1836"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764182" y="4330980"/>
            <a:ext cx="4018831" cy="2286146"/>
          </a:xfrm>
          <a:prstGeom prst="rect">
            <a:avLst/>
          </a:prstGeom>
          <a:solidFill>
            <a:schemeClr val="tx1"/>
          </a:solidFill>
          <a:ln w="22225">
            <a:solidFill>
              <a:schemeClr val="accent6"/>
            </a:solidFill>
          </a:ln>
        </p:spPr>
        <p:txBody>
          <a:bodyPr vert="horz" wrap="square" lIns="186497" tIns="186497" rIns="186497" bIns="186497" rtlCol="0" anchor="b" anchorCtr="0">
            <a:noAutofit/>
          </a:bodyPr>
          <a:lstStyle/>
          <a:p>
            <a:pPr marR="0" lvl="0" indent="0" defTabSz="951209" fontAlgn="auto">
              <a:lnSpc>
                <a:spcPct val="100000"/>
              </a:lnSpc>
              <a:spcBef>
                <a:spcPct val="20000"/>
              </a:spcBef>
              <a:spcAft>
                <a:spcPts val="0"/>
              </a:spcAft>
              <a:buClrTx/>
              <a:buSzPct val="90000"/>
              <a:buFont typeface="Wingdings" panose="05000000000000000000" pitchFamily="2" charset="2"/>
              <a:buNone/>
              <a:tabLst/>
            </a:pPr>
            <a:endParaRPr lang="en-US" sz="1122"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972775" y="5172254"/>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972775" y="5447420"/>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972775" y="4423786"/>
            <a:ext cx="1865233"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972775" y="4716307"/>
            <a:ext cx="1865233"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149778" y="4423786"/>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149778" y="4716307"/>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149778" y="5172254"/>
            <a:ext cx="1398924" cy="254262"/>
          </a:xfrm>
          <a:prstGeom prst="rect">
            <a:avLst/>
          </a:prstGeom>
          <a:noFill/>
        </p:spPr>
        <p:txBody>
          <a:bodyPr vert="horz" wrap="square" lIns="0" tIns="46624" rIns="93248" bIns="46624"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1020" b="1">
                <a:gradFill>
                  <a:gsLst>
                    <a:gs pos="82000">
                      <a:schemeClr val="accent6"/>
                    </a:gs>
                    <a:gs pos="0">
                      <a:schemeClr val="accent6"/>
                    </a:gs>
                  </a:gsLst>
                  <a:lin ang="2700000" scaled="1"/>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149778" y="544742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149778" y="6259290"/>
            <a:ext cx="1398924" cy="156952"/>
          </a:xfrm>
        </p:spPr>
        <p:txBody>
          <a:bodyPr lIns="0"/>
          <a:lstStyle>
            <a:lvl1pPr marL="0" indent="0">
              <a:spcBef>
                <a:spcPts val="0"/>
              </a:spcBef>
              <a:spcAft>
                <a:spcPts val="612"/>
              </a:spcAft>
              <a:buNone/>
              <a:defRPr sz="1020">
                <a:gradFill flip="none" rotWithShape="1">
                  <a:gsLst>
                    <a:gs pos="82000">
                      <a:schemeClr val="bg1"/>
                    </a:gs>
                    <a:gs pos="0">
                      <a:schemeClr val="bg1"/>
                    </a:gs>
                  </a:gsLst>
                  <a:lin ang="2700000" scaled="1"/>
                  <a:tileRect/>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149778" y="5963107"/>
            <a:ext cx="1398924" cy="251123"/>
          </a:xfrm>
        </p:spPr>
        <p:txBody>
          <a:bodyPr lIns="0" tIns="45720" rIns="91440" bIns="45720" anchor="t" anchorCtr="0">
            <a:spAutoFit/>
          </a:bodyPr>
          <a:lstStyle>
            <a:lvl1pPr marL="0" indent="0">
              <a:spcBef>
                <a:spcPts val="0"/>
              </a:spcBef>
              <a:spcAft>
                <a:spcPts val="0"/>
              </a:spcAft>
              <a:buNone/>
              <a:defRPr sz="1020" b="1">
                <a:gradFill>
                  <a:gsLst>
                    <a:gs pos="82000">
                      <a:schemeClr val="accent6"/>
                    </a:gs>
                    <a:gs pos="0">
                      <a:schemeClr val="accent6"/>
                    </a:gs>
                  </a:gsLst>
                  <a:lin ang="2700000" scaled="1"/>
                </a:gradFill>
              </a:defRPr>
            </a:lvl1pPr>
            <a:lvl2pPr marL="233126" indent="0">
              <a:buNone/>
              <a:defRPr>
                <a:gradFill flip="none" rotWithShape="1">
                  <a:gsLst>
                    <a:gs pos="82000">
                      <a:schemeClr val="bg1"/>
                    </a:gs>
                    <a:gs pos="0">
                      <a:schemeClr val="bg1"/>
                    </a:gs>
                  </a:gsLst>
                  <a:lin ang="2700000" scaled="1"/>
                  <a:tileRect/>
                </a:gradFill>
              </a:defRPr>
            </a:lvl2pPr>
            <a:lvl3pPr marL="466251" indent="0">
              <a:buNone/>
              <a:defRPr>
                <a:gradFill flip="none" rotWithShape="1">
                  <a:gsLst>
                    <a:gs pos="82000">
                      <a:schemeClr val="bg1"/>
                    </a:gs>
                    <a:gs pos="0">
                      <a:schemeClr val="bg1"/>
                    </a:gs>
                  </a:gsLst>
                  <a:lin ang="2700000" scaled="1"/>
                  <a:tileRect/>
                </a:gradFill>
              </a:defRPr>
            </a:lvl3pPr>
            <a:lvl4pPr marL="675094" indent="0">
              <a:buNone/>
              <a:defRPr>
                <a:gradFill flip="none" rotWithShape="1">
                  <a:gsLst>
                    <a:gs pos="82000">
                      <a:schemeClr val="bg1"/>
                    </a:gs>
                    <a:gs pos="0">
                      <a:schemeClr val="bg1"/>
                    </a:gs>
                  </a:gsLst>
                  <a:lin ang="2700000" scaled="1"/>
                  <a:tileRect/>
                </a:gradFill>
              </a:defRPr>
            </a:lvl4pPr>
            <a:lvl5pPr marL="872604"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466074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6118" userDrawn="1">
          <p15:clr>
            <a:srgbClr val="5ACBF0"/>
          </p15:clr>
        </p15:guide>
        <p15:guide id="3" orient="horz" pos="1911"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8" y="1465289"/>
            <a:ext cx="11238355" cy="2260106"/>
          </a:xfrm>
        </p:spPr>
        <p:txBody>
          <a:bodyPr>
            <a:spAutoFit/>
          </a:bodyPr>
          <a:lstStyle>
            <a:lvl1pPr>
              <a:defRPr sz="3672">
                <a:gradFill>
                  <a:gsLst>
                    <a:gs pos="50000">
                      <a:schemeClr val="tx1"/>
                    </a:gs>
                    <a:gs pos="100000">
                      <a:schemeClr val="tx1"/>
                    </a:gs>
                  </a:gsLst>
                  <a:lin ang="10800000" scaled="1"/>
                </a:gradFill>
                <a:latin typeface="+mn-lt"/>
              </a:defRPr>
            </a:lvl1pPr>
            <a:lvl2pPr>
              <a:defRPr sz="2856">
                <a:gradFill>
                  <a:gsLst>
                    <a:gs pos="50000">
                      <a:schemeClr val="tx1"/>
                    </a:gs>
                    <a:gs pos="100000">
                      <a:schemeClr val="tx1"/>
                    </a:gs>
                  </a:gsLst>
                  <a:lin ang="10800000" scaled="1"/>
                </a:gradFill>
                <a:latin typeface="+mn-lt"/>
              </a:defRPr>
            </a:lvl2pPr>
            <a:lvl3pPr>
              <a:defRPr sz="2448">
                <a:gradFill>
                  <a:gsLst>
                    <a:gs pos="50000">
                      <a:schemeClr val="tx1"/>
                    </a:gs>
                    <a:gs pos="100000">
                      <a:schemeClr val="tx1"/>
                    </a:gs>
                  </a:gsLst>
                  <a:lin ang="10800000" scaled="1"/>
                </a:gradFill>
                <a:latin typeface="+mn-lt"/>
              </a:defRPr>
            </a:lvl3pPr>
            <a:lvl4pPr>
              <a:defRPr sz="2040">
                <a:gradFill>
                  <a:gsLst>
                    <a:gs pos="50000">
                      <a:schemeClr val="tx1"/>
                    </a:gs>
                    <a:gs pos="100000">
                      <a:schemeClr val="tx1"/>
                    </a:gs>
                  </a:gsLst>
                  <a:lin ang="10800000" scaled="1"/>
                </a:gradFill>
                <a:latin typeface="+mn-lt"/>
              </a:defRPr>
            </a:lvl4pPr>
            <a:lvl5pPr>
              <a:defRPr sz="1836">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21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99982" y="2932237"/>
            <a:ext cx="4241959" cy="1130053"/>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988574" y="-10717"/>
            <a:ext cx="5453216" cy="5854669"/>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36"/>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1236628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838" y="6281748"/>
            <a:ext cx="4571417"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748" eaLnBrk="0" hangingPunct="0"/>
            <a:r>
              <a:rPr lang="en-US" sz="714">
                <a:gradFill>
                  <a:gsLst>
                    <a:gs pos="50000">
                      <a:schemeClr val="tx1"/>
                    </a:gs>
                    <a:gs pos="100000">
                      <a:schemeClr val="tx1"/>
                    </a:gs>
                  </a:gsLst>
                  <a:lin ang="10800000" scaled="1"/>
                </a:gradFill>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5839" y="597451"/>
            <a:ext cx="3129447" cy="298433"/>
          </a:xfrm>
          <a:prstGeom prst="rect">
            <a:avLst/>
          </a:prstGeom>
        </p:spPr>
      </p:pic>
    </p:spTree>
    <p:extLst>
      <p:ext uri="{BB962C8B-B14F-4D97-AF65-F5344CB8AC3E}">
        <p14:creationId xmlns:p14="http://schemas.microsoft.com/office/powerpoint/2010/main" val="3320917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2F338-7B2F-4506-BB98-16AA295278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E3612E-5CB2-4452-8B07-70AD5A1586F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6EBA-1FE3-44B8-9182-8482788D1CAF}"/>
              </a:ext>
            </a:extLst>
          </p:cNvPr>
          <p:cNvSpPr>
            <a:spLocks noGrp="1"/>
          </p:cNvSpPr>
          <p:nvPr>
            <p:ph type="dt" sz="half" idx="10"/>
          </p:nvPr>
        </p:nvSpPr>
        <p:spPr/>
        <p:txBody>
          <a:bodyPr/>
          <a:lstStyle/>
          <a:p>
            <a:fld id="{DE867565-D32F-4511-AFE0-E53CCF50D679}" type="datetimeFigureOut">
              <a:rPr lang="en-US" smtClean="0"/>
              <a:t>3/3/2023</a:t>
            </a:fld>
            <a:endParaRPr lang="en-US"/>
          </a:p>
        </p:txBody>
      </p:sp>
      <p:sp>
        <p:nvSpPr>
          <p:cNvPr id="5" name="Footer Placeholder 4">
            <a:extLst>
              <a:ext uri="{FF2B5EF4-FFF2-40B4-BE49-F238E27FC236}">
                <a16:creationId xmlns:a16="http://schemas.microsoft.com/office/drawing/2014/main" id="{6355D264-230F-4514-88B8-343F620C56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E2A70-6F56-461B-82D5-B71D1D0A18E6}"/>
              </a:ext>
            </a:extLst>
          </p:cNvPr>
          <p:cNvSpPr>
            <a:spLocks noGrp="1"/>
          </p:cNvSpPr>
          <p:nvPr>
            <p:ph type="sldNum" sz="quarter" idx="12"/>
          </p:nvPr>
        </p:nvSpPr>
        <p:spPr/>
        <p:txBody>
          <a:bodyPr/>
          <a:lstStyle/>
          <a:p>
            <a:fld id="{B0AFC510-ECB6-48C0-826A-BF1A1683E1F4}" type="slidenum">
              <a:rPr lang="en-US" smtClean="0"/>
              <a:t>‹#›</a:t>
            </a:fld>
            <a:endParaRPr lang="en-US"/>
          </a:p>
        </p:txBody>
      </p:sp>
    </p:spTree>
    <p:extLst>
      <p:ext uri="{BB962C8B-B14F-4D97-AF65-F5344CB8AC3E}">
        <p14:creationId xmlns:p14="http://schemas.microsoft.com/office/powerpoint/2010/main" val="6007953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99982" y="466303"/>
            <a:ext cx="11238030" cy="627807"/>
          </a:xfrm>
        </p:spPr>
        <p:txBody>
          <a:bodyPr/>
          <a:lstStyle>
            <a:lvl1pPr>
              <a:defRPr sz="4080"/>
            </a:lvl1pPr>
          </a:lstStyle>
          <a:p>
            <a:r>
              <a:rPr lang="en-US"/>
              <a:t>Click to edit Master title style</a:t>
            </a:r>
          </a:p>
        </p:txBody>
      </p:sp>
      <p:sp>
        <p:nvSpPr>
          <p:cNvPr id="3" name="Text Placeholder 2"/>
          <p:cNvSpPr>
            <a:spLocks noGrp="1"/>
          </p:cNvSpPr>
          <p:nvPr>
            <p:ph type="body" sz="quarter" idx="10"/>
          </p:nvPr>
        </p:nvSpPr>
        <p:spPr>
          <a:xfrm>
            <a:off x="595839" y="1464075"/>
            <a:ext cx="11238030" cy="1895977"/>
          </a:xfrm>
        </p:spPr>
        <p:txBody>
          <a:bodyPr/>
          <a:lstStyle>
            <a:lvl1pPr>
              <a:defRPr sz="3264"/>
            </a:lvl1pPr>
            <a:lvl2pPr>
              <a:defRPr sz="2448"/>
            </a:lvl2pPr>
            <a:lvl3pPr>
              <a:defRPr sz="1836"/>
            </a:lvl3pPr>
            <a:lvl4pPr>
              <a:defRPr sz="1632"/>
            </a:lvl4pPr>
            <a:lvl5pPr>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346742"/>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8" y="1463670"/>
            <a:ext cx="11238355" cy="4930169"/>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1871" y="-208004"/>
            <a:ext cx="600023" cy="160091"/>
          </a:xfrm>
          <a:prstGeom prst="rect">
            <a:avLst/>
          </a:prstGeom>
          <a:noFill/>
        </p:spPr>
        <p:txBody>
          <a:bodyPr wrap="none" lIns="0" tIns="0" rIns="0" bIns="0" rtlCol="0">
            <a:spAutoFit/>
          </a:bodyPr>
          <a:lstStyle/>
          <a:p>
            <a:pPr algn="l"/>
            <a:r>
              <a:rPr lang="en-US" sz="1020">
                <a:solidFill>
                  <a:srgbClr val="A3A3A3"/>
                </a:solidFill>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34476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264"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50707596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01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5"/>
          <p:cNvSpPr/>
          <p:nvPr userDrawn="1"/>
        </p:nvSpPr>
        <p:spPr bwMode="auto">
          <a:xfrm>
            <a:off x="901" y="1014"/>
            <a:ext cx="4186907" cy="6993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6" rIns="186470" bIns="149176"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8389" y="2294500"/>
            <a:ext cx="3822135" cy="1255728"/>
          </a:xfrm>
        </p:spPr>
        <p:txBody>
          <a:bodyPr/>
          <a:lstStyle>
            <a:lvl1pPr>
              <a:defRPr lang="en-US" sz="408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15816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2"/>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6" y="1463670"/>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48" indent="0">
              <a:buFont typeface="Wingdings" panose="05000000000000000000" pitchFamily="2" charset="2"/>
              <a:buNone/>
              <a:defRPr sz="2040" b="0"/>
            </a:lvl2pPr>
            <a:lvl3pPr marL="459776" indent="0">
              <a:buFont typeface="Wingdings" panose="05000000000000000000" pitchFamily="2" charset="2"/>
              <a:buNone/>
              <a:tabLst/>
              <a:defRPr sz="1632" b="0"/>
            </a:lvl3pPr>
            <a:lvl4pPr marL="665379" indent="0">
              <a:buFont typeface="Wingdings" panose="05000000000000000000" pitchFamily="2" charset="2"/>
              <a:buNone/>
              <a:defRPr sz="1428" b="0"/>
            </a:lvl4pPr>
            <a:lvl5pPr marL="870984"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744673"/>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guide id="4" pos="3656" userDrawn="1">
          <p15:clr>
            <a:srgbClr val="5ACBF0"/>
          </p15:clr>
        </p15:guide>
        <p15:guide id="5" pos="402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434888" cy="121317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59491" tIns="466242" rIns="466242" rtlCol="0" anchor="ctr"/>
          <a:lstStyle/>
          <a:p>
            <a:endParaRPr lang="en-US" sz="5506">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74604" y="125543"/>
            <a:ext cx="11888047" cy="753411"/>
          </a:xfrm>
        </p:spPr>
        <p:txBody>
          <a:bodyPr lIns="180000"/>
          <a:lstStyle>
            <a:lvl1pPr>
              <a:defRPr sz="4896">
                <a:solidFill>
                  <a:srgbClr val="F2C811"/>
                </a:solidFill>
                <a:latin typeface="+mn-lt"/>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1139164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4"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2" y="4005413"/>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534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7"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748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3" y="479428"/>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5" y="2014677"/>
            <a:ext cx="6194321" cy="4979850"/>
          </a:xfrm>
          <a:prstGeom prst="rect">
            <a:avLst/>
          </a:prstGeom>
        </p:spPr>
      </p:pic>
    </p:spTree>
    <p:extLst>
      <p:ext uri="{BB962C8B-B14F-4D97-AF65-F5344CB8AC3E}">
        <p14:creationId xmlns:p14="http://schemas.microsoft.com/office/powerpoint/2010/main" val="16422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4888"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userDrawn="1"/>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userDrawn="1"/>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userDrawn="1"/>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userDrawn="1"/>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1"/>
            <a:ext cx="12434888"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07" y="4931537"/>
            <a:ext cx="3898066"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5"/>
            <a:ext cx="462527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145" y="479429"/>
            <a:ext cx="1681198"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075" y="1995064"/>
            <a:ext cx="3532738"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userDrawn="1"/>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userDrawn="1"/>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userDrawn="1"/>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userDrawn="1"/>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3286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6"/>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3" y="479428"/>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81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12434888" cy="6994525"/>
          </a:xfrm>
          <a:prstGeom prst="rect">
            <a:avLst/>
          </a:prstGeom>
        </p:spPr>
      </p:pic>
      <p:sp>
        <p:nvSpPr>
          <p:cNvPr id="5" name="Text Placeholder 4"/>
          <p:cNvSpPr>
            <a:spLocks noGrp="1"/>
          </p:cNvSpPr>
          <p:nvPr>
            <p:ph type="body" sz="quarter" idx="12" hasCustomPrompt="1"/>
          </p:nvPr>
        </p:nvSpPr>
        <p:spPr>
          <a:xfrm>
            <a:off x="276505" y="4040624"/>
            <a:ext cx="978798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667" y="1383766"/>
            <a:ext cx="9789821" cy="2113498"/>
          </a:xfrm>
          <a:noFill/>
        </p:spPr>
        <p:txBody>
          <a:bodyPr lIns="146304" tIns="91440" rIns="146304" bIns="91440" anchor="b" anchorCtr="0"/>
          <a:lstStyle>
            <a:lvl1pPr>
              <a:defRPr sz="5505"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145" y="479429"/>
            <a:ext cx="1681198"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8091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0" y="0"/>
            <a:ext cx="12469487" cy="6994525"/>
          </a:xfrm>
          <a:prstGeom prst="rect">
            <a:avLst/>
          </a:prstGeom>
        </p:spPr>
      </p:pic>
      <p:sp>
        <p:nvSpPr>
          <p:cNvPr id="5" name="Text Placeholder 4"/>
          <p:cNvSpPr>
            <a:spLocks noGrp="1"/>
          </p:cNvSpPr>
          <p:nvPr>
            <p:ph type="body" sz="quarter" idx="12" hasCustomPrompt="1"/>
          </p:nvPr>
        </p:nvSpPr>
        <p:spPr>
          <a:xfrm>
            <a:off x="276542" y="4931536"/>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6"/>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3" y="479428"/>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9348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6" y="1212853"/>
            <a:ext cx="11885683" cy="2025170"/>
          </a:xfrm>
        </p:spPr>
        <p:txBody>
          <a:bodyPr/>
          <a:lstStyle>
            <a:lvl1pPr marL="0" indent="0">
              <a:buNone/>
              <a:defRPr>
                <a:gradFill>
                  <a:gsLst>
                    <a:gs pos="1250">
                      <a:schemeClr val="tx2"/>
                    </a:gs>
                    <a:gs pos="99000">
                      <a:schemeClr val="tx2"/>
                    </a:gs>
                  </a:gsLst>
                  <a:lin ang="5400000" scaled="0"/>
                </a:gradFill>
              </a:defRPr>
            </a:lvl1pPr>
            <a:lvl2pPr marL="349621" indent="-349621">
              <a:buFont typeface="Arial" panose="020B0604020202020204" pitchFamily="34" charset="0"/>
              <a:buChar char="•"/>
              <a:defRPr sz="2000"/>
            </a:lvl2pPr>
            <a:lvl3pPr marL="228446" indent="0">
              <a:buNone/>
              <a:defRPr/>
            </a:lvl3pPr>
            <a:lvl4pPr marL="456891" indent="0">
              <a:buNone/>
              <a:defRPr/>
            </a:lvl4pPr>
            <a:lvl5pPr marL="6853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95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5" y="1212852"/>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90" indent="0">
              <a:buNone/>
              <a:defRPr/>
            </a:lvl3pPr>
            <a:lvl4pPr marL="456978" indent="0">
              <a:buNone/>
              <a:defRPr/>
            </a:lvl4pPr>
            <a:lvl5pPr marL="68546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37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3147601"/>
      </p:ext>
    </p:extLst>
  </p:cSld>
  <p:clrMapOvr>
    <a:masterClrMapping/>
  </p:clrMapOvr>
  <p:transition>
    <p:fade/>
  </p:transition>
  <p:extLst>
    <p:ext uri="{DCECCB84-F9BA-43D5-87BE-67443E8EF086}">
      <p15:sldGuideLst xmlns:p15="http://schemas.microsoft.com/office/powerpoint/2012/main">
        <p15:guide id="6" pos="779" userDrawn="1">
          <p15:clr>
            <a:srgbClr val="A4A3A4"/>
          </p15:clr>
        </p15:guide>
        <p15:guide id="7" pos="962" userDrawn="1">
          <p15:clr>
            <a:srgbClr val="A4A3A4"/>
          </p15:clr>
        </p15:guide>
        <p15:guide id="8" pos="1373" userDrawn="1">
          <p15:clr>
            <a:srgbClr val="A4A3A4"/>
          </p15:clr>
        </p15:guide>
        <p15:guide id="9" pos="1556" userDrawn="1">
          <p15:clr>
            <a:srgbClr val="A4A3A4"/>
          </p15:clr>
        </p15:guide>
        <p15:guide id="10" pos="1967" userDrawn="1">
          <p15:clr>
            <a:srgbClr val="A4A3A4"/>
          </p15:clr>
        </p15:guide>
        <p15:guide id="11" pos="2150" userDrawn="1">
          <p15:clr>
            <a:srgbClr val="A4A3A4"/>
          </p15:clr>
        </p15:guide>
        <p15:guide id="12" pos="2561" userDrawn="1">
          <p15:clr>
            <a:srgbClr val="A4A3A4"/>
          </p15:clr>
        </p15:guide>
        <p15:guide id="13" pos="2744" userDrawn="1">
          <p15:clr>
            <a:srgbClr val="A4A3A4"/>
          </p15:clr>
        </p15:guide>
        <p15:guide id="14" pos="3155" userDrawn="1">
          <p15:clr>
            <a:srgbClr val="A4A3A4"/>
          </p15:clr>
        </p15:guide>
        <p15:guide id="15" pos="3338" userDrawn="1">
          <p15:clr>
            <a:srgbClr val="A4A3A4"/>
          </p15:clr>
        </p15:guide>
        <p15:guide id="16" pos="3749" userDrawn="1">
          <p15:clr>
            <a:srgbClr val="A4A3A4"/>
          </p15:clr>
        </p15:guide>
        <p15:guide id="17" pos="3930" userDrawn="1">
          <p15:clr>
            <a:srgbClr val="A4A3A4"/>
          </p15:clr>
        </p15:guide>
        <p15:guide id="18" pos="4341" userDrawn="1">
          <p15:clr>
            <a:srgbClr val="A4A3A4"/>
          </p15:clr>
        </p15:guide>
        <p15:guide id="19" pos="4524" userDrawn="1">
          <p15:clr>
            <a:srgbClr val="A4A3A4"/>
          </p15:clr>
        </p15:guide>
        <p15:guide id="20" pos="4935" userDrawn="1">
          <p15:clr>
            <a:srgbClr val="A4A3A4"/>
          </p15:clr>
        </p15:guide>
        <p15:guide id="21" pos="5118" userDrawn="1">
          <p15:clr>
            <a:srgbClr val="A4A3A4"/>
          </p15:clr>
        </p15:guide>
        <p15:guide id="22" pos="5527" userDrawn="1">
          <p15:clr>
            <a:srgbClr val="A4A3A4"/>
          </p15:clr>
        </p15:guide>
        <p15:guide id="23" pos="5712" userDrawn="1">
          <p15:clr>
            <a:srgbClr val="A4A3A4"/>
          </p15:clr>
        </p15:guide>
        <p15:guide id="24" pos="6121" userDrawn="1">
          <p15:clr>
            <a:srgbClr val="A4A3A4"/>
          </p15:clr>
        </p15:guide>
        <p15:guide id="25" pos="6306" userDrawn="1">
          <p15:clr>
            <a:srgbClr val="A4A3A4"/>
          </p15:clr>
        </p15:guide>
        <p15:guide id="26" pos="6715" userDrawn="1">
          <p15:clr>
            <a:srgbClr val="A4A3A4"/>
          </p15:clr>
        </p15:guide>
        <p15:guide id="27" pos="6898" userDrawn="1">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111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16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gradFill>
                  <a:gsLst>
                    <a:gs pos="1250">
                      <a:schemeClr val="tx2"/>
                    </a:gs>
                    <a:gs pos="99000">
                      <a:schemeClr val="tx2"/>
                    </a:gs>
                  </a:gsLst>
                  <a:lin ang="5400000" scaled="0"/>
                </a:gradFill>
              </a:defRPr>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61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1"/>
            <a:ext cx="5485699" cy="1973212"/>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63" indent="0">
              <a:buNone/>
              <a:tabLst/>
              <a:defRPr sz="2000"/>
            </a:lvl3pPr>
            <a:lvl4pPr marL="460152" indent="0">
              <a:buNone/>
              <a:defRPr/>
            </a:lvl4pPr>
            <a:lvl5pPr marL="68546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08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112" rtl="0" eaLnBrk="1" latinLnBrk="0" hangingPunct="1">
              <a:lnSpc>
                <a:spcPct val="90000"/>
              </a:lnSpc>
              <a:spcBef>
                <a:spcPct val="0"/>
              </a:spcBef>
              <a:buNone/>
              <a:defRPr lang="en-US" sz="3672"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9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usiness Update Layout">
    <p:spTree>
      <p:nvGrpSpPr>
        <p:cNvPr id="1" name=""/>
        <p:cNvGrpSpPr/>
        <p:nvPr/>
      </p:nvGrpSpPr>
      <p:grpSpPr>
        <a:xfrm>
          <a:off x="0" y="0"/>
          <a:ext cx="0" cy="0"/>
          <a:chOff x="0" y="0"/>
          <a:chExt cx="0" cy="0"/>
        </a:xfrm>
      </p:grpSpPr>
      <p:sp>
        <p:nvSpPr>
          <p:cNvPr id="2" name="Title 1"/>
          <p:cNvSpPr>
            <a:spLocks noGrp="1"/>
          </p:cNvSpPr>
          <p:nvPr>
            <p:ph type="title"/>
          </p:nvPr>
        </p:nvSpPr>
        <p:spPr>
          <a:xfrm>
            <a:off x="274604" y="67927"/>
            <a:ext cx="11888047" cy="595569"/>
          </a:xfrm>
        </p:spPr>
        <p:txBody>
          <a:bodyPr/>
          <a:lstStyle>
            <a:lvl1pPr algn="l" defTabSz="932112" rtl="0" eaLnBrk="1" latinLnBrk="0" hangingPunct="1">
              <a:lnSpc>
                <a:spcPct val="90000"/>
              </a:lnSpc>
              <a:spcBef>
                <a:spcPct val="0"/>
              </a:spcBef>
              <a:buNone/>
              <a:defRPr lang="en-US" sz="2856"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5648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963986" y="2642377"/>
            <a:ext cx="2973230" cy="1709775"/>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357920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5047972" y="2322610"/>
            <a:ext cx="2338944"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74603" y="2979324"/>
            <a:ext cx="4689382" cy="1035882"/>
          </a:xfrm>
          <a:noFill/>
        </p:spPr>
        <p:txBody>
          <a:bodyPr wrap="square" tIns="91440" bIns="91440" anchor="ctr" anchorCtr="0">
            <a:spAutoFit/>
          </a:bodyPr>
          <a:lstStyle>
            <a:lvl1pPr>
              <a:defRPr sz="611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3703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79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5" y="1212852"/>
            <a:ext cx="11885683" cy="2443746"/>
          </a:xfrm>
          <a:prstGeom prst="rect">
            <a:avLst/>
          </a:prstGeom>
        </p:spPr>
        <p:txBody>
          <a:bodyPr/>
          <a:lstStyle>
            <a:lvl1pPr marL="290372" indent="-290372">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4" indent="-280853">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6" indent="-29037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86" indent="-2284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74" indent="-22849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44574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3.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39.xml"/><Relationship Id="rId21" Type="http://schemas.openxmlformats.org/officeDocument/2006/relationships/slideLayout" Target="../slideLayouts/slideLayout434.xml"/><Relationship Id="rId42" Type="http://schemas.openxmlformats.org/officeDocument/2006/relationships/slideLayout" Target="../slideLayouts/slideLayout455.xml"/><Relationship Id="rId47" Type="http://schemas.openxmlformats.org/officeDocument/2006/relationships/slideLayout" Target="../slideLayouts/slideLayout460.xml"/><Relationship Id="rId63" Type="http://schemas.openxmlformats.org/officeDocument/2006/relationships/slideLayout" Target="../slideLayouts/slideLayout476.xml"/><Relationship Id="rId68" Type="http://schemas.openxmlformats.org/officeDocument/2006/relationships/slideLayout" Target="../slideLayouts/slideLayout481.xml"/><Relationship Id="rId16" Type="http://schemas.openxmlformats.org/officeDocument/2006/relationships/slideLayout" Target="../slideLayouts/slideLayout429.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32" Type="http://schemas.openxmlformats.org/officeDocument/2006/relationships/slideLayout" Target="../slideLayouts/slideLayout445.xml"/><Relationship Id="rId37" Type="http://schemas.openxmlformats.org/officeDocument/2006/relationships/slideLayout" Target="../slideLayouts/slideLayout450.xml"/><Relationship Id="rId40" Type="http://schemas.openxmlformats.org/officeDocument/2006/relationships/slideLayout" Target="../slideLayouts/slideLayout453.xml"/><Relationship Id="rId45" Type="http://schemas.openxmlformats.org/officeDocument/2006/relationships/slideLayout" Target="../slideLayouts/slideLayout458.xml"/><Relationship Id="rId53" Type="http://schemas.openxmlformats.org/officeDocument/2006/relationships/slideLayout" Target="../slideLayouts/slideLayout466.xml"/><Relationship Id="rId58" Type="http://schemas.openxmlformats.org/officeDocument/2006/relationships/slideLayout" Target="../slideLayouts/slideLayout471.xml"/><Relationship Id="rId66" Type="http://schemas.openxmlformats.org/officeDocument/2006/relationships/slideLayout" Target="../slideLayouts/slideLayout479.xml"/><Relationship Id="rId74" Type="http://schemas.openxmlformats.org/officeDocument/2006/relationships/slideLayout" Target="../slideLayouts/slideLayout487.xml"/><Relationship Id="rId5" Type="http://schemas.openxmlformats.org/officeDocument/2006/relationships/slideLayout" Target="../slideLayouts/slideLayout418.xml"/><Relationship Id="rId61" Type="http://schemas.openxmlformats.org/officeDocument/2006/relationships/slideLayout" Target="../slideLayouts/slideLayout474.xml"/><Relationship Id="rId19" Type="http://schemas.openxmlformats.org/officeDocument/2006/relationships/slideLayout" Target="../slideLayouts/slideLayout43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slideLayout" Target="../slideLayouts/slideLayout440.xml"/><Relationship Id="rId30" Type="http://schemas.openxmlformats.org/officeDocument/2006/relationships/slideLayout" Target="../slideLayouts/slideLayout443.xml"/><Relationship Id="rId35" Type="http://schemas.openxmlformats.org/officeDocument/2006/relationships/slideLayout" Target="../slideLayouts/slideLayout448.xml"/><Relationship Id="rId43" Type="http://schemas.openxmlformats.org/officeDocument/2006/relationships/slideLayout" Target="../slideLayouts/slideLayout456.xml"/><Relationship Id="rId48" Type="http://schemas.openxmlformats.org/officeDocument/2006/relationships/slideLayout" Target="../slideLayouts/slideLayout461.xml"/><Relationship Id="rId56" Type="http://schemas.openxmlformats.org/officeDocument/2006/relationships/slideLayout" Target="../slideLayouts/slideLayout469.xml"/><Relationship Id="rId64" Type="http://schemas.openxmlformats.org/officeDocument/2006/relationships/slideLayout" Target="../slideLayouts/slideLayout477.xml"/><Relationship Id="rId69" Type="http://schemas.openxmlformats.org/officeDocument/2006/relationships/slideLayout" Target="../slideLayouts/slideLayout482.xml"/><Relationship Id="rId77" Type="http://schemas.openxmlformats.org/officeDocument/2006/relationships/image" Target="../media/image2.svg"/><Relationship Id="rId8" Type="http://schemas.openxmlformats.org/officeDocument/2006/relationships/slideLayout" Target="../slideLayouts/slideLayout421.xml"/><Relationship Id="rId51" Type="http://schemas.openxmlformats.org/officeDocument/2006/relationships/slideLayout" Target="../slideLayouts/slideLayout464.xml"/><Relationship Id="rId72" Type="http://schemas.openxmlformats.org/officeDocument/2006/relationships/slideLayout" Target="../slideLayouts/slideLayout485.xml"/><Relationship Id="rId3" Type="http://schemas.openxmlformats.org/officeDocument/2006/relationships/slideLayout" Target="../slideLayouts/slideLayout416.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slideLayout" Target="../slideLayouts/slideLayout438.xml"/><Relationship Id="rId33" Type="http://schemas.openxmlformats.org/officeDocument/2006/relationships/slideLayout" Target="../slideLayouts/slideLayout446.xml"/><Relationship Id="rId38" Type="http://schemas.openxmlformats.org/officeDocument/2006/relationships/slideLayout" Target="../slideLayouts/slideLayout451.xml"/><Relationship Id="rId46" Type="http://schemas.openxmlformats.org/officeDocument/2006/relationships/slideLayout" Target="../slideLayouts/slideLayout459.xml"/><Relationship Id="rId59" Type="http://schemas.openxmlformats.org/officeDocument/2006/relationships/slideLayout" Target="../slideLayouts/slideLayout472.xml"/><Relationship Id="rId67" Type="http://schemas.openxmlformats.org/officeDocument/2006/relationships/slideLayout" Target="../slideLayouts/slideLayout480.xml"/><Relationship Id="rId20" Type="http://schemas.openxmlformats.org/officeDocument/2006/relationships/slideLayout" Target="../slideLayouts/slideLayout433.xml"/><Relationship Id="rId41" Type="http://schemas.openxmlformats.org/officeDocument/2006/relationships/slideLayout" Target="../slideLayouts/slideLayout454.xml"/><Relationship Id="rId54" Type="http://schemas.openxmlformats.org/officeDocument/2006/relationships/slideLayout" Target="../slideLayouts/slideLayout467.xml"/><Relationship Id="rId62" Type="http://schemas.openxmlformats.org/officeDocument/2006/relationships/slideLayout" Target="../slideLayouts/slideLayout475.xml"/><Relationship Id="rId70" Type="http://schemas.openxmlformats.org/officeDocument/2006/relationships/slideLayout" Target="../slideLayouts/slideLayout483.xml"/><Relationship Id="rId75" Type="http://schemas.openxmlformats.org/officeDocument/2006/relationships/theme" Target="../theme/theme10.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28" Type="http://schemas.openxmlformats.org/officeDocument/2006/relationships/slideLayout" Target="../slideLayouts/slideLayout441.xml"/><Relationship Id="rId36" Type="http://schemas.openxmlformats.org/officeDocument/2006/relationships/slideLayout" Target="../slideLayouts/slideLayout449.xml"/><Relationship Id="rId49" Type="http://schemas.openxmlformats.org/officeDocument/2006/relationships/slideLayout" Target="../slideLayouts/slideLayout462.xml"/><Relationship Id="rId57" Type="http://schemas.openxmlformats.org/officeDocument/2006/relationships/slideLayout" Target="../slideLayouts/slideLayout470.xml"/><Relationship Id="rId10" Type="http://schemas.openxmlformats.org/officeDocument/2006/relationships/slideLayout" Target="../slideLayouts/slideLayout423.xml"/><Relationship Id="rId31" Type="http://schemas.openxmlformats.org/officeDocument/2006/relationships/slideLayout" Target="../slideLayouts/slideLayout444.xml"/><Relationship Id="rId44" Type="http://schemas.openxmlformats.org/officeDocument/2006/relationships/slideLayout" Target="../slideLayouts/slideLayout457.xml"/><Relationship Id="rId52" Type="http://schemas.openxmlformats.org/officeDocument/2006/relationships/slideLayout" Target="../slideLayouts/slideLayout465.xml"/><Relationship Id="rId60" Type="http://schemas.openxmlformats.org/officeDocument/2006/relationships/slideLayout" Target="../slideLayouts/slideLayout473.xml"/><Relationship Id="rId65" Type="http://schemas.openxmlformats.org/officeDocument/2006/relationships/slideLayout" Target="../slideLayouts/slideLayout478.xml"/><Relationship Id="rId73" Type="http://schemas.openxmlformats.org/officeDocument/2006/relationships/slideLayout" Target="../slideLayouts/slideLayout486.xml"/><Relationship Id="rId78" Type="http://schemas.openxmlformats.org/officeDocument/2006/relationships/image" Target="../media/image3.emf"/><Relationship Id="rId4" Type="http://schemas.openxmlformats.org/officeDocument/2006/relationships/slideLayout" Target="../slideLayouts/slideLayout417.xml"/><Relationship Id="rId9" Type="http://schemas.openxmlformats.org/officeDocument/2006/relationships/slideLayout" Target="../slideLayouts/slideLayout422.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39" Type="http://schemas.openxmlformats.org/officeDocument/2006/relationships/slideLayout" Target="../slideLayouts/slideLayout452.xml"/><Relationship Id="rId34" Type="http://schemas.openxmlformats.org/officeDocument/2006/relationships/slideLayout" Target="../slideLayouts/slideLayout447.xml"/><Relationship Id="rId50" Type="http://schemas.openxmlformats.org/officeDocument/2006/relationships/slideLayout" Target="../slideLayouts/slideLayout463.xml"/><Relationship Id="rId55" Type="http://schemas.openxmlformats.org/officeDocument/2006/relationships/slideLayout" Target="../slideLayouts/slideLayout468.xml"/><Relationship Id="rId76" Type="http://schemas.openxmlformats.org/officeDocument/2006/relationships/image" Target="../media/image1.png"/><Relationship Id="rId7" Type="http://schemas.openxmlformats.org/officeDocument/2006/relationships/slideLayout" Target="../slideLayouts/slideLayout420.xml"/><Relationship Id="rId71" Type="http://schemas.openxmlformats.org/officeDocument/2006/relationships/slideLayout" Target="../slideLayouts/slideLayout484.xml"/><Relationship Id="rId2" Type="http://schemas.openxmlformats.org/officeDocument/2006/relationships/slideLayout" Target="../slideLayouts/slideLayout415.xml"/><Relationship Id="rId29" Type="http://schemas.openxmlformats.org/officeDocument/2006/relationships/slideLayout" Target="../slideLayouts/slideLayout44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26" Type="http://schemas.openxmlformats.org/officeDocument/2006/relationships/slideLayout" Target="../slideLayouts/slideLayout513.xml"/><Relationship Id="rId39" Type="http://schemas.openxmlformats.org/officeDocument/2006/relationships/slideLayout" Target="../slideLayouts/slideLayout526.xml"/><Relationship Id="rId21" Type="http://schemas.openxmlformats.org/officeDocument/2006/relationships/slideLayout" Target="../slideLayouts/slideLayout508.xml"/><Relationship Id="rId34" Type="http://schemas.openxmlformats.org/officeDocument/2006/relationships/slideLayout" Target="../slideLayouts/slideLayout521.xml"/><Relationship Id="rId42" Type="http://schemas.openxmlformats.org/officeDocument/2006/relationships/slideLayout" Target="../slideLayouts/slideLayout529.xml"/><Relationship Id="rId7" Type="http://schemas.openxmlformats.org/officeDocument/2006/relationships/slideLayout" Target="../slideLayouts/slideLayout494.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29" Type="http://schemas.openxmlformats.org/officeDocument/2006/relationships/slideLayout" Target="../slideLayouts/slideLayout516.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24" Type="http://schemas.openxmlformats.org/officeDocument/2006/relationships/slideLayout" Target="../slideLayouts/slideLayout511.xml"/><Relationship Id="rId32" Type="http://schemas.openxmlformats.org/officeDocument/2006/relationships/slideLayout" Target="../slideLayouts/slideLayout519.xml"/><Relationship Id="rId37" Type="http://schemas.openxmlformats.org/officeDocument/2006/relationships/slideLayout" Target="../slideLayouts/slideLayout524.xml"/><Relationship Id="rId40" Type="http://schemas.openxmlformats.org/officeDocument/2006/relationships/slideLayout" Target="../slideLayouts/slideLayout527.xml"/><Relationship Id="rId45" Type="http://schemas.openxmlformats.org/officeDocument/2006/relationships/image" Target="../media/image74.jpeg"/><Relationship Id="rId5" Type="http://schemas.openxmlformats.org/officeDocument/2006/relationships/slideLayout" Target="../slideLayouts/slideLayout492.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28" Type="http://schemas.openxmlformats.org/officeDocument/2006/relationships/slideLayout" Target="../slideLayouts/slideLayout515.xml"/><Relationship Id="rId36" Type="http://schemas.openxmlformats.org/officeDocument/2006/relationships/slideLayout" Target="../slideLayouts/slideLayout523.xml"/><Relationship Id="rId10" Type="http://schemas.openxmlformats.org/officeDocument/2006/relationships/slideLayout" Target="../slideLayouts/slideLayout497.xml"/><Relationship Id="rId19" Type="http://schemas.openxmlformats.org/officeDocument/2006/relationships/slideLayout" Target="../slideLayouts/slideLayout506.xml"/><Relationship Id="rId31" Type="http://schemas.openxmlformats.org/officeDocument/2006/relationships/slideLayout" Target="../slideLayouts/slideLayout518.xml"/><Relationship Id="rId44" Type="http://schemas.openxmlformats.org/officeDocument/2006/relationships/image" Target="../media/image46.emf"/><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slideLayout" Target="../slideLayouts/slideLayout514.xml"/><Relationship Id="rId30" Type="http://schemas.openxmlformats.org/officeDocument/2006/relationships/slideLayout" Target="../slideLayouts/slideLayout517.xml"/><Relationship Id="rId35" Type="http://schemas.openxmlformats.org/officeDocument/2006/relationships/slideLayout" Target="../slideLayouts/slideLayout522.xml"/><Relationship Id="rId43" Type="http://schemas.openxmlformats.org/officeDocument/2006/relationships/theme" Target="../theme/theme11.xml"/><Relationship Id="rId8" Type="http://schemas.openxmlformats.org/officeDocument/2006/relationships/slideLayout" Target="../slideLayouts/slideLayout495.xml"/><Relationship Id="rId3" Type="http://schemas.openxmlformats.org/officeDocument/2006/relationships/slideLayout" Target="../slideLayouts/slideLayout490.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33" Type="http://schemas.openxmlformats.org/officeDocument/2006/relationships/slideLayout" Target="../slideLayouts/slideLayout520.xml"/><Relationship Id="rId38" Type="http://schemas.openxmlformats.org/officeDocument/2006/relationships/slideLayout" Target="../slideLayouts/slideLayout525.xml"/><Relationship Id="rId20" Type="http://schemas.openxmlformats.org/officeDocument/2006/relationships/slideLayout" Target="../slideLayouts/slideLayout507.xml"/><Relationship Id="rId41" Type="http://schemas.openxmlformats.org/officeDocument/2006/relationships/slideLayout" Target="../slideLayouts/slideLayout52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theme" Target="../theme/theme12.xml"/><Relationship Id="rId3" Type="http://schemas.openxmlformats.org/officeDocument/2006/relationships/slideLayout" Target="../slideLayouts/slideLayout532.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2" Type="http://schemas.openxmlformats.org/officeDocument/2006/relationships/slideLayout" Target="../slideLayouts/slideLayout531.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5" Type="http://schemas.openxmlformats.org/officeDocument/2006/relationships/slideLayout" Target="../slideLayouts/slideLayout534.xml"/><Relationship Id="rId10" Type="http://schemas.openxmlformats.org/officeDocument/2006/relationships/slideLayout" Target="../slideLayouts/slideLayout539.xml"/><Relationship Id="rId4" Type="http://schemas.openxmlformats.org/officeDocument/2006/relationships/slideLayout" Target="../slideLayouts/slideLayout533.xml"/><Relationship Id="rId9" Type="http://schemas.openxmlformats.org/officeDocument/2006/relationships/slideLayout" Target="../slideLayouts/slideLayout5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image" Target="../media/image21.png"/><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theme" Target="../theme/theme2.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8" Type="http://schemas.openxmlformats.org/officeDocument/2006/relationships/slideLayout" Target="../slideLayouts/slideLayout88.xml"/><Relationship Id="rId3"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3.xml"/><Relationship Id="rId21" Type="http://schemas.openxmlformats.org/officeDocument/2006/relationships/slideLayout" Target="../slideLayouts/slideLayout138.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63" Type="http://schemas.openxmlformats.org/officeDocument/2006/relationships/slideLayout" Target="../slideLayouts/slideLayout180.xml"/><Relationship Id="rId68" Type="http://schemas.openxmlformats.org/officeDocument/2006/relationships/slideLayout" Target="../slideLayouts/slideLayout185.xml"/><Relationship Id="rId16" Type="http://schemas.openxmlformats.org/officeDocument/2006/relationships/slideLayout" Target="../slideLayouts/slideLayout13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3" Type="http://schemas.openxmlformats.org/officeDocument/2006/relationships/slideLayout" Target="../slideLayouts/slideLayout170.xml"/><Relationship Id="rId58" Type="http://schemas.openxmlformats.org/officeDocument/2006/relationships/slideLayout" Target="../slideLayouts/slideLayout175.xml"/><Relationship Id="rId66" Type="http://schemas.openxmlformats.org/officeDocument/2006/relationships/slideLayout" Target="../slideLayouts/slideLayout183.xml"/><Relationship Id="rId74" Type="http://schemas.openxmlformats.org/officeDocument/2006/relationships/theme" Target="../theme/theme3.xml"/><Relationship Id="rId5" Type="http://schemas.openxmlformats.org/officeDocument/2006/relationships/slideLayout" Target="../slideLayouts/slideLayout122.xml"/><Relationship Id="rId61" Type="http://schemas.openxmlformats.org/officeDocument/2006/relationships/slideLayout" Target="../slideLayouts/slideLayout178.xml"/><Relationship Id="rId19" Type="http://schemas.openxmlformats.org/officeDocument/2006/relationships/slideLayout" Target="../slideLayouts/slideLayout13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56" Type="http://schemas.openxmlformats.org/officeDocument/2006/relationships/slideLayout" Target="../slideLayouts/slideLayout173.xml"/><Relationship Id="rId64" Type="http://schemas.openxmlformats.org/officeDocument/2006/relationships/slideLayout" Target="../slideLayouts/slideLayout181.xml"/><Relationship Id="rId69" Type="http://schemas.openxmlformats.org/officeDocument/2006/relationships/slideLayout" Target="../slideLayouts/slideLayout186.xml"/><Relationship Id="rId77" Type="http://schemas.openxmlformats.org/officeDocument/2006/relationships/image" Target="../media/image3.emf"/><Relationship Id="rId8" Type="http://schemas.openxmlformats.org/officeDocument/2006/relationships/slideLayout" Target="../slideLayouts/slideLayout125.xml"/><Relationship Id="rId51" Type="http://schemas.openxmlformats.org/officeDocument/2006/relationships/slideLayout" Target="../slideLayouts/slideLayout168.xml"/><Relationship Id="rId72" Type="http://schemas.openxmlformats.org/officeDocument/2006/relationships/slideLayout" Target="../slideLayouts/slideLayout189.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59" Type="http://schemas.openxmlformats.org/officeDocument/2006/relationships/slideLayout" Target="../slideLayouts/slideLayout176.xml"/><Relationship Id="rId67" Type="http://schemas.openxmlformats.org/officeDocument/2006/relationships/slideLayout" Target="../slideLayouts/slideLayout184.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54" Type="http://schemas.openxmlformats.org/officeDocument/2006/relationships/slideLayout" Target="../slideLayouts/slideLayout171.xml"/><Relationship Id="rId62" Type="http://schemas.openxmlformats.org/officeDocument/2006/relationships/slideLayout" Target="../slideLayouts/slideLayout179.xml"/><Relationship Id="rId70" Type="http://schemas.openxmlformats.org/officeDocument/2006/relationships/slideLayout" Target="../slideLayouts/slideLayout187.xml"/><Relationship Id="rId75" Type="http://schemas.openxmlformats.org/officeDocument/2006/relationships/image" Target="../media/image1.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 Id="rId57" Type="http://schemas.openxmlformats.org/officeDocument/2006/relationships/slideLayout" Target="../slideLayouts/slideLayout174.xml"/><Relationship Id="rId10" Type="http://schemas.openxmlformats.org/officeDocument/2006/relationships/slideLayout" Target="../slideLayouts/slideLayout127.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slideLayout" Target="../slideLayouts/slideLayout169.xml"/><Relationship Id="rId60" Type="http://schemas.openxmlformats.org/officeDocument/2006/relationships/slideLayout" Target="../slideLayouts/slideLayout177.xml"/><Relationship Id="rId65" Type="http://schemas.openxmlformats.org/officeDocument/2006/relationships/slideLayout" Target="../slideLayouts/slideLayout182.xml"/><Relationship Id="rId73" Type="http://schemas.openxmlformats.org/officeDocument/2006/relationships/slideLayout" Target="../slideLayouts/slideLayout190.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9" Type="http://schemas.openxmlformats.org/officeDocument/2006/relationships/slideLayout" Target="../slideLayouts/slideLayout156.xml"/><Relationship Id="rId34" Type="http://schemas.openxmlformats.org/officeDocument/2006/relationships/slideLayout" Target="../slideLayouts/slideLayout151.xml"/><Relationship Id="rId50" Type="http://schemas.openxmlformats.org/officeDocument/2006/relationships/slideLayout" Target="../slideLayouts/slideLayout167.xml"/><Relationship Id="rId55" Type="http://schemas.openxmlformats.org/officeDocument/2006/relationships/slideLayout" Target="../slideLayouts/slideLayout172.xml"/><Relationship Id="rId76" Type="http://schemas.openxmlformats.org/officeDocument/2006/relationships/image" Target="../media/image2.svg"/><Relationship Id="rId7" Type="http://schemas.openxmlformats.org/officeDocument/2006/relationships/slideLayout" Target="../slideLayouts/slideLayout124.xml"/><Relationship Id="rId71" Type="http://schemas.openxmlformats.org/officeDocument/2006/relationships/slideLayout" Target="../slideLayouts/slideLayout188.xml"/><Relationship Id="rId2" Type="http://schemas.openxmlformats.org/officeDocument/2006/relationships/slideLayout" Target="../slideLayouts/slideLayout119.xml"/><Relationship Id="rId29" Type="http://schemas.openxmlformats.org/officeDocument/2006/relationships/slideLayout" Target="../slideLayouts/slideLayout1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image" Target="../media/image40.emf"/><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theme" Target="../theme/theme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21" Type="http://schemas.openxmlformats.org/officeDocument/2006/relationships/slideLayout" Target="../slideLayouts/slideLayout234.xml"/><Relationship Id="rId34" Type="http://schemas.openxmlformats.org/officeDocument/2006/relationships/slideLayout" Target="../slideLayouts/slideLayout247.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slideLayout" Target="../slideLayouts/slideLayout246.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slideLayout" Target="../slideLayouts/slideLayout245.xml"/><Relationship Id="rId37" Type="http://schemas.openxmlformats.org/officeDocument/2006/relationships/image" Target="../media/image46.emf"/><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36" Type="http://schemas.openxmlformats.org/officeDocument/2006/relationships/theme" Target="../theme/theme5.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 Id="rId35" Type="http://schemas.openxmlformats.org/officeDocument/2006/relationships/slideLayout" Target="../slideLayouts/slideLayout248.xml"/><Relationship Id="rId8" Type="http://schemas.openxmlformats.org/officeDocument/2006/relationships/slideLayout" Target="../slideLayouts/slideLayout221.xml"/><Relationship Id="rId3" Type="http://schemas.openxmlformats.org/officeDocument/2006/relationships/slideLayout" Target="../slideLayouts/slideLayout21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slideLayout" Target="../slideLayouts/slideLayout274.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theme" Target="../theme/theme6.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slideLayout" Target="../slideLayouts/slideLayout281.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slideLayout" Target="../slideLayouts/slideLayout277.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slideLayout" Target="../slideLayouts/slideLayout279.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35" Type="http://schemas.openxmlformats.org/officeDocument/2006/relationships/image" Target="../media/image46.emf"/><Relationship Id="rId8" Type="http://schemas.openxmlformats.org/officeDocument/2006/relationships/slideLayout" Target="../slideLayouts/slideLayout25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9" Type="http://schemas.openxmlformats.org/officeDocument/2006/relationships/image" Target="../media/image21.png"/><Relationship Id="rId21" Type="http://schemas.openxmlformats.org/officeDocument/2006/relationships/slideLayout" Target="../slideLayouts/slideLayout302.xml"/><Relationship Id="rId34" Type="http://schemas.openxmlformats.org/officeDocument/2006/relationships/slideLayout" Target="../slideLayouts/slideLayout315.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slideLayout" Target="../slideLayouts/slideLayout314.xml"/><Relationship Id="rId38" Type="http://schemas.openxmlformats.org/officeDocument/2006/relationships/theme" Target="../theme/theme7.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slideLayout" Target="../slideLayouts/slideLayout31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slideLayout" Target="../slideLayouts/slideLayout313.xml"/><Relationship Id="rId37" Type="http://schemas.openxmlformats.org/officeDocument/2006/relationships/slideLayout" Target="../slideLayouts/slideLayout318.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36" Type="http://schemas.openxmlformats.org/officeDocument/2006/relationships/slideLayout" Target="../slideLayouts/slideLayout317.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slideLayout" Target="../slideLayouts/slideLayout312.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slideLayout" Target="../slideLayouts/slideLayout311.xml"/><Relationship Id="rId35" Type="http://schemas.openxmlformats.org/officeDocument/2006/relationships/slideLayout" Target="../slideLayouts/slideLayout316.xml"/><Relationship Id="rId8" Type="http://schemas.openxmlformats.org/officeDocument/2006/relationships/slideLayout" Target="../slideLayouts/slideLayout289.xml"/><Relationship Id="rId3" Type="http://schemas.openxmlformats.org/officeDocument/2006/relationships/slideLayout" Target="../slideLayouts/slideLayout284.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44.xml"/><Relationship Id="rId21" Type="http://schemas.openxmlformats.org/officeDocument/2006/relationships/slideLayout" Target="../slideLayouts/slideLayout339.xml"/><Relationship Id="rId42" Type="http://schemas.openxmlformats.org/officeDocument/2006/relationships/slideLayout" Target="../slideLayouts/slideLayout360.xml"/><Relationship Id="rId47" Type="http://schemas.openxmlformats.org/officeDocument/2006/relationships/slideLayout" Target="../slideLayouts/slideLayout365.xml"/><Relationship Id="rId63" Type="http://schemas.openxmlformats.org/officeDocument/2006/relationships/slideLayout" Target="../slideLayouts/slideLayout381.xml"/><Relationship Id="rId68" Type="http://schemas.openxmlformats.org/officeDocument/2006/relationships/slideLayout" Target="../slideLayouts/slideLayout386.xml"/><Relationship Id="rId16" Type="http://schemas.openxmlformats.org/officeDocument/2006/relationships/slideLayout" Target="../slideLayouts/slideLayout33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slideLayout" Target="../slideLayouts/slideLayout350.xml"/><Relationship Id="rId37" Type="http://schemas.openxmlformats.org/officeDocument/2006/relationships/slideLayout" Target="../slideLayouts/slideLayout355.xml"/><Relationship Id="rId40" Type="http://schemas.openxmlformats.org/officeDocument/2006/relationships/slideLayout" Target="../slideLayouts/slideLayout358.xml"/><Relationship Id="rId45" Type="http://schemas.openxmlformats.org/officeDocument/2006/relationships/slideLayout" Target="../slideLayouts/slideLayout363.xml"/><Relationship Id="rId53" Type="http://schemas.openxmlformats.org/officeDocument/2006/relationships/slideLayout" Target="../slideLayouts/slideLayout371.xml"/><Relationship Id="rId58" Type="http://schemas.openxmlformats.org/officeDocument/2006/relationships/slideLayout" Target="../slideLayouts/slideLayout376.xml"/><Relationship Id="rId66" Type="http://schemas.openxmlformats.org/officeDocument/2006/relationships/slideLayout" Target="../slideLayouts/slideLayout384.xml"/><Relationship Id="rId74" Type="http://schemas.openxmlformats.org/officeDocument/2006/relationships/slideLayout" Target="../slideLayouts/slideLayout392.xml"/><Relationship Id="rId5" Type="http://schemas.openxmlformats.org/officeDocument/2006/relationships/slideLayout" Target="../slideLayouts/slideLayout323.xml"/><Relationship Id="rId61" Type="http://schemas.openxmlformats.org/officeDocument/2006/relationships/slideLayout" Target="../slideLayouts/slideLayout379.xml"/><Relationship Id="rId19" Type="http://schemas.openxmlformats.org/officeDocument/2006/relationships/slideLayout" Target="../slideLayouts/slideLayout33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35" Type="http://schemas.openxmlformats.org/officeDocument/2006/relationships/slideLayout" Target="../slideLayouts/slideLayout353.xml"/><Relationship Id="rId43" Type="http://schemas.openxmlformats.org/officeDocument/2006/relationships/slideLayout" Target="../slideLayouts/slideLayout361.xml"/><Relationship Id="rId48" Type="http://schemas.openxmlformats.org/officeDocument/2006/relationships/slideLayout" Target="../slideLayouts/slideLayout366.xml"/><Relationship Id="rId56" Type="http://schemas.openxmlformats.org/officeDocument/2006/relationships/slideLayout" Target="../slideLayouts/slideLayout374.xml"/><Relationship Id="rId64" Type="http://schemas.openxmlformats.org/officeDocument/2006/relationships/slideLayout" Target="../slideLayouts/slideLayout382.xml"/><Relationship Id="rId69" Type="http://schemas.openxmlformats.org/officeDocument/2006/relationships/slideLayout" Target="../slideLayouts/slideLayout387.xml"/><Relationship Id="rId77" Type="http://schemas.openxmlformats.org/officeDocument/2006/relationships/image" Target="../media/image2.svg"/><Relationship Id="rId8" Type="http://schemas.openxmlformats.org/officeDocument/2006/relationships/slideLayout" Target="../slideLayouts/slideLayout326.xml"/><Relationship Id="rId51" Type="http://schemas.openxmlformats.org/officeDocument/2006/relationships/slideLayout" Target="../slideLayouts/slideLayout369.xml"/><Relationship Id="rId72" Type="http://schemas.openxmlformats.org/officeDocument/2006/relationships/slideLayout" Target="../slideLayouts/slideLayout390.xml"/><Relationship Id="rId3" Type="http://schemas.openxmlformats.org/officeDocument/2006/relationships/slideLayout" Target="../slideLayouts/slideLayout321.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slideLayout" Target="../slideLayouts/slideLayout351.xml"/><Relationship Id="rId38" Type="http://schemas.openxmlformats.org/officeDocument/2006/relationships/slideLayout" Target="../slideLayouts/slideLayout356.xml"/><Relationship Id="rId46" Type="http://schemas.openxmlformats.org/officeDocument/2006/relationships/slideLayout" Target="../slideLayouts/slideLayout364.xml"/><Relationship Id="rId59" Type="http://schemas.openxmlformats.org/officeDocument/2006/relationships/slideLayout" Target="../slideLayouts/slideLayout377.xml"/><Relationship Id="rId67" Type="http://schemas.openxmlformats.org/officeDocument/2006/relationships/slideLayout" Target="../slideLayouts/slideLayout385.xml"/><Relationship Id="rId20" Type="http://schemas.openxmlformats.org/officeDocument/2006/relationships/slideLayout" Target="../slideLayouts/slideLayout338.xml"/><Relationship Id="rId41" Type="http://schemas.openxmlformats.org/officeDocument/2006/relationships/slideLayout" Target="../slideLayouts/slideLayout359.xml"/><Relationship Id="rId54" Type="http://schemas.openxmlformats.org/officeDocument/2006/relationships/slideLayout" Target="../slideLayouts/slideLayout372.xml"/><Relationship Id="rId62" Type="http://schemas.openxmlformats.org/officeDocument/2006/relationships/slideLayout" Target="../slideLayouts/slideLayout380.xml"/><Relationship Id="rId70" Type="http://schemas.openxmlformats.org/officeDocument/2006/relationships/slideLayout" Target="../slideLayouts/slideLayout388.xml"/><Relationship Id="rId75" Type="http://schemas.openxmlformats.org/officeDocument/2006/relationships/theme" Target="../theme/theme8.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36" Type="http://schemas.openxmlformats.org/officeDocument/2006/relationships/slideLayout" Target="../slideLayouts/slideLayout354.xml"/><Relationship Id="rId49" Type="http://schemas.openxmlformats.org/officeDocument/2006/relationships/slideLayout" Target="../slideLayouts/slideLayout367.xml"/><Relationship Id="rId57" Type="http://schemas.openxmlformats.org/officeDocument/2006/relationships/slideLayout" Target="../slideLayouts/slideLayout375.xml"/><Relationship Id="rId10" Type="http://schemas.openxmlformats.org/officeDocument/2006/relationships/slideLayout" Target="../slideLayouts/slideLayout328.xml"/><Relationship Id="rId31" Type="http://schemas.openxmlformats.org/officeDocument/2006/relationships/slideLayout" Target="../slideLayouts/slideLayout349.xml"/><Relationship Id="rId44" Type="http://schemas.openxmlformats.org/officeDocument/2006/relationships/slideLayout" Target="../slideLayouts/slideLayout362.xml"/><Relationship Id="rId52" Type="http://schemas.openxmlformats.org/officeDocument/2006/relationships/slideLayout" Target="../slideLayouts/slideLayout370.xml"/><Relationship Id="rId60" Type="http://schemas.openxmlformats.org/officeDocument/2006/relationships/slideLayout" Target="../slideLayouts/slideLayout378.xml"/><Relationship Id="rId65" Type="http://schemas.openxmlformats.org/officeDocument/2006/relationships/slideLayout" Target="../slideLayouts/slideLayout383.xml"/><Relationship Id="rId73" Type="http://schemas.openxmlformats.org/officeDocument/2006/relationships/slideLayout" Target="../slideLayouts/slideLayout391.xml"/><Relationship Id="rId78" Type="http://schemas.openxmlformats.org/officeDocument/2006/relationships/image" Target="../media/image3.emf"/><Relationship Id="rId4" Type="http://schemas.openxmlformats.org/officeDocument/2006/relationships/slideLayout" Target="../slideLayouts/slideLayout322.xml"/><Relationship Id="rId9" Type="http://schemas.openxmlformats.org/officeDocument/2006/relationships/slideLayout" Target="../slideLayouts/slideLayout327.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39" Type="http://schemas.openxmlformats.org/officeDocument/2006/relationships/slideLayout" Target="../slideLayouts/slideLayout357.xml"/><Relationship Id="rId34" Type="http://schemas.openxmlformats.org/officeDocument/2006/relationships/slideLayout" Target="../slideLayouts/slideLayout352.xml"/><Relationship Id="rId50" Type="http://schemas.openxmlformats.org/officeDocument/2006/relationships/slideLayout" Target="../slideLayouts/slideLayout368.xml"/><Relationship Id="rId55" Type="http://schemas.openxmlformats.org/officeDocument/2006/relationships/slideLayout" Target="../slideLayouts/slideLayout373.xml"/><Relationship Id="rId76" Type="http://schemas.openxmlformats.org/officeDocument/2006/relationships/image" Target="../media/image1.png"/><Relationship Id="rId7" Type="http://schemas.openxmlformats.org/officeDocument/2006/relationships/slideLayout" Target="../slideLayouts/slideLayout325.xml"/><Relationship Id="rId71" Type="http://schemas.openxmlformats.org/officeDocument/2006/relationships/slideLayout" Target="../slideLayouts/slideLayout389.xml"/><Relationship Id="rId2" Type="http://schemas.openxmlformats.org/officeDocument/2006/relationships/slideLayout" Target="../slideLayouts/slideLayout320.xml"/><Relationship Id="rId29" Type="http://schemas.openxmlformats.org/officeDocument/2006/relationships/slideLayout" Target="../slideLayouts/slideLayout3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image" Target="../media/image66.emf"/><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82">
              <a:extLst>
                <a:ext uri="{96DAC541-7B7A-43D3-8B79-37D633B846F1}">
                  <asvg:svgBlip xmlns:asvg="http://schemas.microsoft.com/office/drawing/2016/SVG/main" r:embed="rId83"/>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84"/>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746029279"/>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 id="2147484602" r:id="rId12"/>
    <p:sldLayoutId id="2147484603" r:id="rId13"/>
    <p:sldLayoutId id="2147484604" r:id="rId14"/>
    <p:sldLayoutId id="2147484605" r:id="rId15"/>
    <p:sldLayoutId id="2147484606" r:id="rId16"/>
    <p:sldLayoutId id="2147484607" r:id="rId17"/>
    <p:sldLayoutId id="2147484608" r:id="rId18"/>
    <p:sldLayoutId id="2147484609" r:id="rId19"/>
    <p:sldLayoutId id="2147484610" r:id="rId20"/>
    <p:sldLayoutId id="2147484611" r:id="rId21"/>
    <p:sldLayoutId id="2147484612" r:id="rId22"/>
    <p:sldLayoutId id="2147484613" r:id="rId23"/>
    <p:sldLayoutId id="2147484614" r:id="rId24"/>
    <p:sldLayoutId id="2147484615" r:id="rId25"/>
    <p:sldLayoutId id="2147484616" r:id="rId26"/>
    <p:sldLayoutId id="2147484617" r:id="rId27"/>
    <p:sldLayoutId id="2147484618" r:id="rId28"/>
    <p:sldLayoutId id="2147484619" r:id="rId29"/>
    <p:sldLayoutId id="2147484620" r:id="rId30"/>
    <p:sldLayoutId id="2147484621" r:id="rId31"/>
    <p:sldLayoutId id="2147484622" r:id="rId32"/>
    <p:sldLayoutId id="2147484623" r:id="rId33"/>
    <p:sldLayoutId id="2147484624" r:id="rId34"/>
    <p:sldLayoutId id="2147484625" r:id="rId35"/>
    <p:sldLayoutId id="2147484626" r:id="rId36"/>
    <p:sldLayoutId id="2147484627" r:id="rId37"/>
    <p:sldLayoutId id="2147484628" r:id="rId38"/>
    <p:sldLayoutId id="2147484629" r:id="rId39"/>
    <p:sldLayoutId id="2147484630" r:id="rId40"/>
    <p:sldLayoutId id="2147484631" r:id="rId41"/>
    <p:sldLayoutId id="2147484632" r:id="rId42"/>
    <p:sldLayoutId id="2147484633" r:id="rId43"/>
    <p:sldLayoutId id="2147484634" r:id="rId44"/>
    <p:sldLayoutId id="2147484635" r:id="rId45"/>
    <p:sldLayoutId id="2147484636" r:id="rId46"/>
    <p:sldLayoutId id="2147484637" r:id="rId47"/>
    <p:sldLayoutId id="2147484638" r:id="rId48"/>
    <p:sldLayoutId id="2147484639" r:id="rId49"/>
    <p:sldLayoutId id="2147484640" r:id="rId50"/>
    <p:sldLayoutId id="2147484641" r:id="rId51"/>
    <p:sldLayoutId id="2147484642" r:id="rId52"/>
    <p:sldLayoutId id="2147484643" r:id="rId53"/>
    <p:sldLayoutId id="2147484644" r:id="rId54"/>
    <p:sldLayoutId id="2147484645" r:id="rId55"/>
    <p:sldLayoutId id="2147484646" r:id="rId56"/>
    <p:sldLayoutId id="2147484647" r:id="rId57"/>
    <p:sldLayoutId id="2147484648" r:id="rId58"/>
    <p:sldLayoutId id="2147484649" r:id="rId59"/>
    <p:sldLayoutId id="2147484650" r:id="rId60"/>
    <p:sldLayoutId id="2147484651" r:id="rId61"/>
    <p:sldLayoutId id="2147484652" r:id="rId62"/>
    <p:sldLayoutId id="2147484653" r:id="rId63"/>
    <p:sldLayoutId id="2147484654" r:id="rId64"/>
    <p:sldLayoutId id="2147484655" r:id="rId65"/>
    <p:sldLayoutId id="2147484656" r:id="rId66"/>
    <p:sldLayoutId id="2147484657" r:id="rId67"/>
    <p:sldLayoutId id="2147484658" r:id="rId68"/>
    <p:sldLayoutId id="2147484659" r:id="rId69"/>
    <p:sldLayoutId id="2147484660" r:id="rId70"/>
    <p:sldLayoutId id="2147484661" r:id="rId71"/>
    <p:sldLayoutId id="2147484662" r:id="rId72"/>
    <p:sldLayoutId id="2147484663" r:id="rId73"/>
    <p:sldLayoutId id="2147485060" r:id="rId74"/>
    <p:sldLayoutId id="2147485062" r:id="rId75"/>
    <p:sldLayoutId id="2147485104" r:id="rId76"/>
    <p:sldLayoutId id="2147485291" r:id="rId77"/>
    <p:sldLayoutId id="2147485292" r:id="rId78"/>
    <p:sldLayoutId id="2147485313" r:id="rId79"/>
    <p:sldLayoutId id="2147485314" r:id="rId80"/>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2"/>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51"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80"/>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a:extLs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3161611264"/>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 id="2147485118" r:id="rId13"/>
    <p:sldLayoutId id="2147485119" r:id="rId14"/>
    <p:sldLayoutId id="2147485120" r:id="rId15"/>
    <p:sldLayoutId id="2147485121" r:id="rId16"/>
    <p:sldLayoutId id="2147485122" r:id="rId17"/>
    <p:sldLayoutId id="2147485123" r:id="rId18"/>
    <p:sldLayoutId id="2147485124" r:id="rId19"/>
    <p:sldLayoutId id="2147485125" r:id="rId20"/>
    <p:sldLayoutId id="2147485126" r:id="rId21"/>
    <p:sldLayoutId id="2147485127" r:id="rId22"/>
    <p:sldLayoutId id="2147485128" r:id="rId23"/>
    <p:sldLayoutId id="2147485129" r:id="rId24"/>
    <p:sldLayoutId id="2147485130" r:id="rId25"/>
    <p:sldLayoutId id="2147485131" r:id="rId26"/>
    <p:sldLayoutId id="2147485132" r:id="rId27"/>
    <p:sldLayoutId id="2147485133" r:id="rId28"/>
    <p:sldLayoutId id="2147485134" r:id="rId29"/>
    <p:sldLayoutId id="2147485135" r:id="rId30"/>
    <p:sldLayoutId id="2147485136" r:id="rId31"/>
    <p:sldLayoutId id="2147485137" r:id="rId32"/>
    <p:sldLayoutId id="2147485138" r:id="rId33"/>
    <p:sldLayoutId id="2147485139" r:id="rId34"/>
    <p:sldLayoutId id="2147485140" r:id="rId35"/>
    <p:sldLayoutId id="2147485141" r:id="rId36"/>
    <p:sldLayoutId id="2147485142" r:id="rId37"/>
    <p:sldLayoutId id="2147485143" r:id="rId38"/>
    <p:sldLayoutId id="2147485144" r:id="rId39"/>
    <p:sldLayoutId id="2147485145" r:id="rId40"/>
    <p:sldLayoutId id="2147485146" r:id="rId41"/>
    <p:sldLayoutId id="2147485147" r:id="rId42"/>
    <p:sldLayoutId id="2147485148" r:id="rId43"/>
    <p:sldLayoutId id="2147485149" r:id="rId44"/>
    <p:sldLayoutId id="2147485150" r:id="rId45"/>
    <p:sldLayoutId id="2147485151" r:id="rId46"/>
    <p:sldLayoutId id="2147485152" r:id="rId47"/>
    <p:sldLayoutId id="2147485153" r:id="rId48"/>
    <p:sldLayoutId id="2147485154" r:id="rId49"/>
    <p:sldLayoutId id="2147485155" r:id="rId50"/>
    <p:sldLayoutId id="2147485156" r:id="rId51"/>
    <p:sldLayoutId id="2147485157" r:id="rId52"/>
    <p:sldLayoutId id="2147485158" r:id="rId53"/>
    <p:sldLayoutId id="2147485159" r:id="rId54"/>
    <p:sldLayoutId id="2147485160" r:id="rId55"/>
    <p:sldLayoutId id="2147485161" r:id="rId56"/>
    <p:sldLayoutId id="2147485162" r:id="rId57"/>
    <p:sldLayoutId id="2147485163" r:id="rId58"/>
    <p:sldLayoutId id="2147485164" r:id="rId59"/>
    <p:sldLayoutId id="2147485165" r:id="rId60"/>
    <p:sldLayoutId id="2147485166" r:id="rId61"/>
    <p:sldLayoutId id="2147485167" r:id="rId62"/>
    <p:sldLayoutId id="2147485168" r:id="rId63"/>
    <p:sldLayoutId id="2147485169" r:id="rId64"/>
    <p:sldLayoutId id="2147485170" r:id="rId65"/>
    <p:sldLayoutId id="2147485171" r:id="rId66"/>
    <p:sldLayoutId id="2147485172" r:id="rId67"/>
    <p:sldLayoutId id="2147485173" r:id="rId68"/>
    <p:sldLayoutId id="2147485174" r:id="rId69"/>
    <p:sldLayoutId id="2147485175" r:id="rId70"/>
    <p:sldLayoutId id="2147485176" r:id="rId71"/>
    <p:sldLayoutId id="2147485177" r:id="rId72"/>
    <p:sldLayoutId id="2147485178" r:id="rId73"/>
    <p:sldLayoutId id="2147485179" r:id="rId74"/>
  </p:sldLayoutIdLst>
  <p:transition>
    <p:fade/>
  </p:transition>
  <p:hf sldNum="0" hdr="0" ftr="0" dt="0"/>
  <p:txStyles>
    <p:titleStyle>
      <a:lvl1pPr algn="l" defTabSz="951026"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081"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162" marR="0" indent="-233081"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108" marR="0" indent="-203946"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487" marR="0" indent="-184523"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009" marR="0" indent="-171574" algn="l" defTabSz="951026"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319"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0835"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347"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1862" indent="-237757" algn="l" defTabSz="951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026" rtl="0" eaLnBrk="1" latinLnBrk="0" hangingPunct="1">
        <a:defRPr sz="1836" kern="1200">
          <a:solidFill>
            <a:schemeClr val="tx1"/>
          </a:solidFill>
          <a:latin typeface="+mn-lt"/>
          <a:ea typeface="+mn-ea"/>
          <a:cs typeface="+mn-cs"/>
        </a:defRPr>
      </a:lvl1pPr>
      <a:lvl2pPr marL="475513" algn="l" defTabSz="951026" rtl="0" eaLnBrk="1" latinLnBrk="0" hangingPunct="1">
        <a:defRPr sz="1836" kern="1200">
          <a:solidFill>
            <a:schemeClr val="tx1"/>
          </a:solidFill>
          <a:latin typeface="+mn-lt"/>
          <a:ea typeface="+mn-ea"/>
          <a:cs typeface="+mn-cs"/>
        </a:defRPr>
      </a:lvl2pPr>
      <a:lvl3pPr marL="951026" algn="l" defTabSz="951026" rtl="0" eaLnBrk="1" latinLnBrk="0" hangingPunct="1">
        <a:defRPr sz="1836" kern="1200">
          <a:solidFill>
            <a:schemeClr val="tx1"/>
          </a:solidFill>
          <a:latin typeface="+mn-lt"/>
          <a:ea typeface="+mn-ea"/>
          <a:cs typeface="+mn-cs"/>
        </a:defRPr>
      </a:lvl3pPr>
      <a:lvl4pPr marL="1426538" algn="l" defTabSz="951026" rtl="0" eaLnBrk="1" latinLnBrk="0" hangingPunct="1">
        <a:defRPr sz="1836" kern="1200">
          <a:solidFill>
            <a:schemeClr val="tx1"/>
          </a:solidFill>
          <a:latin typeface="+mn-lt"/>
          <a:ea typeface="+mn-ea"/>
          <a:cs typeface="+mn-cs"/>
        </a:defRPr>
      </a:lvl4pPr>
      <a:lvl5pPr marL="1902052" algn="l" defTabSz="951026" rtl="0" eaLnBrk="1" latinLnBrk="0" hangingPunct="1">
        <a:defRPr sz="1836" kern="1200">
          <a:solidFill>
            <a:schemeClr val="tx1"/>
          </a:solidFill>
          <a:latin typeface="+mn-lt"/>
          <a:ea typeface="+mn-ea"/>
          <a:cs typeface="+mn-cs"/>
        </a:defRPr>
      </a:lvl5pPr>
      <a:lvl6pPr marL="2377565" algn="l" defTabSz="951026" rtl="0" eaLnBrk="1" latinLnBrk="0" hangingPunct="1">
        <a:defRPr sz="1836" kern="1200">
          <a:solidFill>
            <a:schemeClr val="tx1"/>
          </a:solidFill>
          <a:latin typeface="+mn-lt"/>
          <a:ea typeface="+mn-ea"/>
          <a:cs typeface="+mn-cs"/>
        </a:defRPr>
      </a:lvl6pPr>
      <a:lvl7pPr marL="2853078" algn="l" defTabSz="951026" rtl="0" eaLnBrk="1" latinLnBrk="0" hangingPunct="1">
        <a:defRPr sz="1836" kern="1200">
          <a:solidFill>
            <a:schemeClr val="tx1"/>
          </a:solidFill>
          <a:latin typeface="+mn-lt"/>
          <a:ea typeface="+mn-ea"/>
          <a:cs typeface="+mn-cs"/>
        </a:defRPr>
      </a:lvl7pPr>
      <a:lvl8pPr marL="3328590" algn="l" defTabSz="951026" rtl="0" eaLnBrk="1" latinLnBrk="0" hangingPunct="1">
        <a:defRPr sz="1836" kern="1200">
          <a:solidFill>
            <a:schemeClr val="tx1"/>
          </a:solidFill>
          <a:latin typeface="+mn-lt"/>
          <a:ea typeface="+mn-ea"/>
          <a:cs typeface="+mn-cs"/>
        </a:defRPr>
      </a:lvl8pPr>
      <a:lvl9pPr marL="3804104" algn="l" defTabSz="951026"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5840" y="466302"/>
            <a:ext cx="6991387"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6994219"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699263" y="2900378"/>
            <a:ext cx="6994525" cy="1193773"/>
          </a:xfrm>
          <a:prstGeom prst="rect">
            <a:avLst/>
          </a:prstGeom>
        </p:spPr>
      </p:pic>
      <p:sp>
        <p:nvSpPr>
          <p:cNvPr id="5" name="Rectangle 4" hidden="1">
            <a:extLst>
              <a:ext uri="{FF2B5EF4-FFF2-40B4-BE49-F238E27FC236}">
                <a16:creationId xmlns:a16="http://schemas.microsoft.com/office/drawing/2014/main" id="{7BABC6C7-AADF-4DBF-97D6-92EBD74E163E}"/>
              </a:ext>
            </a:extLst>
          </p:cNvPr>
          <p:cNvSpPr/>
          <p:nvPr userDrawn="1"/>
        </p:nvSpPr>
        <p:spPr bwMode="auto">
          <a:xfrm>
            <a:off x="0" y="-141475"/>
            <a:ext cx="4252731" cy="46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a:solidFill>
                <a:srgbClr val="000000"/>
              </a:solidFill>
              <a:ea typeface="Segoe UI" pitchFamily="34" charset="0"/>
              <a:cs typeface="Segoe UI" pitchFamily="34" charset="0"/>
            </a:endParaRPr>
          </a:p>
        </p:txBody>
      </p:sp>
      <p:pic>
        <p:nvPicPr>
          <p:cNvPr id="54" name="Ignite light" descr="Ignite event illustration light" hidden="1">
            <a:extLst>
              <a:ext uri="{FF2B5EF4-FFF2-40B4-BE49-F238E27FC236}">
                <a16:creationId xmlns:a16="http://schemas.microsoft.com/office/drawing/2014/main" id="{DCD3C119-3C31-44E9-ACEF-74B542216E46}"/>
              </a:ext>
            </a:extLst>
          </p:cNvPr>
          <p:cNvPicPr>
            <a:picLocks noChangeAspect="1"/>
          </p:cNvPicPr>
          <p:nvPr userDrawn="1"/>
        </p:nvPicPr>
        <p:blipFill rotWithShape="1">
          <a:blip r:embed="rId45"/>
          <a:srcRect l="52412" r="13395"/>
          <a:stretch/>
        </p:blipFill>
        <p:spPr>
          <a:xfrm>
            <a:off x="1" y="1"/>
            <a:ext cx="4251823" cy="6994524"/>
          </a:xfrm>
          <a:prstGeom prst="rect">
            <a:avLst/>
          </a:prstGeom>
        </p:spPr>
      </p:pic>
      <p:grpSp>
        <p:nvGrpSpPr>
          <p:cNvPr id="11" name="Group 10">
            <a:extLst>
              <a:ext uri="{FF2B5EF4-FFF2-40B4-BE49-F238E27FC236}">
                <a16:creationId xmlns:a16="http://schemas.microsoft.com/office/drawing/2014/main" id="{CFC16F23-E575-8B43-9911-1740D4458536}"/>
              </a:ext>
            </a:extLst>
          </p:cNvPr>
          <p:cNvGrpSpPr/>
          <p:nvPr userDrawn="1"/>
        </p:nvGrpSpPr>
        <p:grpSpPr>
          <a:xfrm>
            <a:off x="11813752" y="222990"/>
            <a:ext cx="453739" cy="165394"/>
            <a:chOff x="695390" y="1849514"/>
            <a:chExt cx="10353479" cy="3774046"/>
          </a:xfrm>
        </p:grpSpPr>
        <p:sp>
          <p:nvSpPr>
            <p:cNvPr id="12" name="Rounded Rectangle 11">
              <a:extLst>
                <a:ext uri="{FF2B5EF4-FFF2-40B4-BE49-F238E27FC236}">
                  <a16:creationId xmlns:a16="http://schemas.microsoft.com/office/drawing/2014/main" id="{259DDC6C-DDEC-5345-A497-EF5D104F0EF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428" err="1">
                <a:solidFill>
                  <a:srgbClr val="000000"/>
                </a:solidFill>
                <a:latin typeface="Segoe UI Semibold"/>
                <a:cs typeface="Segoe UI" panose="020B0502040204020203" pitchFamily="34" charset="0"/>
              </a:endParaRPr>
            </a:p>
          </p:txBody>
        </p:sp>
        <p:sp>
          <p:nvSpPr>
            <p:cNvPr id="13" name="Rounded Rectangle 12">
              <a:extLst>
                <a:ext uri="{FF2B5EF4-FFF2-40B4-BE49-F238E27FC236}">
                  <a16:creationId xmlns:a16="http://schemas.microsoft.com/office/drawing/2014/main" id="{8DCC2967-169C-CE48-9558-EC6E1746937F}"/>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kern="0" err="1">
                <a:solidFill>
                  <a:srgbClr val="000000"/>
                </a:solidFill>
                <a:latin typeface="Segoe UI Semibold"/>
                <a:cs typeface="Segoe UI" panose="020B0502040204020203" pitchFamily="34" charset="0"/>
              </a:endParaRPr>
            </a:p>
          </p:txBody>
        </p:sp>
        <p:sp>
          <p:nvSpPr>
            <p:cNvPr id="14" name="Rounded Rectangle 13">
              <a:extLst>
                <a:ext uri="{FF2B5EF4-FFF2-40B4-BE49-F238E27FC236}">
                  <a16:creationId xmlns:a16="http://schemas.microsoft.com/office/drawing/2014/main" id="{42ABC42A-352D-B447-8BEC-20A05C690FC8}"/>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32146"/>
              <a:endParaRPr lang="en-US" sz="1020" err="1">
                <a:solidFill>
                  <a:srgbClr val="000000"/>
                </a:solidFill>
                <a:latin typeface="Segoe UI Semibold"/>
                <a:cs typeface="Segoe UI" panose="020B0502040204020203" pitchFamily="34" charset="0"/>
              </a:endParaRPr>
            </a:p>
          </p:txBody>
        </p:sp>
      </p:grpSp>
      <p:sp>
        <p:nvSpPr>
          <p:cNvPr id="15" name="Rectangle 14">
            <a:hlinkClick r:id="" action="ppaction://noaction"/>
            <a:extLst>
              <a:ext uri="{FF2B5EF4-FFF2-40B4-BE49-F238E27FC236}">
                <a16:creationId xmlns:a16="http://schemas.microsoft.com/office/drawing/2014/main" id="{7493B4A8-7264-854C-9A26-1F14C3F8240A}"/>
              </a:ext>
            </a:extLst>
          </p:cNvPr>
          <p:cNvSpPr/>
          <p:nvPr userDrawn="1"/>
        </p:nvSpPr>
        <p:spPr bwMode="auto">
          <a:xfrm>
            <a:off x="11587055" y="0"/>
            <a:ext cx="847834" cy="632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l"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26430381"/>
      </p:ext>
    </p:extLst>
  </p:cSld>
  <p:clrMap bg1="lt1" tx1="dk1" bg2="lt2" tx2="dk2" accent1="accent1" accent2="accent2" accent3="accent3" accent4="accent4" accent5="accent5" accent6="accent6" hlink="hlink" folHlink="folHlink"/>
  <p:sldLayoutIdLst>
    <p:sldLayoutId id="2147485249" r:id="rId1"/>
    <p:sldLayoutId id="2147485250" r:id="rId2"/>
    <p:sldLayoutId id="2147485251" r:id="rId3"/>
    <p:sldLayoutId id="2147485252" r:id="rId4"/>
    <p:sldLayoutId id="2147485253" r:id="rId5"/>
    <p:sldLayoutId id="2147485254" r:id="rId6"/>
    <p:sldLayoutId id="2147485255" r:id="rId7"/>
    <p:sldLayoutId id="2147485256" r:id="rId8"/>
    <p:sldLayoutId id="2147485257" r:id="rId9"/>
    <p:sldLayoutId id="2147485258" r:id="rId10"/>
    <p:sldLayoutId id="2147485259" r:id="rId11"/>
    <p:sldLayoutId id="2147485260" r:id="rId12"/>
    <p:sldLayoutId id="2147485261" r:id="rId13"/>
    <p:sldLayoutId id="2147485262" r:id="rId14"/>
    <p:sldLayoutId id="2147485263" r:id="rId15"/>
    <p:sldLayoutId id="2147485264" r:id="rId16"/>
    <p:sldLayoutId id="2147485265" r:id="rId17"/>
    <p:sldLayoutId id="2147485266" r:id="rId18"/>
    <p:sldLayoutId id="2147485267" r:id="rId19"/>
    <p:sldLayoutId id="2147485268" r:id="rId20"/>
    <p:sldLayoutId id="2147485269" r:id="rId21"/>
    <p:sldLayoutId id="2147485270" r:id="rId22"/>
    <p:sldLayoutId id="2147485271" r:id="rId23"/>
    <p:sldLayoutId id="2147485272" r:id="rId24"/>
    <p:sldLayoutId id="2147485273" r:id="rId25"/>
    <p:sldLayoutId id="2147485274" r:id="rId26"/>
    <p:sldLayoutId id="2147485275" r:id="rId27"/>
    <p:sldLayoutId id="2147485276" r:id="rId28"/>
    <p:sldLayoutId id="2147485277" r:id="rId29"/>
    <p:sldLayoutId id="2147485278" r:id="rId30"/>
    <p:sldLayoutId id="2147485279" r:id="rId31"/>
    <p:sldLayoutId id="2147485280" r:id="rId32"/>
    <p:sldLayoutId id="2147485281" r:id="rId33"/>
    <p:sldLayoutId id="2147485282" r:id="rId34"/>
    <p:sldLayoutId id="2147485283" r:id="rId35"/>
    <p:sldLayoutId id="2147485284" r:id="rId36"/>
    <p:sldLayoutId id="2147485285" r:id="rId37"/>
    <p:sldLayoutId id="2147485286" r:id="rId38"/>
    <p:sldLayoutId id="2147485287" r:id="rId39"/>
    <p:sldLayoutId id="2147485288" r:id="rId40"/>
    <p:sldLayoutId id="2147485289" r:id="rId41"/>
    <p:sldLayoutId id="2147485290" r:id="rId42"/>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guide id="31" pos="2626" userDrawn="1">
          <p15:clr>
            <a:srgbClr val="C35EA4"/>
          </p15:clr>
        </p15:guide>
        <p15:guide id="32" pos="2995" userDrawn="1">
          <p15:clr>
            <a:srgbClr val="5ACBF0"/>
          </p15:clr>
        </p15:guide>
        <p15:guide id="33" pos="2811" userDrawn="1">
          <p15:clr>
            <a:srgbClr val="A4A3A4"/>
          </p15:clr>
        </p15:guide>
        <p15:guide id="34" orient="horz" pos="374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3/3/2023</a:t>
            </a:fld>
            <a:endParaRPr lang="en-US"/>
          </a:p>
        </p:txBody>
      </p:sp>
      <p:sp>
        <p:nvSpPr>
          <p:cNvPr id="5" name="Footer Placeholder 4"/>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254438762"/>
      </p:ext>
    </p:extLst>
  </p:cSld>
  <p:clrMap bg1="lt1" tx1="dk1" bg2="lt2" tx2="dk2" accent1="accent1" accent2="accent2" accent3="accent3" accent4="accent4" accent5="accent5" accent6="accent6" hlink="hlink" folHlink="folHlink"/>
  <p:sldLayoutIdLst>
    <p:sldLayoutId id="2147485316" r:id="rId1"/>
    <p:sldLayoutId id="2147485317" r:id="rId2"/>
    <p:sldLayoutId id="2147485318" r:id="rId3"/>
    <p:sldLayoutId id="2147485319" r:id="rId4"/>
    <p:sldLayoutId id="2147485320" r:id="rId5"/>
    <p:sldLayoutId id="2147485321" r:id="rId6"/>
    <p:sldLayoutId id="2147485322" r:id="rId7"/>
    <p:sldLayoutId id="2147485323" r:id="rId8"/>
    <p:sldLayoutId id="2147485324" r:id="rId9"/>
    <p:sldLayoutId id="2147485325" r:id="rId10"/>
    <p:sldLayoutId id="2147485326" r:id="rId11"/>
    <p:sldLayoutId id="2147485246" r:id="rId12"/>
  </p:sldLayoutIdLst>
  <p:hf sldNum="0"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8" y="2385632"/>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2"/>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7" y="5605116"/>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stretch>
            <a:fillRect/>
          </a:stretch>
        </p:blipFill>
        <p:spPr>
          <a:xfrm>
            <a:off x="12524006" y="193128"/>
            <a:ext cx="1227331" cy="6021057"/>
          </a:xfrm>
          <a:prstGeom prst="rect">
            <a:avLst/>
          </a:prstGeom>
        </p:spPr>
      </p:pic>
    </p:spTree>
    <p:extLst>
      <p:ext uri="{BB962C8B-B14F-4D97-AF65-F5344CB8AC3E}">
        <p14:creationId xmlns:p14="http://schemas.microsoft.com/office/powerpoint/2010/main" val="153475855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291" rtl="0" eaLnBrk="1" latinLnBrk="0" hangingPunct="1">
        <a:lnSpc>
          <a:spcPct val="90000"/>
        </a:lnSpc>
        <a:spcBef>
          <a:spcPct val="0"/>
        </a:spcBef>
        <a:buNone/>
        <a:defRPr lang="en-US" sz="4798" b="0" kern="1200" cap="none" spc="-102" baseline="0" dirty="0" smtClean="0">
          <a:ln w="3175">
            <a:noFill/>
          </a:ln>
          <a:solidFill>
            <a:schemeClr val="tx1"/>
          </a:solidFill>
          <a:effectLst/>
          <a:latin typeface="+mj-lt"/>
          <a:ea typeface="+mn-ea"/>
          <a:cs typeface="Segoe UI" pitchFamily="34" charset="0"/>
        </a:defRPr>
      </a:lvl1pPr>
    </p:titleStyle>
    <p:bodyStyle>
      <a:lvl1pPr marL="342734" marR="0" indent="-342734" algn="l" defTabSz="932291"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1"/>
          </a:solidFill>
          <a:latin typeface="+mj-lt"/>
          <a:ea typeface="+mn-ea"/>
          <a:cs typeface="+mn-cs"/>
        </a:defRPr>
      </a:lvl1pPr>
      <a:lvl2pPr marL="583917" marR="0" indent="-241182" algn="l" defTabSz="932291"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71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202"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691" marR="0" indent="-228490" algn="l" defTabSz="9322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799"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945"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091"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237" indent="-233073" algn="l" defTabSz="9322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91" rtl="0" eaLnBrk="1" latinLnBrk="0" hangingPunct="1">
        <a:defRPr sz="1800" kern="1200">
          <a:solidFill>
            <a:schemeClr val="tx1"/>
          </a:solidFill>
          <a:latin typeface="+mn-lt"/>
          <a:ea typeface="+mn-ea"/>
          <a:cs typeface="+mn-cs"/>
        </a:defRPr>
      </a:lvl1pPr>
      <a:lvl2pPr marL="466144" algn="l" defTabSz="932291" rtl="0" eaLnBrk="1" latinLnBrk="0" hangingPunct="1">
        <a:defRPr sz="1800" kern="1200">
          <a:solidFill>
            <a:schemeClr val="tx1"/>
          </a:solidFill>
          <a:latin typeface="+mn-lt"/>
          <a:ea typeface="+mn-ea"/>
          <a:cs typeface="+mn-cs"/>
        </a:defRPr>
      </a:lvl2pPr>
      <a:lvl3pPr marL="932291" algn="l" defTabSz="932291" rtl="0" eaLnBrk="1" latinLnBrk="0" hangingPunct="1">
        <a:defRPr sz="1800" kern="1200">
          <a:solidFill>
            <a:schemeClr val="tx1"/>
          </a:solidFill>
          <a:latin typeface="+mn-lt"/>
          <a:ea typeface="+mn-ea"/>
          <a:cs typeface="+mn-cs"/>
        </a:defRPr>
      </a:lvl3pPr>
      <a:lvl4pPr marL="1398436" algn="l" defTabSz="932291" rtl="0" eaLnBrk="1" latinLnBrk="0" hangingPunct="1">
        <a:defRPr sz="1800" kern="1200">
          <a:solidFill>
            <a:schemeClr val="tx1"/>
          </a:solidFill>
          <a:latin typeface="+mn-lt"/>
          <a:ea typeface="+mn-ea"/>
          <a:cs typeface="+mn-cs"/>
        </a:defRPr>
      </a:lvl4pPr>
      <a:lvl5pPr marL="1864582" algn="l" defTabSz="932291" rtl="0" eaLnBrk="1" latinLnBrk="0" hangingPunct="1">
        <a:defRPr sz="1800" kern="1200">
          <a:solidFill>
            <a:schemeClr val="tx1"/>
          </a:solidFill>
          <a:latin typeface="+mn-lt"/>
          <a:ea typeface="+mn-ea"/>
          <a:cs typeface="+mn-cs"/>
        </a:defRPr>
      </a:lvl5pPr>
      <a:lvl6pPr marL="2330727" algn="l" defTabSz="932291" rtl="0" eaLnBrk="1" latinLnBrk="0" hangingPunct="1">
        <a:defRPr sz="1800" kern="1200">
          <a:solidFill>
            <a:schemeClr val="tx1"/>
          </a:solidFill>
          <a:latin typeface="+mn-lt"/>
          <a:ea typeface="+mn-ea"/>
          <a:cs typeface="+mn-cs"/>
        </a:defRPr>
      </a:lvl6pPr>
      <a:lvl7pPr marL="2796872" algn="l" defTabSz="932291" rtl="0" eaLnBrk="1" latinLnBrk="0" hangingPunct="1">
        <a:defRPr sz="1800" kern="1200">
          <a:solidFill>
            <a:schemeClr val="tx1"/>
          </a:solidFill>
          <a:latin typeface="+mn-lt"/>
          <a:ea typeface="+mn-ea"/>
          <a:cs typeface="+mn-cs"/>
        </a:defRPr>
      </a:lvl7pPr>
      <a:lvl8pPr marL="3263017" algn="l" defTabSz="932291" rtl="0" eaLnBrk="1" latinLnBrk="0" hangingPunct="1">
        <a:defRPr sz="1800" kern="1200">
          <a:solidFill>
            <a:schemeClr val="tx1"/>
          </a:solidFill>
          <a:latin typeface="+mn-lt"/>
          <a:ea typeface="+mn-ea"/>
          <a:cs typeface="+mn-cs"/>
        </a:defRPr>
      </a:lvl8pPr>
      <a:lvl9pPr marL="3729164" algn="l" defTabSz="9322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9243606"/>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09" r:id="rId6"/>
    <p:sldLayoutId id="2147484710" r:id="rId7"/>
    <p:sldLayoutId id="2147484711" r:id="rId8"/>
    <p:sldLayoutId id="2147484712" r:id="rId9"/>
    <p:sldLayoutId id="2147484713" r:id="rId10"/>
    <p:sldLayoutId id="2147484714" r:id="rId11"/>
    <p:sldLayoutId id="2147484715" r:id="rId12"/>
    <p:sldLayoutId id="2147484716" r:id="rId13"/>
    <p:sldLayoutId id="2147484717" r:id="rId14"/>
    <p:sldLayoutId id="2147484718" r:id="rId15"/>
    <p:sldLayoutId id="2147484719" r:id="rId16"/>
    <p:sldLayoutId id="2147484720" r:id="rId17"/>
    <p:sldLayoutId id="2147484721" r:id="rId18"/>
    <p:sldLayoutId id="2147484722" r:id="rId19"/>
    <p:sldLayoutId id="2147484723" r:id="rId20"/>
    <p:sldLayoutId id="2147484724" r:id="rId21"/>
    <p:sldLayoutId id="2147484725" r:id="rId22"/>
    <p:sldLayoutId id="2147484726" r:id="rId23"/>
    <p:sldLayoutId id="2147484727" r:id="rId24"/>
    <p:sldLayoutId id="2147484728" r:id="rId25"/>
    <p:sldLayoutId id="2147484729" r:id="rId26"/>
    <p:sldLayoutId id="2147484730" r:id="rId27"/>
    <p:sldLayoutId id="2147484731" r:id="rId28"/>
    <p:sldLayoutId id="2147484732" r:id="rId29"/>
    <p:sldLayoutId id="2147484733" r:id="rId30"/>
    <p:sldLayoutId id="2147484734" r:id="rId31"/>
    <p:sldLayoutId id="2147484735" r:id="rId32"/>
    <p:sldLayoutId id="2147484736" r:id="rId33"/>
    <p:sldLayoutId id="2147484737" r:id="rId34"/>
    <p:sldLayoutId id="2147484738" r:id="rId35"/>
    <p:sldLayoutId id="2147484739" r:id="rId36"/>
    <p:sldLayoutId id="2147484740" r:id="rId37"/>
    <p:sldLayoutId id="2147484741" r:id="rId38"/>
    <p:sldLayoutId id="2147484742" r:id="rId39"/>
    <p:sldLayoutId id="2147484743" r:id="rId40"/>
    <p:sldLayoutId id="2147484744" r:id="rId41"/>
    <p:sldLayoutId id="2147484745" r:id="rId42"/>
    <p:sldLayoutId id="2147484746" r:id="rId43"/>
    <p:sldLayoutId id="2147484747" r:id="rId44"/>
    <p:sldLayoutId id="2147484748" r:id="rId45"/>
    <p:sldLayoutId id="2147484749" r:id="rId46"/>
    <p:sldLayoutId id="2147484750" r:id="rId47"/>
    <p:sldLayoutId id="2147484751" r:id="rId48"/>
    <p:sldLayoutId id="2147484752" r:id="rId49"/>
    <p:sldLayoutId id="2147484753" r:id="rId50"/>
    <p:sldLayoutId id="2147484754" r:id="rId51"/>
    <p:sldLayoutId id="2147484755" r:id="rId52"/>
    <p:sldLayoutId id="2147484756" r:id="rId53"/>
    <p:sldLayoutId id="2147484757" r:id="rId54"/>
    <p:sldLayoutId id="2147484758" r:id="rId55"/>
    <p:sldLayoutId id="2147484759" r:id="rId56"/>
    <p:sldLayoutId id="2147484760" r:id="rId57"/>
    <p:sldLayoutId id="2147484761" r:id="rId58"/>
    <p:sldLayoutId id="2147484762" r:id="rId59"/>
    <p:sldLayoutId id="2147484763" r:id="rId60"/>
    <p:sldLayoutId id="2147484764" r:id="rId61"/>
    <p:sldLayoutId id="2147484765" r:id="rId62"/>
    <p:sldLayoutId id="2147484766" r:id="rId63"/>
    <p:sldLayoutId id="2147484767" r:id="rId64"/>
    <p:sldLayoutId id="2147484768" r:id="rId65"/>
    <p:sldLayoutId id="2147484769" r:id="rId66"/>
    <p:sldLayoutId id="2147484770" r:id="rId67"/>
    <p:sldLayoutId id="2147484771" r:id="rId68"/>
    <p:sldLayoutId id="2147484772" r:id="rId69"/>
    <p:sldLayoutId id="2147484773" r:id="rId70"/>
    <p:sldLayoutId id="2147484774" r:id="rId71"/>
    <p:sldLayoutId id="2147484775" r:id="rId72"/>
    <p:sldLayoutId id="2147484776" r:id="rId7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rot="5400000">
            <a:off x="9370153" y="3072353"/>
            <a:ext cx="6995160" cy="849818"/>
          </a:xfrm>
          <a:prstGeom prst="rect">
            <a:avLst/>
          </a:prstGeom>
        </p:spPr>
      </p:pic>
    </p:spTree>
    <p:extLst>
      <p:ext uri="{BB962C8B-B14F-4D97-AF65-F5344CB8AC3E}">
        <p14:creationId xmlns:p14="http://schemas.microsoft.com/office/powerpoint/2010/main" val="3015616313"/>
      </p:ext>
    </p:extLst>
  </p:cSld>
  <p:clrMap bg1="lt1" tx1="dk1" bg2="lt2" tx2="dk2" accent1="accent1" accent2="accent2" accent3="accent3" accent4="accent4" accent5="accent5" accent6="accent6" hlink="hlink" folHlink="folHlink"/>
  <p:sldLayoutIdLst>
    <p:sldLayoutId id="2147484852" r:id="rId1"/>
    <p:sldLayoutId id="2147484853" r:id="rId2"/>
    <p:sldLayoutId id="2147484854" r:id="rId3"/>
    <p:sldLayoutId id="2147484855" r:id="rId4"/>
    <p:sldLayoutId id="2147484856" r:id="rId5"/>
    <p:sldLayoutId id="2147484857" r:id="rId6"/>
    <p:sldLayoutId id="2147484858" r:id="rId7"/>
    <p:sldLayoutId id="2147484859" r:id="rId8"/>
    <p:sldLayoutId id="2147484860" r:id="rId9"/>
    <p:sldLayoutId id="2147484861" r:id="rId10"/>
    <p:sldLayoutId id="2147484862" r:id="rId11"/>
    <p:sldLayoutId id="2147484863" r:id="rId12"/>
    <p:sldLayoutId id="2147484864" r:id="rId13"/>
    <p:sldLayoutId id="2147484865" r:id="rId14"/>
    <p:sldLayoutId id="2147484866" r:id="rId15"/>
    <p:sldLayoutId id="2147484867" r:id="rId16"/>
    <p:sldLayoutId id="2147484868" r:id="rId17"/>
    <p:sldLayoutId id="2147484869" r:id="rId18"/>
    <p:sldLayoutId id="2147484870" r:id="rId19"/>
    <p:sldLayoutId id="2147484871" r:id="rId20"/>
    <p:sldLayoutId id="2147484872" r:id="rId21"/>
    <p:sldLayoutId id="2147484873" r:id="rId22"/>
    <p:sldLayoutId id="2147484874" r:id="rId23"/>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solidFill>
            <a:schemeClr val="tx1"/>
          </a:solidFill>
          <a:latin typeface="+mj-lt"/>
          <a:ea typeface="+mn-ea"/>
          <a:cs typeface="+mn-cs"/>
        </a:defRPr>
      </a:lvl1pPr>
      <a:lvl2pPr marL="457154"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731"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309"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886" marR="0" indent="-228577" algn="l" defTabSz="93264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544"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99263" y="2900378"/>
            <a:ext cx="6994525" cy="1193773"/>
          </a:xfrm>
          <a:prstGeom prst="rect">
            <a:avLst/>
          </a:prstGeom>
        </p:spPr>
      </p:pic>
    </p:spTree>
    <p:extLst>
      <p:ext uri="{BB962C8B-B14F-4D97-AF65-F5344CB8AC3E}">
        <p14:creationId xmlns:p14="http://schemas.microsoft.com/office/powerpoint/2010/main" val="170804234"/>
      </p:ext>
    </p:extLst>
  </p:cSld>
  <p:clrMap bg1="dk1" tx1="lt1" bg2="dk2" tx2="lt2" accent1="accent1" accent2="accent2" accent3="accent3" accent4="accent4" accent5="accent5" accent6="accent6" hlink="hlink" folHlink="folHlink"/>
  <p:sldLayoutIdLst>
    <p:sldLayoutId id="2147484876" r:id="rId1"/>
    <p:sldLayoutId id="2147484877" r:id="rId2"/>
    <p:sldLayoutId id="2147484878" r:id="rId3"/>
    <p:sldLayoutId id="2147484879" r:id="rId4"/>
    <p:sldLayoutId id="2147484880" r:id="rId5"/>
    <p:sldLayoutId id="2147484881" r:id="rId6"/>
    <p:sldLayoutId id="2147484882" r:id="rId7"/>
    <p:sldLayoutId id="2147484883" r:id="rId8"/>
    <p:sldLayoutId id="2147484884" r:id="rId9"/>
    <p:sldLayoutId id="2147484885" r:id="rId10"/>
    <p:sldLayoutId id="2147484886" r:id="rId11"/>
    <p:sldLayoutId id="2147484887" r:id="rId12"/>
    <p:sldLayoutId id="2147484888" r:id="rId13"/>
    <p:sldLayoutId id="2147484889" r:id="rId14"/>
    <p:sldLayoutId id="2147484890" r:id="rId15"/>
    <p:sldLayoutId id="2147484891" r:id="rId16"/>
    <p:sldLayoutId id="2147484892" r:id="rId17"/>
    <p:sldLayoutId id="2147484893" r:id="rId18"/>
    <p:sldLayoutId id="2147484894" r:id="rId19"/>
    <p:sldLayoutId id="2147484895" r:id="rId20"/>
    <p:sldLayoutId id="2147484896" r:id="rId21"/>
    <p:sldLayoutId id="2147484897" r:id="rId22"/>
    <p:sldLayoutId id="2147484898" r:id="rId23"/>
    <p:sldLayoutId id="2147484899" r:id="rId24"/>
    <p:sldLayoutId id="2147484900" r:id="rId25"/>
    <p:sldLayoutId id="2147484901" r:id="rId26"/>
    <p:sldLayoutId id="2147484902" r:id="rId27"/>
    <p:sldLayoutId id="2147484903" r:id="rId28"/>
    <p:sldLayoutId id="2147484904" r:id="rId29"/>
    <p:sldLayoutId id="2147484905" r:id="rId30"/>
    <p:sldLayoutId id="2147484906" r:id="rId31"/>
    <p:sldLayoutId id="2147484907" r:id="rId32"/>
    <p:sldLayoutId id="2147484908" r:id="rId33"/>
    <p:sldLayoutId id="2147484909" r:id="rId34"/>
    <p:sldLayoutId id="2147484910" r:id="rId35"/>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alphaModFix amt="0"/>
          </a:blip>
          <a:srcRect l="762"/>
          <a:stretch/>
        </p:blipFill>
        <p:spPr>
          <a:xfrm rot="5400000">
            <a:off x="9653101" y="2900378"/>
            <a:ext cx="6994525" cy="1193773"/>
          </a:xfrm>
          <a:prstGeom prst="rect">
            <a:avLst/>
          </a:prstGeom>
        </p:spPr>
      </p:pic>
    </p:spTree>
    <p:extLst>
      <p:ext uri="{BB962C8B-B14F-4D97-AF65-F5344CB8AC3E}">
        <p14:creationId xmlns:p14="http://schemas.microsoft.com/office/powerpoint/2010/main" val="2288376586"/>
      </p:ext>
    </p:extLst>
  </p:cSld>
  <p:clrMap bg1="dk1" tx1="lt1" bg2="dk2" tx2="lt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 id="2147484940" r:id="rId29"/>
    <p:sldLayoutId id="2147484941" r:id="rId30"/>
    <p:sldLayoutId id="2147484942" r:id="rId31"/>
    <p:sldLayoutId id="2147484943" r:id="rId32"/>
    <p:sldLayoutId id="2147484944" r:id="rId33"/>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8"/>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8"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242269" y="2385633"/>
            <a:ext cx="5516729" cy="745472"/>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664117" y="-17271"/>
          <a:ext cx="2550469" cy="5524029"/>
        </p:xfrm>
        <a:graphic>
          <a:graphicData uri="http://schemas.openxmlformats.org/drawingml/2006/table">
            <a:tbl>
              <a:tblPr firstRow="1" firstCol="1" bandRow="1"/>
              <a:tblGrid>
                <a:gridCol w="2550469">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12" marR="68955"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627898" y="5605117"/>
          <a:ext cx="4047973" cy="1342353"/>
        </p:xfrm>
        <a:graphic>
          <a:graphicData uri="http://schemas.openxmlformats.org/drawingml/2006/table">
            <a:tbl>
              <a:tblPr firstRow="1" firstCol="1" bandRow="1"/>
              <a:tblGrid>
                <a:gridCol w="856396">
                  <a:extLst>
                    <a:ext uri="{9D8B030D-6E8A-4147-A177-3AD203B41FA5}">
                      <a16:colId xmlns:a16="http://schemas.microsoft.com/office/drawing/2014/main" val="1609752180"/>
                    </a:ext>
                  </a:extLst>
                </a:gridCol>
                <a:gridCol w="844951">
                  <a:extLst>
                    <a:ext uri="{9D8B030D-6E8A-4147-A177-3AD203B41FA5}">
                      <a16:colId xmlns:a16="http://schemas.microsoft.com/office/drawing/2014/main" val="1258621652"/>
                    </a:ext>
                  </a:extLst>
                </a:gridCol>
                <a:gridCol w="745115">
                  <a:extLst>
                    <a:ext uri="{9D8B030D-6E8A-4147-A177-3AD203B41FA5}">
                      <a16:colId xmlns:a16="http://schemas.microsoft.com/office/drawing/2014/main" val="1939155094"/>
                    </a:ext>
                  </a:extLst>
                </a:gridCol>
                <a:gridCol w="745115">
                  <a:extLst>
                    <a:ext uri="{9D8B030D-6E8A-4147-A177-3AD203B41FA5}">
                      <a16:colId xmlns:a16="http://schemas.microsoft.com/office/drawing/2014/main" val="1921586234"/>
                    </a:ext>
                  </a:extLst>
                </a:gridCol>
                <a:gridCol w="856396">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5"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25" marR="56025"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5"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12524006" y="193129"/>
            <a:ext cx="1227331" cy="6021057"/>
          </a:xfrm>
          <a:prstGeom prst="rect">
            <a:avLst/>
          </a:prstGeom>
        </p:spPr>
      </p:pic>
    </p:spTree>
    <p:extLst>
      <p:ext uri="{BB962C8B-B14F-4D97-AF65-F5344CB8AC3E}">
        <p14:creationId xmlns:p14="http://schemas.microsoft.com/office/powerpoint/2010/main" val="1710111642"/>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 id="2147484963" r:id="rId18"/>
    <p:sldLayoutId id="2147484964" r:id="rId19"/>
    <p:sldLayoutId id="2147484965" r:id="rId20"/>
    <p:sldLayoutId id="2147484966" r:id="rId21"/>
    <p:sldLayoutId id="2147484967" r:id="rId22"/>
    <p:sldLayoutId id="2147484968" r:id="rId23"/>
    <p:sldLayoutId id="2147484969" r:id="rId24"/>
    <p:sldLayoutId id="2147484970" r:id="rId25"/>
    <p:sldLayoutId id="2147484971" r:id="rId26"/>
    <p:sldLayoutId id="2147484972" r:id="rId27"/>
    <p:sldLayoutId id="2147484973" r:id="rId28"/>
    <p:sldLayoutId id="2147484974" r:id="rId29"/>
    <p:sldLayoutId id="2147484975" r:id="rId30"/>
    <p:sldLayoutId id="2147484976" r:id="rId31"/>
    <p:sldLayoutId id="2147484977" r:id="rId32"/>
    <p:sldLayoutId id="2147484978" r:id="rId33"/>
    <p:sldLayoutId id="2147484979" r:id="rId34"/>
    <p:sldLayoutId id="2147484980" r:id="rId35"/>
    <p:sldLayoutId id="2147484981" r:id="rId36"/>
    <p:sldLayoutId id="2147484982"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112" rtl="0" eaLnBrk="1" latinLnBrk="0" hangingPunct="1">
        <a:lnSpc>
          <a:spcPct val="90000"/>
        </a:lnSpc>
        <a:spcBef>
          <a:spcPct val="0"/>
        </a:spcBef>
        <a:buNone/>
        <a:defRPr lang="en-US" sz="4797" b="0" kern="1200" cap="none" spc="-102" baseline="0" dirty="0" smtClean="0">
          <a:ln w="3175">
            <a:noFill/>
          </a:ln>
          <a:solidFill>
            <a:schemeClr val="tx1"/>
          </a:solidFill>
          <a:effectLst/>
          <a:latin typeface="+mj-lt"/>
          <a:ea typeface="+mn-ea"/>
          <a:cs typeface="Segoe UI" pitchFamily="34" charset="0"/>
        </a:defRPr>
      </a:lvl1pPr>
    </p:titleStyle>
    <p:bodyStyle>
      <a:lvl1pPr marL="342668" marR="0" indent="-342668" algn="l" defTabSz="93211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solidFill>
            <a:schemeClr val="tx1"/>
          </a:solidFill>
          <a:latin typeface="+mj-lt"/>
          <a:ea typeface="+mn-ea"/>
          <a:cs typeface="+mn-cs"/>
        </a:defRPr>
      </a:lvl1pPr>
      <a:lvl2pPr marL="583805" marR="0" indent="-241135" algn="l" defTabSz="93211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558"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004"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6450" marR="0" indent="-228446" algn="l" defTabSz="93211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3307"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363"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419"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476" indent="-233028" algn="l" defTabSz="932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112" rtl="0" eaLnBrk="1" latinLnBrk="0" hangingPunct="1">
        <a:defRPr sz="1800" kern="1200">
          <a:solidFill>
            <a:schemeClr val="tx1"/>
          </a:solidFill>
          <a:latin typeface="+mn-lt"/>
          <a:ea typeface="+mn-ea"/>
          <a:cs typeface="+mn-cs"/>
        </a:defRPr>
      </a:lvl1pPr>
      <a:lvl2pPr marL="466054" algn="l" defTabSz="932112" rtl="0" eaLnBrk="1" latinLnBrk="0" hangingPunct="1">
        <a:defRPr sz="1800" kern="1200">
          <a:solidFill>
            <a:schemeClr val="tx1"/>
          </a:solidFill>
          <a:latin typeface="+mn-lt"/>
          <a:ea typeface="+mn-ea"/>
          <a:cs typeface="+mn-cs"/>
        </a:defRPr>
      </a:lvl2pPr>
      <a:lvl3pPr marL="932112" algn="l" defTabSz="932112" rtl="0" eaLnBrk="1" latinLnBrk="0" hangingPunct="1">
        <a:defRPr sz="1800" kern="1200">
          <a:solidFill>
            <a:schemeClr val="tx1"/>
          </a:solidFill>
          <a:latin typeface="+mn-lt"/>
          <a:ea typeface="+mn-ea"/>
          <a:cs typeface="+mn-cs"/>
        </a:defRPr>
      </a:lvl3pPr>
      <a:lvl4pPr marL="1398167" algn="l" defTabSz="932112" rtl="0" eaLnBrk="1" latinLnBrk="0" hangingPunct="1">
        <a:defRPr sz="1800" kern="1200">
          <a:solidFill>
            <a:schemeClr val="tx1"/>
          </a:solidFill>
          <a:latin typeface="+mn-lt"/>
          <a:ea typeface="+mn-ea"/>
          <a:cs typeface="+mn-cs"/>
        </a:defRPr>
      </a:lvl4pPr>
      <a:lvl5pPr marL="1864224" algn="l" defTabSz="932112" rtl="0" eaLnBrk="1" latinLnBrk="0" hangingPunct="1">
        <a:defRPr sz="1800" kern="1200">
          <a:solidFill>
            <a:schemeClr val="tx1"/>
          </a:solidFill>
          <a:latin typeface="+mn-lt"/>
          <a:ea typeface="+mn-ea"/>
          <a:cs typeface="+mn-cs"/>
        </a:defRPr>
      </a:lvl5pPr>
      <a:lvl6pPr marL="2330279" algn="l" defTabSz="932112" rtl="0" eaLnBrk="1" latinLnBrk="0" hangingPunct="1">
        <a:defRPr sz="1800" kern="1200">
          <a:solidFill>
            <a:schemeClr val="tx1"/>
          </a:solidFill>
          <a:latin typeface="+mn-lt"/>
          <a:ea typeface="+mn-ea"/>
          <a:cs typeface="+mn-cs"/>
        </a:defRPr>
      </a:lvl6pPr>
      <a:lvl7pPr marL="2796335" algn="l" defTabSz="932112" rtl="0" eaLnBrk="1" latinLnBrk="0" hangingPunct="1">
        <a:defRPr sz="1800" kern="1200">
          <a:solidFill>
            <a:schemeClr val="tx1"/>
          </a:solidFill>
          <a:latin typeface="+mn-lt"/>
          <a:ea typeface="+mn-ea"/>
          <a:cs typeface="+mn-cs"/>
        </a:defRPr>
      </a:lvl7pPr>
      <a:lvl8pPr marL="3262390" algn="l" defTabSz="932112" rtl="0" eaLnBrk="1" latinLnBrk="0" hangingPunct="1">
        <a:defRPr sz="1800" kern="1200">
          <a:solidFill>
            <a:schemeClr val="tx1"/>
          </a:solidFill>
          <a:latin typeface="+mn-lt"/>
          <a:ea typeface="+mn-ea"/>
          <a:cs typeface="+mn-cs"/>
        </a:defRPr>
      </a:lvl8pPr>
      <a:lvl9pPr marL="3728448" algn="l" defTabSz="93211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3" userDrawn="1">
          <p15:clr>
            <a:srgbClr val="5ACBF0"/>
          </p15:clr>
        </p15:guide>
        <p15:guide id="10" pos="4779" userDrawn="1">
          <p15:clr>
            <a:srgbClr val="5ACBF0"/>
          </p15:clr>
        </p15:guide>
        <p15:guide id="11" pos="5355" userDrawn="1">
          <p15:clr>
            <a:srgbClr val="5ACBF0"/>
          </p15:clr>
        </p15:guide>
        <p15:guide id="12" pos="5931" userDrawn="1">
          <p15:clr>
            <a:srgbClr val="5ACBF0"/>
          </p15:clr>
        </p15:guide>
        <p15:guide id="13" pos="6507" userDrawn="1">
          <p15:clr>
            <a:srgbClr val="5ACBF0"/>
          </p15:clr>
        </p15:guide>
        <p15:guide id="14" pos="7083" userDrawn="1">
          <p15:clr>
            <a:srgbClr val="5ACBF0"/>
          </p15:clr>
        </p15:guide>
        <p15:guide id="15" pos="7659" userDrawn="1">
          <p15:clr>
            <a:srgbClr val="5ACBF0"/>
          </p15:clr>
        </p15:guide>
        <p15:guide id="16" pos="288" userDrawn="1">
          <p15:clr>
            <a:srgbClr val="C35EA4"/>
          </p15:clr>
        </p15:guide>
        <p15:guide id="17" pos="7390"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10096460" y="2458379"/>
            <a:ext cx="6994526" cy="2059998"/>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76" cstate="screen">
              <a:extLst>
                <a:ext uri="{28A0092B-C50C-407E-A947-70E740481C1C}">
                  <a14:useLocalDpi xmlns:a14="http://schemas.microsoft.com/office/drawing/2010/main"/>
                </a:ext>
                <a:ext uri="{96DAC541-7B7A-43D3-8B79-37D633B846F1}">
                  <asvg:svgBlip xmlns:asvg="http://schemas.microsoft.com/office/drawing/2016/SVG/main" r:embed="rId77"/>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8" cstate="screen">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4219596264"/>
      </p:ext>
    </p:extLst>
  </p:cSld>
  <p:clrMap bg1="lt1" tx1="dk1" bg2="lt2" tx2="dk2" accent1="accent1" accent2="accent2" accent3="accent3" accent4="accent4" accent5="accent5" accent6="accent6" hlink="hlink" folHlink="folHlink"/>
  <p:sldLayoutIdLst>
    <p:sldLayoutId id="2147484985" r:id="rId1"/>
    <p:sldLayoutId id="2147484986" r:id="rId2"/>
    <p:sldLayoutId id="2147484987" r:id="rId3"/>
    <p:sldLayoutId id="2147484988" r:id="rId4"/>
    <p:sldLayoutId id="2147484989" r:id="rId5"/>
    <p:sldLayoutId id="2147484990" r:id="rId6"/>
    <p:sldLayoutId id="2147484991" r:id="rId7"/>
    <p:sldLayoutId id="2147484992" r:id="rId8"/>
    <p:sldLayoutId id="2147484993" r:id="rId9"/>
    <p:sldLayoutId id="2147484994" r:id="rId10"/>
    <p:sldLayoutId id="2147484995" r:id="rId11"/>
    <p:sldLayoutId id="2147484996" r:id="rId12"/>
    <p:sldLayoutId id="2147484997" r:id="rId13"/>
    <p:sldLayoutId id="2147484998" r:id="rId14"/>
    <p:sldLayoutId id="2147484999" r:id="rId15"/>
    <p:sldLayoutId id="2147485000" r:id="rId16"/>
    <p:sldLayoutId id="2147485001" r:id="rId17"/>
    <p:sldLayoutId id="2147485002" r:id="rId18"/>
    <p:sldLayoutId id="2147485003" r:id="rId19"/>
    <p:sldLayoutId id="2147485004" r:id="rId20"/>
    <p:sldLayoutId id="2147485005" r:id="rId21"/>
    <p:sldLayoutId id="2147485006" r:id="rId22"/>
    <p:sldLayoutId id="2147485007" r:id="rId23"/>
    <p:sldLayoutId id="2147485008" r:id="rId24"/>
    <p:sldLayoutId id="2147485009" r:id="rId25"/>
    <p:sldLayoutId id="2147485010" r:id="rId26"/>
    <p:sldLayoutId id="2147485011" r:id="rId27"/>
    <p:sldLayoutId id="2147485012" r:id="rId28"/>
    <p:sldLayoutId id="2147485013" r:id="rId29"/>
    <p:sldLayoutId id="2147485014" r:id="rId30"/>
    <p:sldLayoutId id="2147485015" r:id="rId31"/>
    <p:sldLayoutId id="2147485016" r:id="rId32"/>
    <p:sldLayoutId id="2147485017" r:id="rId33"/>
    <p:sldLayoutId id="2147485018" r:id="rId34"/>
    <p:sldLayoutId id="2147485019" r:id="rId35"/>
    <p:sldLayoutId id="2147485020" r:id="rId36"/>
    <p:sldLayoutId id="2147485021" r:id="rId37"/>
    <p:sldLayoutId id="2147485022" r:id="rId38"/>
    <p:sldLayoutId id="2147485023" r:id="rId39"/>
    <p:sldLayoutId id="2147485024" r:id="rId40"/>
    <p:sldLayoutId id="2147485025" r:id="rId41"/>
    <p:sldLayoutId id="2147485026" r:id="rId42"/>
    <p:sldLayoutId id="2147485027" r:id="rId43"/>
    <p:sldLayoutId id="2147485028" r:id="rId44"/>
    <p:sldLayoutId id="2147485029" r:id="rId45"/>
    <p:sldLayoutId id="2147485030" r:id="rId46"/>
    <p:sldLayoutId id="2147485031" r:id="rId47"/>
    <p:sldLayoutId id="2147485032" r:id="rId48"/>
    <p:sldLayoutId id="2147485033" r:id="rId49"/>
    <p:sldLayoutId id="2147485034" r:id="rId50"/>
    <p:sldLayoutId id="2147485035" r:id="rId51"/>
    <p:sldLayoutId id="2147485036" r:id="rId52"/>
    <p:sldLayoutId id="2147485037" r:id="rId53"/>
    <p:sldLayoutId id="2147485038" r:id="rId54"/>
    <p:sldLayoutId id="2147485039" r:id="rId55"/>
    <p:sldLayoutId id="2147485040" r:id="rId56"/>
    <p:sldLayoutId id="2147485041" r:id="rId57"/>
    <p:sldLayoutId id="2147485042" r:id="rId58"/>
    <p:sldLayoutId id="2147485043" r:id="rId59"/>
    <p:sldLayoutId id="2147485044" r:id="rId60"/>
    <p:sldLayoutId id="2147485045" r:id="rId61"/>
    <p:sldLayoutId id="2147485046" r:id="rId62"/>
    <p:sldLayoutId id="2147485047" r:id="rId63"/>
    <p:sldLayoutId id="2147485048" r:id="rId64"/>
    <p:sldLayoutId id="2147485049" r:id="rId65"/>
    <p:sldLayoutId id="2147485050" r:id="rId66"/>
    <p:sldLayoutId id="2147485051" r:id="rId67"/>
    <p:sldLayoutId id="2147485052" r:id="rId68"/>
    <p:sldLayoutId id="2147485053" r:id="rId69"/>
    <p:sldLayoutId id="2147485054" r:id="rId70"/>
    <p:sldLayoutId id="2147485055" r:id="rId71"/>
    <p:sldLayoutId id="2147485056" r:id="rId72"/>
    <p:sldLayoutId id="2147485057" r:id="rId73"/>
    <p:sldLayoutId id="2147485058" r:id="rId74"/>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2"/>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9" y="1464081"/>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3"/>
          <a:stretch>
            <a:fillRect/>
          </a:stretch>
        </p:blipFill>
        <p:spPr>
          <a:xfrm rot="5400000">
            <a:off x="9474093"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1"/>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655860"/>
      </p:ext>
    </p:extLst>
  </p:cSld>
  <p:clrMap bg1="lt1" tx1="dk1" bg2="lt2" tx2="dk2" accent1="accent1" accent2="accent2" accent3="accent3" accent4="accent4" accent5="accent5" accent6="accent6" hlink="hlink" folHlink="folHlink"/>
  <p:sldLayoutIdLst>
    <p:sldLayoutId id="2147485076" r:id="rId1"/>
    <p:sldLayoutId id="2147485077" r:id="rId2"/>
    <p:sldLayoutId id="2147485078" r:id="rId3"/>
    <p:sldLayoutId id="2147485079" r:id="rId4"/>
    <p:sldLayoutId id="2147485080" r:id="rId5"/>
    <p:sldLayoutId id="2147485081" r:id="rId6"/>
    <p:sldLayoutId id="2147485082" r:id="rId7"/>
    <p:sldLayoutId id="2147485083" r:id="rId8"/>
    <p:sldLayoutId id="2147485084" r:id="rId9"/>
    <p:sldLayoutId id="2147485085" r:id="rId10"/>
    <p:sldLayoutId id="2147485086" r:id="rId11"/>
    <p:sldLayoutId id="2147485087" r:id="rId12"/>
    <p:sldLayoutId id="2147485088" r:id="rId13"/>
    <p:sldLayoutId id="2147485089" r:id="rId14"/>
    <p:sldLayoutId id="2147485090" r:id="rId15"/>
    <p:sldLayoutId id="2147485091" r:id="rId16"/>
    <p:sldLayoutId id="2147485092" r:id="rId17"/>
    <p:sldLayoutId id="2147485094" r:id="rId18"/>
    <p:sldLayoutId id="2147485095" r:id="rId19"/>
    <p:sldLayoutId id="2147485101" r:id="rId20"/>
    <p:sldLayoutId id="2147485103" r:id="rId21"/>
  </p:sldLayoutIdLst>
  <p:transition>
    <p:fade/>
  </p:transition>
  <p:hf sldNum="0" hdr="0" ftr="0" dt="0"/>
  <p:txStyles>
    <p:titleStyle>
      <a:lvl1pPr algn="l" defTabSz="951209"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209" rtl="0" eaLnBrk="1" latinLnBrk="0" hangingPunct="1">
        <a:defRPr sz="1836" kern="1200">
          <a:solidFill>
            <a:schemeClr val="tx1"/>
          </a:solidFill>
          <a:latin typeface="+mn-lt"/>
          <a:ea typeface="+mn-ea"/>
          <a:cs typeface="+mn-cs"/>
        </a:defRPr>
      </a:lvl1pPr>
      <a:lvl2pPr marL="475604" algn="l" defTabSz="951209" rtl="0" eaLnBrk="1" latinLnBrk="0" hangingPunct="1">
        <a:defRPr sz="1836" kern="1200">
          <a:solidFill>
            <a:schemeClr val="tx1"/>
          </a:solidFill>
          <a:latin typeface="+mn-lt"/>
          <a:ea typeface="+mn-ea"/>
          <a:cs typeface="+mn-cs"/>
        </a:defRPr>
      </a:lvl2pPr>
      <a:lvl3pPr marL="951209" algn="l" defTabSz="951209" rtl="0" eaLnBrk="1" latinLnBrk="0" hangingPunct="1">
        <a:defRPr sz="1836" kern="1200">
          <a:solidFill>
            <a:schemeClr val="tx1"/>
          </a:solidFill>
          <a:latin typeface="+mn-lt"/>
          <a:ea typeface="+mn-ea"/>
          <a:cs typeface="+mn-cs"/>
        </a:defRPr>
      </a:lvl3pPr>
      <a:lvl4pPr marL="1426812" algn="l" defTabSz="951209" rtl="0" eaLnBrk="1" latinLnBrk="0" hangingPunct="1">
        <a:defRPr sz="1836" kern="1200">
          <a:solidFill>
            <a:schemeClr val="tx1"/>
          </a:solidFill>
          <a:latin typeface="+mn-lt"/>
          <a:ea typeface="+mn-ea"/>
          <a:cs typeface="+mn-cs"/>
        </a:defRPr>
      </a:lvl4pPr>
      <a:lvl5pPr marL="1902417" algn="l" defTabSz="951209" rtl="0" eaLnBrk="1" latinLnBrk="0" hangingPunct="1">
        <a:defRPr sz="1836" kern="1200">
          <a:solidFill>
            <a:schemeClr val="tx1"/>
          </a:solidFill>
          <a:latin typeface="+mn-lt"/>
          <a:ea typeface="+mn-ea"/>
          <a:cs typeface="+mn-cs"/>
        </a:defRPr>
      </a:lvl5pPr>
      <a:lvl6pPr marL="2378022" algn="l" defTabSz="951209" rtl="0" eaLnBrk="1" latinLnBrk="0" hangingPunct="1">
        <a:defRPr sz="1836" kern="1200">
          <a:solidFill>
            <a:schemeClr val="tx1"/>
          </a:solidFill>
          <a:latin typeface="+mn-lt"/>
          <a:ea typeface="+mn-ea"/>
          <a:cs typeface="+mn-cs"/>
        </a:defRPr>
      </a:lvl6pPr>
      <a:lvl7pPr marL="2853626" algn="l" defTabSz="951209" rtl="0" eaLnBrk="1" latinLnBrk="0" hangingPunct="1">
        <a:defRPr sz="1836" kern="1200">
          <a:solidFill>
            <a:schemeClr val="tx1"/>
          </a:solidFill>
          <a:latin typeface="+mn-lt"/>
          <a:ea typeface="+mn-ea"/>
          <a:cs typeface="+mn-cs"/>
        </a:defRPr>
      </a:lvl7pPr>
      <a:lvl8pPr marL="3329229" algn="l" defTabSz="951209" rtl="0" eaLnBrk="1" latinLnBrk="0" hangingPunct="1">
        <a:defRPr sz="1836" kern="1200">
          <a:solidFill>
            <a:schemeClr val="tx1"/>
          </a:solidFill>
          <a:latin typeface="+mn-lt"/>
          <a:ea typeface="+mn-ea"/>
          <a:cs typeface="+mn-cs"/>
        </a:defRPr>
      </a:lvl8pPr>
      <a:lvl9pPr marL="3804834" algn="l" defTabSz="95120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1"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3"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itsnotaboutthecell/powerquerym/blob/master/SplitTextByCharacterPosition.pq" TargetMode="External"/><Relationship Id="rId13" Type="http://schemas.openxmlformats.org/officeDocument/2006/relationships/hyperlink" Target="https://www.sqlbi.com/training/" TargetMode="External"/><Relationship Id="rId18" Type="http://schemas.openxmlformats.org/officeDocument/2006/relationships/hyperlink" Target="https://www.microsoft.com/store/workshops-training-and-events/professionals#topic=413870014" TargetMode="External"/><Relationship Id="rId3" Type="http://schemas.openxmlformats.org/officeDocument/2006/relationships/hyperlink" Target="https://aka.ms/pbiworkshops" TargetMode="External"/><Relationship Id="rId7" Type="http://schemas.openxmlformats.org/officeDocument/2006/relationships/hyperlink" Target="https://radacad.com/power-query-library-of-functions-shared-keyword" TargetMode="External"/><Relationship Id="rId12" Type="http://schemas.openxmlformats.org/officeDocument/2006/relationships/hyperlink" Target="https://www.microsoftpressstore.com/articles/article.aspx?p=2449192" TargetMode="External"/><Relationship Id="rId17" Type="http://schemas.openxmlformats.org/officeDocument/2006/relationships/hyperlink" Target="https://powerbi.microsoft.com/en-us/customer-showcase/" TargetMode="External"/><Relationship Id="rId2" Type="http://schemas.openxmlformats.org/officeDocument/2006/relationships/notesSlide" Target="../notesSlides/notesSlide1.xml"/><Relationship Id="rId16" Type="http://schemas.openxmlformats.org/officeDocument/2006/relationships/hyperlink" Target="https://ssbipolar.com/building-a-data-culture/" TargetMode="External"/><Relationship Id="rId1" Type="http://schemas.openxmlformats.org/officeDocument/2006/relationships/slideLayout" Target="../slideLayouts/slideLayout10.xml"/><Relationship Id="rId6" Type="http://schemas.openxmlformats.org/officeDocument/2006/relationships/hyperlink" Target="https://marketplace.visualstudio.com/items?itemName=PowerQuery.vscode-powerquery" TargetMode="External"/><Relationship Id="rId11" Type="http://schemas.openxmlformats.org/officeDocument/2006/relationships/hyperlink" Target="https://www.youtube.com/watch?v=s0j6d3UAw9U&amp;list=PLv2BtOtLblH3lwpQ5NBq6kD6fsVziO9sE" TargetMode="External"/><Relationship Id="rId5" Type="http://schemas.openxmlformats.org/officeDocument/2006/relationships/hyperlink" Target="https://docs.microsoft.com/en-us/power-query/installingsdk" TargetMode="External"/><Relationship Id="rId15" Type="http://schemas.openxmlformats.org/officeDocument/2006/relationships/hyperlink" Target="https://alluringbi.com/2020/05/05/themeable-backgrounds-for-power-bi/" TargetMode="External"/><Relationship Id="rId10" Type="http://schemas.openxmlformats.org/officeDocument/2006/relationships/hyperlink" Target="https://powerbi.tips/product/business-ops/" TargetMode="External"/><Relationship Id="rId19" Type="http://schemas.openxmlformats.org/officeDocument/2006/relationships/hyperlink" Target="https://aka.ms/pbiguidance" TargetMode="External"/><Relationship Id="rId4" Type="http://schemas.openxmlformats.org/officeDocument/2006/relationships/hyperlink" Target="https://docs.microsoft.com/power-bi/transform-model/dataflows/dataflows-premium-features" TargetMode="External"/><Relationship Id="rId9" Type="http://schemas.openxmlformats.org/officeDocument/2006/relationships/hyperlink" Target="https://github.com/itsnotaboutthecell/powerquerym/blob/master/SplitTextByDelimiter.pq" TargetMode="External"/><Relationship Id="rId14" Type="http://schemas.openxmlformats.org/officeDocument/2006/relationships/hyperlink" Target="https://docs.microsoft.com/users/heyrob/collections/o4dhk4z8xpr8q"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92.xml"/></Relationships>
</file>

<file path=ppt/slides/_rels/slide100.xml.rels><?xml version="1.0" encoding="UTF-8" standalone="yes"?>
<Relationships xmlns="http://schemas.openxmlformats.org/package/2006/relationships"><Relationship Id="rId26" Type="http://schemas.openxmlformats.org/officeDocument/2006/relationships/tags" Target="../tags/tag294.xml"/><Relationship Id="rId21" Type="http://schemas.openxmlformats.org/officeDocument/2006/relationships/tags" Target="../tags/tag289.xml"/><Relationship Id="rId42" Type="http://schemas.openxmlformats.org/officeDocument/2006/relationships/tags" Target="../tags/tag310.xml"/><Relationship Id="rId47" Type="http://schemas.openxmlformats.org/officeDocument/2006/relationships/tags" Target="../tags/tag315.xml"/><Relationship Id="rId63" Type="http://schemas.openxmlformats.org/officeDocument/2006/relationships/tags" Target="../tags/tag331.xml"/><Relationship Id="rId68" Type="http://schemas.openxmlformats.org/officeDocument/2006/relationships/tags" Target="../tags/tag336.xml"/><Relationship Id="rId84" Type="http://schemas.openxmlformats.org/officeDocument/2006/relationships/tags" Target="../tags/tag352.xml"/><Relationship Id="rId89" Type="http://schemas.openxmlformats.org/officeDocument/2006/relationships/tags" Target="../tags/tag357.xml"/><Relationship Id="rId16" Type="http://schemas.openxmlformats.org/officeDocument/2006/relationships/tags" Target="../tags/tag284.xml"/><Relationship Id="rId11" Type="http://schemas.openxmlformats.org/officeDocument/2006/relationships/tags" Target="../tags/tag279.xml"/><Relationship Id="rId32" Type="http://schemas.openxmlformats.org/officeDocument/2006/relationships/tags" Target="../tags/tag300.xml"/><Relationship Id="rId37" Type="http://schemas.openxmlformats.org/officeDocument/2006/relationships/tags" Target="../tags/tag305.xml"/><Relationship Id="rId53" Type="http://schemas.openxmlformats.org/officeDocument/2006/relationships/tags" Target="../tags/tag321.xml"/><Relationship Id="rId58" Type="http://schemas.openxmlformats.org/officeDocument/2006/relationships/tags" Target="../tags/tag326.xml"/><Relationship Id="rId74" Type="http://schemas.openxmlformats.org/officeDocument/2006/relationships/tags" Target="../tags/tag342.xml"/><Relationship Id="rId79" Type="http://schemas.openxmlformats.org/officeDocument/2006/relationships/tags" Target="../tags/tag347.xml"/><Relationship Id="rId5" Type="http://schemas.openxmlformats.org/officeDocument/2006/relationships/tags" Target="../tags/tag273.xml"/><Relationship Id="rId90" Type="http://schemas.openxmlformats.org/officeDocument/2006/relationships/tags" Target="../tags/tag358.xml"/><Relationship Id="rId95" Type="http://schemas.openxmlformats.org/officeDocument/2006/relationships/image" Target="../media/image84.wmf"/><Relationship Id="rId22" Type="http://schemas.openxmlformats.org/officeDocument/2006/relationships/tags" Target="../tags/tag290.xml"/><Relationship Id="rId27" Type="http://schemas.openxmlformats.org/officeDocument/2006/relationships/tags" Target="../tags/tag295.xml"/><Relationship Id="rId43" Type="http://schemas.openxmlformats.org/officeDocument/2006/relationships/tags" Target="../tags/tag311.xml"/><Relationship Id="rId48" Type="http://schemas.openxmlformats.org/officeDocument/2006/relationships/tags" Target="../tags/tag316.xml"/><Relationship Id="rId64" Type="http://schemas.openxmlformats.org/officeDocument/2006/relationships/tags" Target="../tags/tag332.xml"/><Relationship Id="rId69" Type="http://schemas.openxmlformats.org/officeDocument/2006/relationships/tags" Target="../tags/tag337.xml"/><Relationship Id="rId8" Type="http://schemas.openxmlformats.org/officeDocument/2006/relationships/tags" Target="../tags/tag276.xml"/><Relationship Id="rId51" Type="http://schemas.openxmlformats.org/officeDocument/2006/relationships/tags" Target="../tags/tag319.xml"/><Relationship Id="rId72" Type="http://schemas.openxmlformats.org/officeDocument/2006/relationships/tags" Target="../tags/tag340.xml"/><Relationship Id="rId80" Type="http://schemas.openxmlformats.org/officeDocument/2006/relationships/tags" Target="../tags/tag348.xml"/><Relationship Id="rId85" Type="http://schemas.openxmlformats.org/officeDocument/2006/relationships/tags" Target="../tags/tag353.xml"/><Relationship Id="rId93" Type="http://schemas.openxmlformats.org/officeDocument/2006/relationships/notesSlide" Target="../notesSlides/notesSlide56.xml"/><Relationship Id="rId3" Type="http://schemas.openxmlformats.org/officeDocument/2006/relationships/tags" Target="../tags/tag271.xml"/><Relationship Id="rId12" Type="http://schemas.openxmlformats.org/officeDocument/2006/relationships/tags" Target="../tags/tag280.xml"/><Relationship Id="rId17" Type="http://schemas.openxmlformats.org/officeDocument/2006/relationships/tags" Target="../tags/tag285.xml"/><Relationship Id="rId25" Type="http://schemas.openxmlformats.org/officeDocument/2006/relationships/tags" Target="../tags/tag293.xml"/><Relationship Id="rId33" Type="http://schemas.openxmlformats.org/officeDocument/2006/relationships/tags" Target="../tags/tag301.xml"/><Relationship Id="rId38" Type="http://schemas.openxmlformats.org/officeDocument/2006/relationships/tags" Target="../tags/tag306.xml"/><Relationship Id="rId46" Type="http://schemas.openxmlformats.org/officeDocument/2006/relationships/tags" Target="../tags/tag314.xml"/><Relationship Id="rId59" Type="http://schemas.openxmlformats.org/officeDocument/2006/relationships/tags" Target="../tags/tag327.xml"/><Relationship Id="rId67" Type="http://schemas.openxmlformats.org/officeDocument/2006/relationships/tags" Target="../tags/tag335.xml"/><Relationship Id="rId20" Type="http://schemas.openxmlformats.org/officeDocument/2006/relationships/tags" Target="../tags/tag288.xml"/><Relationship Id="rId41" Type="http://schemas.openxmlformats.org/officeDocument/2006/relationships/tags" Target="../tags/tag309.xml"/><Relationship Id="rId54" Type="http://schemas.openxmlformats.org/officeDocument/2006/relationships/tags" Target="../tags/tag322.xml"/><Relationship Id="rId62" Type="http://schemas.openxmlformats.org/officeDocument/2006/relationships/tags" Target="../tags/tag330.xml"/><Relationship Id="rId70" Type="http://schemas.openxmlformats.org/officeDocument/2006/relationships/tags" Target="../tags/tag338.xml"/><Relationship Id="rId75" Type="http://schemas.openxmlformats.org/officeDocument/2006/relationships/tags" Target="../tags/tag343.xml"/><Relationship Id="rId83" Type="http://schemas.openxmlformats.org/officeDocument/2006/relationships/tags" Target="../tags/tag351.xml"/><Relationship Id="rId88" Type="http://schemas.openxmlformats.org/officeDocument/2006/relationships/tags" Target="../tags/tag356.xml"/><Relationship Id="rId91" Type="http://schemas.openxmlformats.org/officeDocument/2006/relationships/tags" Target="../tags/tag359.xml"/><Relationship Id="rId1" Type="http://schemas.openxmlformats.org/officeDocument/2006/relationships/tags" Target="../tags/tag269.xml"/><Relationship Id="rId6" Type="http://schemas.openxmlformats.org/officeDocument/2006/relationships/tags" Target="../tags/tag274.xml"/><Relationship Id="rId15" Type="http://schemas.openxmlformats.org/officeDocument/2006/relationships/tags" Target="../tags/tag283.xml"/><Relationship Id="rId23" Type="http://schemas.openxmlformats.org/officeDocument/2006/relationships/tags" Target="../tags/tag291.xml"/><Relationship Id="rId28" Type="http://schemas.openxmlformats.org/officeDocument/2006/relationships/tags" Target="../tags/tag296.xml"/><Relationship Id="rId36" Type="http://schemas.openxmlformats.org/officeDocument/2006/relationships/tags" Target="../tags/tag304.xml"/><Relationship Id="rId49" Type="http://schemas.openxmlformats.org/officeDocument/2006/relationships/tags" Target="../tags/tag317.xml"/><Relationship Id="rId57" Type="http://schemas.openxmlformats.org/officeDocument/2006/relationships/tags" Target="../tags/tag325.xml"/><Relationship Id="rId10" Type="http://schemas.openxmlformats.org/officeDocument/2006/relationships/tags" Target="../tags/tag278.xml"/><Relationship Id="rId31" Type="http://schemas.openxmlformats.org/officeDocument/2006/relationships/tags" Target="../tags/tag299.xml"/><Relationship Id="rId44" Type="http://schemas.openxmlformats.org/officeDocument/2006/relationships/tags" Target="../tags/tag312.xml"/><Relationship Id="rId52" Type="http://schemas.openxmlformats.org/officeDocument/2006/relationships/tags" Target="../tags/tag320.xml"/><Relationship Id="rId60" Type="http://schemas.openxmlformats.org/officeDocument/2006/relationships/tags" Target="../tags/tag328.xml"/><Relationship Id="rId65" Type="http://schemas.openxmlformats.org/officeDocument/2006/relationships/tags" Target="../tags/tag333.xml"/><Relationship Id="rId73" Type="http://schemas.openxmlformats.org/officeDocument/2006/relationships/tags" Target="../tags/tag341.xml"/><Relationship Id="rId78" Type="http://schemas.openxmlformats.org/officeDocument/2006/relationships/tags" Target="../tags/tag346.xml"/><Relationship Id="rId81" Type="http://schemas.openxmlformats.org/officeDocument/2006/relationships/tags" Target="../tags/tag349.xml"/><Relationship Id="rId86" Type="http://schemas.openxmlformats.org/officeDocument/2006/relationships/tags" Target="../tags/tag354.xml"/><Relationship Id="rId94" Type="http://schemas.openxmlformats.org/officeDocument/2006/relationships/oleObject" Target="../embeddings/oleObject3.bin"/><Relationship Id="rId4" Type="http://schemas.openxmlformats.org/officeDocument/2006/relationships/tags" Target="../tags/tag272.xml"/><Relationship Id="rId9" Type="http://schemas.openxmlformats.org/officeDocument/2006/relationships/tags" Target="../tags/tag277.xml"/><Relationship Id="rId13" Type="http://schemas.openxmlformats.org/officeDocument/2006/relationships/tags" Target="../tags/tag281.xml"/><Relationship Id="rId18" Type="http://schemas.openxmlformats.org/officeDocument/2006/relationships/tags" Target="../tags/tag286.xml"/><Relationship Id="rId39" Type="http://schemas.openxmlformats.org/officeDocument/2006/relationships/tags" Target="../tags/tag307.xml"/><Relationship Id="rId34" Type="http://schemas.openxmlformats.org/officeDocument/2006/relationships/tags" Target="../tags/tag302.xml"/><Relationship Id="rId50" Type="http://schemas.openxmlformats.org/officeDocument/2006/relationships/tags" Target="../tags/tag318.xml"/><Relationship Id="rId55" Type="http://schemas.openxmlformats.org/officeDocument/2006/relationships/tags" Target="../tags/tag323.xml"/><Relationship Id="rId76" Type="http://schemas.openxmlformats.org/officeDocument/2006/relationships/tags" Target="../tags/tag344.xml"/><Relationship Id="rId7" Type="http://schemas.openxmlformats.org/officeDocument/2006/relationships/tags" Target="../tags/tag275.xml"/><Relationship Id="rId71" Type="http://schemas.openxmlformats.org/officeDocument/2006/relationships/tags" Target="../tags/tag339.xml"/><Relationship Id="rId92" Type="http://schemas.openxmlformats.org/officeDocument/2006/relationships/slideLayout" Target="../slideLayouts/slideLayout9.xml"/><Relationship Id="rId2" Type="http://schemas.openxmlformats.org/officeDocument/2006/relationships/tags" Target="../tags/tag270.xml"/><Relationship Id="rId29" Type="http://schemas.openxmlformats.org/officeDocument/2006/relationships/tags" Target="../tags/tag297.xml"/><Relationship Id="rId24" Type="http://schemas.openxmlformats.org/officeDocument/2006/relationships/tags" Target="../tags/tag292.xml"/><Relationship Id="rId40" Type="http://schemas.openxmlformats.org/officeDocument/2006/relationships/tags" Target="../tags/tag308.xml"/><Relationship Id="rId45" Type="http://schemas.openxmlformats.org/officeDocument/2006/relationships/tags" Target="../tags/tag313.xml"/><Relationship Id="rId66" Type="http://schemas.openxmlformats.org/officeDocument/2006/relationships/tags" Target="../tags/tag334.xml"/><Relationship Id="rId87" Type="http://schemas.openxmlformats.org/officeDocument/2006/relationships/tags" Target="../tags/tag355.xml"/><Relationship Id="rId61" Type="http://schemas.openxmlformats.org/officeDocument/2006/relationships/tags" Target="../tags/tag329.xml"/><Relationship Id="rId82" Type="http://schemas.openxmlformats.org/officeDocument/2006/relationships/tags" Target="../tags/tag350.xml"/><Relationship Id="rId19" Type="http://schemas.openxmlformats.org/officeDocument/2006/relationships/tags" Target="../tags/tag287.xml"/><Relationship Id="rId14" Type="http://schemas.openxmlformats.org/officeDocument/2006/relationships/tags" Target="../tags/tag282.xml"/><Relationship Id="rId30" Type="http://schemas.openxmlformats.org/officeDocument/2006/relationships/tags" Target="../tags/tag298.xml"/><Relationship Id="rId35" Type="http://schemas.openxmlformats.org/officeDocument/2006/relationships/tags" Target="../tags/tag303.xml"/><Relationship Id="rId56" Type="http://schemas.openxmlformats.org/officeDocument/2006/relationships/tags" Target="../tags/tag324.xml"/><Relationship Id="rId77" Type="http://schemas.openxmlformats.org/officeDocument/2006/relationships/tags" Target="../tags/tag345.xml"/></Relationships>
</file>

<file path=ppt/slides/_rels/slide101.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image" Target="../media/image167.png"/><Relationship Id="rId1" Type="http://schemas.openxmlformats.org/officeDocument/2006/relationships/slideLayout" Target="../slideLayouts/slideLayout5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3.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57.xml"/><Relationship Id="rId1" Type="http://schemas.openxmlformats.org/officeDocument/2006/relationships/slideLayout" Target="../slideLayouts/slideLayout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70.png"/></Relationships>
</file>

<file path=ppt/slides/_rels/slide10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8.xml"/><Relationship Id="rId1" Type="http://schemas.openxmlformats.org/officeDocument/2006/relationships/slideLayout" Target="../slideLayouts/slideLayout9.xml"/><Relationship Id="rId6" Type="http://schemas.openxmlformats.org/officeDocument/2006/relationships/image" Target="../media/image174.svg"/><Relationship Id="rId5" Type="http://schemas.openxmlformats.org/officeDocument/2006/relationships/image" Target="../media/image173.png"/><Relationship Id="rId4" Type="http://schemas.openxmlformats.org/officeDocument/2006/relationships/image" Target="../media/image172.png"/></Relationships>
</file>

<file path=ppt/slides/_rels/slide105.xml.rels><?xml version="1.0" encoding="UTF-8" standalone="yes"?>
<Relationships xmlns="http://schemas.openxmlformats.org/package/2006/relationships"><Relationship Id="rId3" Type="http://schemas.openxmlformats.org/officeDocument/2006/relationships/image" Target="../media/image175.gif"/><Relationship Id="rId2" Type="http://schemas.openxmlformats.org/officeDocument/2006/relationships/notesSlide" Target="../notesSlides/notesSlide59.xml"/><Relationship Id="rId1" Type="http://schemas.openxmlformats.org/officeDocument/2006/relationships/slideLayout" Target="../slideLayouts/slideLayout9.xml"/><Relationship Id="rId4" Type="http://schemas.openxmlformats.org/officeDocument/2006/relationships/image" Target="../media/image176.png"/></Relationships>
</file>

<file path=ppt/slides/_rels/slide10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60.xml"/><Relationship Id="rId1" Type="http://schemas.openxmlformats.org/officeDocument/2006/relationships/slideLayout" Target="../slideLayouts/slideLayout9.xml"/><Relationship Id="rId4" Type="http://schemas.openxmlformats.org/officeDocument/2006/relationships/image" Target="../media/image177.png"/></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8.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92.xml"/></Relationships>
</file>

<file path=ppt/slides/_rels/slide110.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2" Type="http://schemas.openxmlformats.org/officeDocument/2006/relationships/image" Target="../media/image182.jpeg"/><Relationship Id="rId1" Type="http://schemas.openxmlformats.org/officeDocument/2006/relationships/slideLayout" Target="../slideLayouts/slideLayout28.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14.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28.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6.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8.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28.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89.svg"/><Relationship Id="rId3" Type="http://schemas.openxmlformats.org/officeDocument/2006/relationships/image" Target="../media/image81.png"/><Relationship Id="rId7" Type="http://schemas.openxmlformats.org/officeDocument/2006/relationships/image" Target="../media/image84.wmf"/><Relationship Id="rId12" Type="http://schemas.openxmlformats.org/officeDocument/2006/relationships/image" Target="../media/image88.png"/><Relationship Id="rId2" Type="http://schemas.openxmlformats.org/officeDocument/2006/relationships/notesSlide" Target="../notesSlides/notesSlide9.xml"/><Relationship Id="rId1" Type="http://schemas.openxmlformats.org/officeDocument/2006/relationships/slideLayout" Target="../slideLayouts/slideLayout76.xml"/><Relationship Id="rId6" Type="http://schemas.openxmlformats.org/officeDocument/2006/relationships/oleObject" Target="../embeddings/oleObject1.bin"/><Relationship Id="rId11" Type="http://schemas.openxmlformats.org/officeDocument/2006/relationships/image" Target="../media/image87.png"/><Relationship Id="rId5" Type="http://schemas.openxmlformats.org/officeDocument/2006/relationships/image" Target="../media/image83.png"/><Relationship Id="rId15" Type="http://schemas.openxmlformats.org/officeDocument/2006/relationships/image" Target="../media/image91.svg"/><Relationship Id="rId10" Type="http://schemas.openxmlformats.org/officeDocument/2006/relationships/image" Target="../media/image86.png"/><Relationship Id="rId4" Type="http://schemas.openxmlformats.org/officeDocument/2006/relationships/image" Target="../media/image82.jpeg"/><Relationship Id="rId9" Type="http://schemas.openxmlformats.org/officeDocument/2006/relationships/image" Target="../media/image85.png"/><Relationship Id="rId14" Type="http://schemas.openxmlformats.org/officeDocument/2006/relationships/image" Target="../media/image90.pn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3.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28.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0.xml"/></Relationships>
</file>

<file path=ppt/slides/_rels/slide126.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27.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28.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75.xml"/></Relationships>
</file>

<file path=ppt/slides/_rels/slide129.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84.w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notesSlide" Target="../notesSlides/notesSlide10.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slideLayout" Target="../slideLayouts/slideLayout9.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s>
</file>

<file path=ppt/slides/_rels/slide130.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75.xml"/></Relationships>
</file>

<file path=ppt/slides/_rels/slide131.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7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35.xml.rels><?xml version="1.0" encoding="UTF-8" standalone="yes"?>
<Relationships xmlns="http://schemas.openxmlformats.org/package/2006/relationships"><Relationship Id="rId2" Type="http://schemas.openxmlformats.org/officeDocument/2006/relationships/image" Target="../media/image191.gif"/><Relationship Id="rId1" Type="http://schemas.openxmlformats.org/officeDocument/2006/relationships/slideLayout" Target="../slideLayouts/slideLayout75.xml"/></Relationships>
</file>

<file path=ppt/slides/_rels/slide136.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75.xml"/></Relationships>
</file>

<file path=ppt/slides/_rels/slide137.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75.xml"/></Relationships>
</file>

<file path=ppt/slides/_rels/slide138.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75.xml"/></Relationships>
</file>

<file path=ppt/slides/_rels/slide139.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40.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75.xml"/></Relationships>
</file>

<file path=ppt/slides/_rels/slide141.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75.xml"/></Relationships>
</file>

<file path=ppt/slides/_rels/slide142.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75.xml"/></Relationships>
</file>

<file path=ppt/slides/_rels/slide143.xml.rels><?xml version="1.0" encoding="UTF-8" standalone="yes"?>
<Relationships xmlns="http://schemas.openxmlformats.org/package/2006/relationships"><Relationship Id="rId3" Type="http://schemas.openxmlformats.org/officeDocument/2006/relationships/hyperlink" Target="https://powerbi.microsoft.com/en-us/blog/create-stunning-mobile-optimized-power-bi-reports-with-mobile-layouts-new-visual-formatting-pane-preview/" TargetMode="External"/><Relationship Id="rId2" Type="http://schemas.openxmlformats.org/officeDocument/2006/relationships/image" Target="../media/image199.png"/><Relationship Id="rId1" Type="http://schemas.openxmlformats.org/officeDocument/2006/relationships/slideLayout" Target="../slideLayouts/slideLayout75.xml"/><Relationship Id="rId4" Type="http://schemas.openxmlformats.org/officeDocument/2006/relationships/image" Target="../media/image200.png"/></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5.xml"/></Relationships>
</file>

<file path=ppt/slides/_rels/slide145.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63.xml"/><Relationship Id="rId1" Type="http://schemas.openxmlformats.org/officeDocument/2006/relationships/slideLayout" Target="../slideLayouts/slideLayout75.xml"/></Relationships>
</file>

<file path=ppt/slides/_rels/slide146.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64.xml"/><Relationship Id="rId1" Type="http://schemas.openxmlformats.org/officeDocument/2006/relationships/slideLayout" Target="../slideLayouts/slideLayout75.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48.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65.xml"/><Relationship Id="rId1" Type="http://schemas.openxmlformats.org/officeDocument/2006/relationships/slideLayout" Target="../slideLayouts/slideLayout53.xml"/></Relationships>
</file>

<file path=ppt/slides/_rels/slide149.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66.xml"/><Relationship Id="rId1" Type="http://schemas.openxmlformats.org/officeDocument/2006/relationships/slideLayout" Target="../slideLayouts/slideLayout79.xml"/><Relationship Id="rId4" Type="http://schemas.openxmlformats.org/officeDocument/2006/relationships/image" Target="../media/image20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80.xml"/><Relationship Id="rId1" Type="http://schemas.openxmlformats.org/officeDocument/2006/relationships/video" Target="https://www.youtube.com/embed/DsWyGKgLPiI?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5.jpeg"/></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80.xml"/><Relationship Id="rId1" Type="http://schemas.openxmlformats.org/officeDocument/2006/relationships/video" Target="https://www.youtube.com/embed/whMaMc-xq-g?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6.jpeg"/></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80.xml"/><Relationship Id="rId1" Type="http://schemas.openxmlformats.org/officeDocument/2006/relationships/video" Target="https://www.youtube.com/embed/EmZORTeNN4s?feature=oembed" TargetMode="Externa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7.jpeg"/></Relationships>
</file>

<file path=ppt/slides/_rels/slide153.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70.xml"/><Relationship Id="rId1" Type="http://schemas.openxmlformats.org/officeDocument/2006/relationships/slideLayout" Target="../slideLayouts/slideLayout79.xml"/><Relationship Id="rId4" Type="http://schemas.openxmlformats.org/officeDocument/2006/relationships/image" Target="../media/image204.png"/></Relationships>
</file>

<file path=ppt/slides/_rels/slide1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1.xml"/><Relationship Id="rId1" Type="http://schemas.openxmlformats.org/officeDocument/2006/relationships/slideLayout" Target="../slideLayouts/slideLayout54.xml"/><Relationship Id="rId4" Type="http://schemas.openxmlformats.org/officeDocument/2006/relationships/image" Target="../media/image16.svg"/></Relationships>
</file>

<file path=ppt/slides/_rels/slide155.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72.xml"/><Relationship Id="rId1" Type="http://schemas.openxmlformats.org/officeDocument/2006/relationships/slideLayout" Target="../slideLayouts/slideLayout53.xml"/></Relationships>
</file>

<file path=ppt/slides/_rels/slide156.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73.xml"/><Relationship Id="rId1" Type="http://schemas.openxmlformats.org/officeDocument/2006/relationships/slideLayout" Target="../slideLayouts/slideLayout53.xml"/></Relationships>
</file>

<file path=ppt/slides/_rels/slide1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4.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5.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6.xml"/><Relationship Id="rId1" Type="http://schemas.openxmlformats.org/officeDocument/2006/relationships/slideLayout" Target="../slideLayouts/slideLayout45.xml"/><Relationship Id="rId4" Type="http://schemas.openxmlformats.org/officeDocument/2006/relationships/image" Target="../media/image16.svg"/></Relationships>
</file>

<file path=ppt/slides/_rels/slide16.xml.rels><?xml version="1.0" encoding="UTF-8" standalone="yes"?>
<Relationships xmlns="http://schemas.openxmlformats.org/package/2006/relationships"><Relationship Id="rId26" Type="http://schemas.openxmlformats.org/officeDocument/2006/relationships/tags" Target="../tags/tag117.xml"/><Relationship Id="rId21" Type="http://schemas.openxmlformats.org/officeDocument/2006/relationships/tags" Target="../tags/tag112.xml"/><Relationship Id="rId42" Type="http://schemas.openxmlformats.org/officeDocument/2006/relationships/tags" Target="../tags/tag133.xml"/><Relationship Id="rId47" Type="http://schemas.openxmlformats.org/officeDocument/2006/relationships/tags" Target="../tags/tag138.xml"/><Relationship Id="rId63" Type="http://schemas.openxmlformats.org/officeDocument/2006/relationships/tags" Target="../tags/tag154.xml"/><Relationship Id="rId68" Type="http://schemas.openxmlformats.org/officeDocument/2006/relationships/tags" Target="../tags/tag159.xml"/><Relationship Id="rId84" Type="http://schemas.openxmlformats.org/officeDocument/2006/relationships/tags" Target="../tags/tag175.xml"/><Relationship Id="rId89" Type="http://schemas.openxmlformats.org/officeDocument/2006/relationships/notesSlide" Target="../notesSlides/notesSlide12.xml"/><Relationship Id="rId16" Type="http://schemas.openxmlformats.org/officeDocument/2006/relationships/tags" Target="../tags/tag107.xml"/><Relationship Id="rId11" Type="http://schemas.openxmlformats.org/officeDocument/2006/relationships/tags" Target="../tags/tag102.xml"/><Relationship Id="rId32" Type="http://schemas.openxmlformats.org/officeDocument/2006/relationships/tags" Target="../tags/tag123.xml"/><Relationship Id="rId37" Type="http://schemas.openxmlformats.org/officeDocument/2006/relationships/tags" Target="../tags/tag128.xml"/><Relationship Id="rId53" Type="http://schemas.openxmlformats.org/officeDocument/2006/relationships/tags" Target="../tags/tag144.xml"/><Relationship Id="rId58" Type="http://schemas.openxmlformats.org/officeDocument/2006/relationships/tags" Target="../tags/tag149.xml"/><Relationship Id="rId74" Type="http://schemas.openxmlformats.org/officeDocument/2006/relationships/tags" Target="../tags/tag165.xml"/><Relationship Id="rId79" Type="http://schemas.openxmlformats.org/officeDocument/2006/relationships/tags" Target="../tags/tag170.xml"/><Relationship Id="rId5" Type="http://schemas.openxmlformats.org/officeDocument/2006/relationships/tags" Target="../tags/tag96.xml"/><Relationship Id="rId90" Type="http://schemas.openxmlformats.org/officeDocument/2006/relationships/oleObject" Target="../embeddings/oleObject4.bin"/><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43" Type="http://schemas.openxmlformats.org/officeDocument/2006/relationships/tags" Target="../tags/tag134.xml"/><Relationship Id="rId48" Type="http://schemas.openxmlformats.org/officeDocument/2006/relationships/tags" Target="../tags/tag139.xml"/><Relationship Id="rId56" Type="http://schemas.openxmlformats.org/officeDocument/2006/relationships/tags" Target="../tags/tag147.xml"/><Relationship Id="rId64" Type="http://schemas.openxmlformats.org/officeDocument/2006/relationships/tags" Target="../tags/tag155.xml"/><Relationship Id="rId69" Type="http://schemas.openxmlformats.org/officeDocument/2006/relationships/tags" Target="../tags/tag160.xml"/><Relationship Id="rId77" Type="http://schemas.openxmlformats.org/officeDocument/2006/relationships/tags" Target="../tags/tag168.xml"/><Relationship Id="rId8" Type="http://schemas.openxmlformats.org/officeDocument/2006/relationships/tags" Target="../tags/tag99.xml"/><Relationship Id="rId51" Type="http://schemas.openxmlformats.org/officeDocument/2006/relationships/tags" Target="../tags/tag142.xml"/><Relationship Id="rId72" Type="http://schemas.openxmlformats.org/officeDocument/2006/relationships/tags" Target="../tags/tag163.xml"/><Relationship Id="rId80" Type="http://schemas.openxmlformats.org/officeDocument/2006/relationships/tags" Target="../tags/tag171.xml"/><Relationship Id="rId85" Type="http://schemas.openxmlformats.org/officeDocument/2006/relationships/tags" Target="../tags/tag176.xml"/><Relationship Id="rId3" Type="http://schemas.openxmlformats.org/officeDocument/2006/relationships/tags" Target="../tags/tag94.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46" Type="http://schemas.openxmlformats.org/officeDocument/2006/relationships/tags" Target="../tags/tag137.xml"/><Relationship Id="rId59" Type="http://schemas.openxmlformats.org/officeDocument/2006/relationships/tags" Target="../tags/tag150.xml"/><Relationship Id="rId67" Type="http://schemas.openxmlformats.org/officeDocument/2006/relationships/tags" Target="../tags/tag158.xml"/><Relationship Id="rId20" Type="http://schemas.openxmlformats.org/officeDocument/2006/relationships/tags" Target="../tags/tag111.xml"/><Relationship Id="rId41" Type="http://schemas.openxmlformats.org/officeDocument/2006/relationships/tags" Target="../tags/tag132.xml"/><Relationship Id="rId54" Type="http://schemas.openxmlformats.org/officeDocument/2006/relationships/tags" Target="../tags/tag145.xml"/><Relationship Id="rId62" Type="http://schemas.openxmlformats.org/officeDocument/2006/relationships/tags" Target="../tags/tag153.xml"/><Relationship Id="rId70" Type="http://schemas.openxmlformats.org/officeDocument/2006/relationships/tags" Target="../tags/tag161.xml"/><Relationship Id="rId75" Type="http://schemas.openxmlformats.org/officeDocument/2006/relationships/tags" Target="../tags/tag166.xml"/><Relationship Id="rId83" Type="http://schemas.openxmlformats.org/officeDocument/2006/relationships/tags" Target="../tags/tag174.xml"/><Relationship Id="rId88" Type="http://schemas.openxmlformats.org/officeDocument/2006/relationships/slideLayout" Target="../slideLayouts/slideLayout9.xml"/><Relationship Id="rId91" Type="http://schemas.openxmlformats.org/officeDocument/2006/relationships/image" Target="../media/image84.wmf"/><Relationship Id="rId1" Type="http://schemas.openxmlformats.org/officeDocument/2006/relationships/tags" Target="../tags/tag92.xml"/><Relationship Id="rId6" Type="http://schemas.openxmlformats.org/officeDocument/2006/relationships/tags" Target="../tags/tag97.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49" Type="http://schemas.openxmlformats.org/officeDocument/2006/relationships/tags" Target="../tags/tag140.xml"/><Relationship Id="rId57" Type="http://schemas.openxmlformats.org/officeDocument/2006/relationships/tags" Target="../tags/tag148.xml"/><Relationship Id="rId10" Type="http://schemas.openxmlformats.org/officeDocument/2006/relationships/tags" Target="../tags/tag101.xml"/><Relationship Id="rId31" Type="http://schemas.openxmlformats.org/officeDocument/2006/relationships/tags" Target="../tags/tag122.xml"/><Relationship Id="rId44" Type="http://schemas.openxmlformats.org/officeDocument/2006/relationships/tags" Target="../tags/tag135.xml"/><Relationship Id="rId52" Type="http://schemas.openxmlformats.org/officeDocument/2006/relationships/tags" Target="../tags/tag143.xml"/><Relationship Id="rId60" Type="http://schemas.openxmlformats.org/officeDocument/2006/relationships/tags" Target="../tags/tag151.xml"/><Relationship Id="rId65" Type="http://schemas.openxmlformats.org/officeDocument/2006/relationships/tags" Target="../tags/tag156.xml"/><Relationship Id="rId73" Type="http://schemas.openxmlformats.org/officeDocument/2006/relationships/tags" Target="../tags/tag164.xml"/><Relationship Id="rId78" Type="http://schemas.openxmlformats.org/officeDocument/2006/relationships/tags" Target="../tags/tag169.xml"/><Relationship Id="rId81" Type="http://schemas.openxmlformats.org/officeDocument/2006/relationships/tags" Target="../tags/tag172.xml"/><Relationship Id="rId86" Type="http://schemas.openxmlformats.org/officeDocument/2006/relationships/tags" Target="../tags/tag177.xml"/><Relationship Id="rId4" Type="http://schemas.openxmlformats.org/officeDocument/2006/relationships/tags" Target="../tags/tag95.xml"/><Relationship Id="rId9" Type="http://schemas.openxmlformats.org/officeDocument/2006/relationships/tags" Target="../tags/tag100.xml"/><Relationship Id="rId13" Type="http://schemas.openxmlformats.org/officeDocument/2006/relationships/tags" Target="../tags/tag104.xml"/><Relationship Id="rId18" Type="http://schemas.openxmlformats.org/officeDocument/2006/relationships/tags" Target="../tags/tag109.xml"/><Relationship Id="rId39" Type="http://schemas.openxmlformats.org/officeDocument/2006/relationships/tags" Target="../tags/tag130.xml"/><Relationship Id="rId34" Type="http://schemas.openxmlformats.org/officeDocument/2006/relationships/tags" Target="../tags/tag125.xml"/><Relationship Id="rId50" Type="http://schemas.openxmlformats.org/officeDocument/2006/relationships/tags" Target="../tags/tag141.xml"/><Relationship Id="rId55" Type="http://schemas.openxmlformats.org/officeDocument/2006/relationships/tags" Target="../tags/tag146.xml"/><Relationship Id="rId76" Type="http://schemas.openxmlformats.org/officeDocument/2006/relationships/tags" Target="../tags/tag167.xml"/><Relationship Id="rId7" Type="http://schemas.openxmlformats.org/officeDocument/2006/relationships/tags" Target="../tags/tag98.xml"/><Relationship Id="rId71" Type="http://schemas.openxmlformats.org/officeDocument/2006/relationships/tags" Target="../tags/tag162.xml"/><Relationship Id="rId2" Type="http://schemas.openxmlformats.org/officeDocument/2006/relationships/tags" Target="../tags/tag93.xml"/><Relationship Id="rId29" Type="http://schemas.openxmlformats.org/officeDocument/2006/relationships/tags" Target="../tags/tag120.xml"/><Relationship Id="rId24" Type="http://schemas.openxmlformats.org/officeDocument/2006/relationships/tags" Target="../tags/tag115.xml"/><Relationship Id="rId40" Type="http://schemas.openxmlformats.org/officeDocument/2006/relationships/tags" Target="../tags/tag131.xml"/><Relationship Id="rId45" Type="http://schemas.openxmlformats.org/officeDocument/2006/relationships/tags" Target="../tags/tag136.xml"/><Relationship Id="rId66" Type="http://schemas.openxmlformats.org/officeDocument/2006/relationships/tags" Target="../tags/tag157.xml"/><Relationship Id="rId87" Type="http://schemas.openxmlformats.org/officeDocument/2006/relationships/tags" Target="../tags/tag178.xml"/><Relationship Id="rId61" Type="http://schemas.openxmlformats.org/officeDocument/2006/relationships/tags" Target="../tags/tag152.xml"/><Relationship Id="rId82" Type="http://schemas.openxmlformats.org/officeDocument/2006/relationships/tags" Target="../tags/tag173.xml"/><Relationship Id="rId19" Type="http://schemas.openxmlformats.org/officeDocument/2006/relationships/tags" Target="../tags/tag110.xml"/></Relationships>
</file>

<file path=ppt/slides/_rels/slide160.xml.rels><?xml version="1.0" encoding="UTF-8" standalone="yes"?>
<Relationships xmlns="http://schemas.openxmlformats.org/package/2006/relationships"><Relationship Id="rId3" Type="http://schemas.openxmlformats.org/officeDocument/2006/relationships/image" Target="../media/image208.emf"/><Relationship Id="rId2" Type="http://schemas.openxmlformats.org/officeDocument/2006/relationships/notesSlide" Target="../notesSlides/notesSlide77.xml"/><Relationship Id="rId1" Type="http://schemas.openxmlformats.org/officeDocument/2006/relationships/slideLayout" Target="../slideLayouts/slideLayout74.xml"/><Relationship Id="rId5" Type="http://schemas.openxmlformats.org/officeDocument/2006/relationships/image" Target="../media/image16.svg"/><Relationship Id="rId4" Type="http://schemas.openxmlformats.org/officeDocument/2006/relationships/image" Target="../media/image15.png"/></Relationships>
</file>

<file path=ppt/slides/_rels/slide161.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16.sv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15.png"/><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62.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image" Target="../media/image16.svg"/><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15.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63.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78.xml"/><Relationship Id="rId1" Type="http://schemas.openxmlformats.org/officeDocument/2006/relationships/slideLayout" Target="../slideLayouts/slideLayout53.xml"/></Relationships>
</file>

<file path=ppt/slides/_rels/slide164.xml.rels><?xml version="1.0" encoding="UTF-8" standalone="yes"?>
<Relationships xmlns="http://schemas.openxmlformats.org/package/2006/relationships"><Relationship Id="rId3" Type="http://schemas.openxmlformats.org/officeDocument/2006/relationships/image" Target="../media/image210.jpeg"/><Relationship Id="rId2" Type="http://schemas.openxmlformats.org/officeDocument/2006/relationships/image" Target="../media/image209.jpeg"/><Relationship Id="rId1" Type="http://schemas.openxmlformats.org/officeDocument/2006/relationships/slideLayout" Target="../slideLayouts/slideLayout57.xml"/></Relationships>
</file>

<file path=ppt/slides/_rels/slide165.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57.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67.xml.rels><?xml version="1.0" encoding="UTF-8" standalone="yes"?>
<Relationships xmlns="http://schemas.openxmlformats.org/package/2006/relationships"><Relationship Id="rId2" Type="http://schemas.openxmlformats.org/officeDocument/2006/relationships/image" Target="../media/image213.jpeg"/><Relationship Id="rId1" Type="http://schemas.openxmlformats.org/officeDocument/2006/relationships/slideLayout" Target="../slideLayouts/slideLayout55.xml"/></Relationships>
</file>

<file path=ppt/slides/_rels/slide168.xml.rels><?xml version="1.0" encoding="UTF-8" standalone="yes"?>
<Relationships xmlns="http://schemas.openxmlformats.org/package/2006/relationships"><Relationship Id="rId3" Type="http://schemas.openxmlformats.org/officeDocument/2006/relationships/hyperlink" Target="https://aka.ms/PowerBIAdpotionRoadmap" TargetMode="External"/><Relationship Id="rId7" Type="http://schemas.openxmlformats.org/officeDocument/2006/relationships/hyperlink" Target="https://customers.microsoft.com/en-us/story/857107-nestle-consumer-goods-azure-power-bi" TargetMode="External"/><Relationship Id="rId2" Type="http://schemas.openxmlformats.org/officeDocument/2006/relationships/notesSlide" Target="../notesSlides/notesSlide79.xml"/><Relationship Id="rId1" Type="http://schemas.openxmlformats.org/officeDocument/2006/relationships/slideLayout" Target="../slideLayouts/slideLayout57.xml"/><Relationship Id="rId6" Type="http://schemas.openxmlformats.org/officeDocument/2006/relationships/hyperlink" Target="https://ssbipolar.com/building-a-data-culture/" TargetMode="External"/><Relationship Id="rId5" Type="http://schemas.openxmlformats.org/officeDocument/2006/relationships/hyperlink" Target="https://docs.microsoft.com/en-us/power-bi/guidance/" TargetMode="External"/><Relationship Id="rId4" Type="http://schemas.openxmlformats.org/officeDocument/2006/relationships/hyperlink" Target="https://aka.ms/PowerBIImplementationPlanning" TargetMode="External"/></Relationships>
</file>

<file path=ppt/slides/_rels/slide169.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80.xml"/><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00.png"/><Relationship Id="rId18" Type="http://schemas.openxmlformats.org/officeDocument/2006/relationships/image" Target="../media/image105.svg"/><Relationship Id="rId3" Type="http://schemas.openxmlformats.org/officeDocument/2006/relationships/image" Target="../media/image92.png"/><Relationship Id="rId21" Type="http://schemas.openxmlformats.org/officeDocument/2006/relationships/image" Target="../media/image108.png"/><Relationship Id="rId7" Type="http://schemas.openxmlformats.org/officeDocument/2006/relationships/image" Target="../media/image96.png"/><Relationship Id="rId12" Type="http://schemas.openxmlformats.org/officeDocument/2006/relationships/image" Target="../media/image99.svg"/><Relationship Id="rId17" Type="http://schemas.openxmlformats.org/officeDocument/2006/relationships/image" Target="../media/image104.png"/><Relationship Id="rId2" Type="http://schemas.openxmlformats.org/officeDocument/2006/relationships/notesSlide" Target="../notesSlides/notesSlide13.xml"/><Relationship Id="rId16" Type="http://schemas.openxmlformats.org/officeDocument/2006/relationships/image" Target="../media/image103.svg"/><Relationship Id="rId20" Type="http://schemas.openxmlformats.org/officeDocument/2006/relationships/image" Target="../media/image107.svg"/><Relationship Id="rId1" Type="http://schemas.openxmlformats.org/officeDocument/2006/relationships/slideLayout" Target="../slideLayouts/slideLayout74.xml"/><Relationship Id="rId6" Type="http://schemas.openxmlformats.org/officeDocument/2006/relationships/image" Target="../media/image95.svg"/><Relationship Id="rId11" Type="http://schemas.openxmlformats.org/officeDocument/2006/relationships/image" Target="../media/image98.png"/><Relationship Id="rId5" Type="http://schemas.openxmlformats.org/officeDocument/2006/relationships/image" Target="../media/image94.png"/><Relationship Id="rId15" Type="http://schemas.openxmlformats.org/officeDocument/2006/relationships/image" Target="../media/image102.png"/><Relationship Id="rId10" Type="http://schemas.openxmlformats.org/officeDocument/2006/relationships/image" Target="../media/image91.svg"/><Relationship Id="rId19" Type="http://schemas.openxmlformats.org/officeDocument/2006/relationships/image" Target="../media/image106.png"/><Relationship Id="rId4" Type="http://schemas.openxmlformats.org/officeDocument/2006/relationships/image" Target="../media/image93.svg"/><Relationship Id="rId9" Type="http://schemas.openxmlformats.org/officeDocument/2006/relationships/image" Target="../media/image90.png"/><Relationship Id="rId14" Type="http://schemas.openxmlformats.org/officeDocument/2006/relationships/image" Target="../media/image101.svg"/><Relationship Id="rId22" Type="http://schemas.openxmlformats.org/officeDocument/2006/relationships/image" Target="../media/image109.svg"/></Relationships>
</file>

<file path=ppt/slides/_rels/slide17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81.xml"/><Relationship Id="rId1" Type="http://schemas.openxmlformats.org/officeDocument/2006/relationships/slideLayout" Target="../slideLayouts/slideLayout57.xml"/></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82.xml"/><Relationship Id="rId1" Type="http://schemas.openxmlformats.org/officeDocument/2006/relationships/slideLayout" Target="../slideLayouts/slideLayout74.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73.xml.rels><?xml version="1.0" encoding="UTF-8" standalone="yes"?>
<Relationships xmlns="http://schemas.openxmlformats.org/package/2006/relationships"><Relationship Id="rId3" Type="http://schemas.openxmlformats.org/officeDocument/2006/relationships/hyperlink" Target="http://aka.ms/azuresqlfundamentals" TargetMode="External"/><Relationship Id="rId2" Type="http://schemas.openxmlformats.org/officeDocument/2006/relationships/notesSlide" Target="../notesSlides/notesSlide83.xml"/><Relationship Id="rId1" Type="http://schemas.openxmlformats.org/officeDocument/2006/relationships/slideLayout" Target="../slideLayouts/slideLayout78.xml"/><Relationship Id="rId5" Type="http://schemas.openxmlformats.org/officeDocument/2006/relationships/hyperlink" Target="https://www.nigelfrank.com/microsoft-azure-salary-survey/" TargetMode="External"/><Relationship Id="rId4" Type="http://schemas.openxmlformats.org/officeDocument/2006/relationships/image" Target="../media/image217.png"/></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75.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84.xml"/><Relationship Id="rId1" Type="http://schemas.openxmlformats.org/officeDocument/2006/relationships/slideLayout" Target="../slideLayouts/slideLayout75.xml"/><Relationship Id="rId4" Type="http://schemas.openxmlformats.org/officeDocument/2006/relationships/image" Target="../media/image219.png"/></Relationships>
</file>

<file path=ppt/slides/_rels/slide176.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75.xml"/></Relationships>
</file>

<file path=ppt/slides/_rels/slide177.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75.xml"/></Relationships>
</file>

<file path=ppt/slides/_rels/slide178.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75.xml"/></Relationships>
</file>

<file path=ppt/slides/_rels/slide179.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75.xml"/></Relationships>
</file>

<file path=ppt/slides/_rels/slide18.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90.png"/><Relationship Id="rId1" Type="http://schemas.openxmlformats.org/officeDocument/2006/relationships/slideLayout" Target="../slideLayouts/slideLayout74.xml"/></Relationships>
</file>

<file path=ppt/slides/_rels/slide180.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75.xml"/></Relationships>
</file>

<file path=ppt/slides/_rels/slide181.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75.xml"/></Relationships>
</file>

<file path=ppt/slides/_rels/slide182.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75.xml"/></Relationships>
</file>

<file path=ppt/slides/_rels/slide183.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75.xml"/></Relationships>
</file>

<file path=ppt/slides/_rels/slide184.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75.xml"/></Relationships>
</file>

<file path=ppt/slides/_rels/slide185.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75.xml"/></Relationships>
</file>

<file path=ppt/slides/_rels/slide186.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75.xml"/></Relationships>
</file>

<file path=ppt/slides/_rels/slide187.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75.xml"/></Relationships>
</file>

<file path=ppt/slides/_rels/slide188.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75.xml"/></Relationships>
</file>

<file path=ppt/slides/_rels/slide189.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00.pn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99.svg"/><Relationship Id="rId2" Type="http://schemas.openxmlformats.org/officeDocument/2006/relationships/notesSlide" Target="../notesSlides/notesSlide14.xml"/><Relationship Id="rId1" Type="http://schemas.openxmlformats.org/officeDocument/2006/relationships/slideLayout" Target="../slideLayouts/slideLayout74.xml"/><Relationship Id="rId6" Type="http://schemas.openxmlformats.org/officeDocument/2006/relationships/image" Target="../media/image95.svg"/><Relationship Id="rId11" Type="http://schemas.openxmlformats.org/officeDocument/2006/relationships/image" Target="../media/image98.png"/><Relationship Id="rId5" Type="http://schemas.openxmlformats.org/officeDocument/2006/relationships/image" Target="../media/image94.png"/><Relationship Id="rId10" Type="http://schemas.openxmlformats.org/officeDocument/2006/relationships/image" Target="../media/image103.svg"/><Relationship Id="rId4" Type="http://schemas.openxmlformats.org/officeDocument/2006/relationships/image" Target="../media/image93.svg"/><Relationship Id="rId9" Type="http://schemas.openxmlformats.org/officeDocument/2006/relationships/image" Target="../media/image102.png"/><Relationship Id="rId14" Type="http://schemas.openxmlformats.org/officeDocument/2006/relationships/image" Target="../media/image101.svg"/></Relationships>
</file>

<file path=ppt/slides/_rels/slide190.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75.xml"/></Relationships>
</file>

<file path=ppt/slides/_rels/slide191.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75.xml"/></Relationships>
</file>

<file path=ppt/slides/_rels/slide192.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75.xml"/></Relationships>
</file>

<file path=ppt/slides/_rels/slide193.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slideLayout" Target="../slideLayouts/slideLayout75.xml"/></Relationships>
</file>

<file path=ppt/slides/_rels/slide194.xml.rels><?xml version="1.0" encoding="UTF-8" standalone="yes"?>
<Relationships xmlns="http://schemas.openxmlformats.org/package/2006/relationships"><Relationship Id="rId2" Type="http://schemas.openxmlformats.org/officeDocument/2006/relationships/image" Target="../media/image238.png"/><Relationship Id="rId1" Type="http://schemas.openxmlformats.org/officeDocument/2006/relationships/slideLayout" Target="../slideLayouts/slideLayout75.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6.xml"/><Relationship Id="rId1" Type="http://schemas.openxmlformats.org/officeDocument/2006/relationships/slideLayout" Target="../slideLayouts/slideLayout74.xml"/><Relationship Id="rId5" Type="http://schemas.openxmlformats.org/officeDocument/2006/relationships/image" Target="../media/image111.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93.svg"/><Relationship Id="rId7" Type="http://schemas.openxmlformats.org/officeDocument/2006/relationships/image" Target="../media/image115.png"/><Relationship Id="rId2" Type="http://schemas.openxmlformats.org/officeDocument/2006/relationships/image" Target="../media/image92.png"/><Relationship Id="rId1" Type="http://schemas.openxmlformats.org/officeDocument/2006/relationships/slideLayout" Target="../slideLayouts/slideLayout75.xml"/><Relationship Id="rId6" Type="http://schemas.openxmlformats.org/officeDocument/2006/relationships/image" Target="../media/image114.png"/><Relationship Id="rId5" Type="http://schemas.openxmlformats.org/officeDocument/2006/relationships/image" Target="../media/image113.svg"/><Relationship Id="rId4" Type="http://schemas.openxmlformats.org/officeDocument/2006/relationships/image" Target="../media/image112.png"/></Relationships>
</file>

<file path=ppt/slides/_rels/slide23.xml.rels><?xml version="1.0" encoding="UTF-8" standalone="yes"?>
<Relationships xmlns="http://schemas.openxmlformats.org/package/2006/relationships"><Relationship Id="rId3" Type="http://schemas.openxmlformats.org/officeDocument/2006/relationships/image" Target="../media/image116.wmf"/><Relationship Id="rId2" Type="http://schemas.openxmlformats.org/officeDocument/2006/relationships/oleObject" Target="../embeddings/oleObject5.bin"/><Relationship Id="rId1" Type="http://schemas.openxmlformats.org/officeDocument/2006/relationships/slideLayout" Target="../slideLayouts/slideLayout75.xml"/><Relationship Id="rId4" Type="http://schemas.openxmlformats.org/officeDocument/2006/relationships/image" Target="../media/image117.png"/></Relationships>
</file>

<file path=ppt/slides/_rels/slide2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7.xml"/><Relationship Id="rId1" Type="http://schemas.openxmlformats.org/officeDocument/2006/relationships/slideLayout" Target="../slideLayouts/slideLayout74.xml"/><Relationship Id="rId5" Type="http://schemas.openxmlformats.org/officeDocument/2006/relationships/image" Target="../media/image111.png"/><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13.svg"/><Relationship Id="rId3" Type="http://schemas.openxmlformats.org/officeDocument/2006/relationships/image" Target="../media/image93.svg"/><Relationship Id="rId7" Type="http://schemas.openxmlformats.org/officeDocument/2006/relationships/image" Target="../media/image120.svg"/><Relationship Id="rId12" Type="http://schemas.openxmlformats.org/officeDocument/2006/relationships/image" Target="../media/image112.png"/><Relationship Id="rId2" Type="http://schemas.openxmlformats.org/officeDocument/2006/relationships/image" Target="../media/image92.png"/><Relationship Id="rId1" Type="http://schemas.openxmlformats.org/officeDocument/2006/relationships/slideLayout" Target="../slideLayouts/slideLayout75.xml"/><Relationship Id="rId6" Type="http://schemas.openxmlformats.org/officeDocument/2006/relationships/image" Target="../media/image119.png"/><Relationship Id="rId11" Type="http://schemas.openxmlformats.org/officeDocument/2006/relationships/image" Target="../media/image124.svg"/><Relationship Id="rId5" Type="http://schemas.openxmlformats.org/officeDocument/2006/relationships/image" Target="../media/image118.png"/><Relationship Id="rId10" Type="http://schemas.openxmlformats.org/officeDocument/2006/relationships/image" Target="../media/image123.png"/><Relationship Id="rId4" Type="http://schemas.openxmlformats.org/officeDocument/2006/relationships/image" Target="../media/image114.png"/><Relationship Id="rId9" Type="http://schemas.openxmlformats.org/officeDocument/2006/relationships/image" Target="../media/image122.svg"/></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5.png"/><Relationship Id="rId1" Type="http://schemas.openxmlformats.org/officeDocument/2006/relationships/slideLayout" Target="../slideLayouts/slideLayout74.xml"/><Relationship Id="rId4" Type="http://schemas.openxmlformats.org/officeDocument/2006/relationships/image" Target="../media/image12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26" Type="http://schemas.openxmlformats.org/officeDocument/2006/relationships/tags" Target="../tags/tag204.xml"/><Relationship Id="rId21" Type="http://schemas.openxmlformats.org/officeDocument/2006/relationships/tags" Target="../tags/tag199.xml"/><Relationship Id="rId42" Type="http://schemas.openxmlformats.org/officeDocument/2006/relationships/tags" Target="../tags/tag220.xml"/><Relationship Id="rId47" Type="http://schemas.openxmlformats.org/officeDocument/2006/relationships/tags" Target="../tags/tag225.xml"/><Relationship Id="rId63" Type="http://schemas.openxmlformats.org/officeDocument/2006/relationships/tags" Target="../tags/tag241.xml"/><Relationship Id="rId68" Type="http://schemas.openxmlformats.org/officeDocument/2006/relationships/tags" Target="../tags/tag246.xml"/><Relationship Id="rId84" Type="http://schemas.openxmlformats.org/officeDocument/2006/relationships/tags" Target="../tags/tag262.xml"/><Relationship Id="rId89" Type="http://schemas.openxmlformats.org/officeDocument/2006/relationships/tags" Target="../tags/tag267.xml"/><Relationship Id="rId16" Type="http://schemas.openxmlformats.org/officeDocument/2006/relationships/tags" Target="../tags/tag194.xml"/><Relationship Id="rId11" Type="http://schemas.openxmlformats.org/officeDocument/2006/relationships/tags" Target="../tags/tag189.xml"/><Relationship Id="rId32" Type="http://schemas.openxmlformats.org/officeDocument/2006/relationships/tags" Target="../tags/tag210.xml"/><Relationship Id="rId37" Type="http://schemas.openxmlformats.org/officeDocument/2006/relationships/tags" Target="../tags/tag215.xml"/><Relationship Id="rId53" Type="http://schemas.openxmlformats.org/officeDocument/2006/relationships/tags" Target="../tags/tag231.xml"/><Relationship Id="rId58" Type="http://schemas.openxmlformats.org/officeDocument/2006/relationships/tags" Target="../tags/tag236.xml"/><Relationship Id="rId74" Type="http://schemas.openxmlformats.org/officeDocument/2006/relationships/tags" Target="../tags/tag252.xml"/><Relationship Id="rId79" Type="http://schemas.openxmlformats.org/officeDocument/2006/relationships/tags" Target="../tags/tag257.xml"/><Relationship Id="rId5" Type="http://schemas.openxmlformats.org/officeDocument/2006/relationships/tags" Target="../tags/tag183.xml"/><Relationship Id="rId90" Type="http://schemas.openxmlformats.org/officeDocument/2006/relationships/tags" Target="../tags/tag268.xml"/><Relationship Id="rId22" Type="http://schemas.openxmlformats.org/officeDocument/2006/relationships/tags" Target="../tags/tag200.xml"/><Relationship Id="rId27" Type="http://schemas.openxmlformats.org/officeDocument/2006/relationships/tags" Target="../tags/tag205.xml"/><Relationship Id="rId43" Type="http://schemas.openxmlformats.org/officeDocument/2006/relationships/tags" Target="../tags/tag221.xml"/><Relationship Id="rId48" Type="http://schemas.openxmlformats.org/officeDocument/2006/relationships/tags" Target="../tags/tag226.xml"/><Relationship Id="rId64" Type="http://schemas.openxmlformats.org/officeDocument/2006/relationships/tags" Target="../tags/tag242.xml"/><Relationship Id="rId69" Type="http://schemas.openxmlformats.org/officeDocument/2006/relationships/tags" Target="../tags/tag247.xml"/><Relationship Id="rId8" Type="http://schemas.openxmlformats.org/officeDocument/2006/relationships/tags" Target="../tags/tag186.xml"/><Relationship Id="rId51" Type="http://schemas.openxmlformats.org/officeDocument/2006/relationships/tags" Target="../tags/tag229.xml"/><Relationship Id="rId72" Type="http://schemas.openxmlformats.org/officeDocument/2006/relationships/tags" Target="../tags/tag250.xml"/><Relationship Id="rId80" Type="http://schemas.openxmlformats.org/officeDocument/2006/relationships/tags" Target="../tags/tag258.xml"/><Relationship Id="rId85" Type="http://schemas.openxmlformats.org/officeDocument/2006/relationships/tags" Target="../tags/tag263.xml"/><Relationship Id="rId93" Type="http://schemas.openxmlformats.org/officeDocument/2006/relationships/oleObject" Target="../embeddings/oleObject3.bin"/><Relationship Id="rId3" Type="http://schemas.openxmlformats.org/officeDocument/2006/relationships/tags" Target="../tags/tag181.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tags" Target="../tags/tag211.xml"/><Relationship Id="rId38" Type="http://schemas.openxmlformats.org/officeDocument/2006/relationships/tags" Target="../tags/tag216.xml"/><Relationship Id="rId46" Type="http://schemas.openxmlformats.org/officeDocument/2006/relationships/tags" Target="../tags/tag224.xml"/><Relationship Id="rId59" Type="http://schemas.openxmlformats.org/officeDocument/2006/relationships/tags" Target="../tags/tag237.xml"/><Relationship Id="rId67" Type="http://schemas.openxmlformats.org/officeDocument/2006/relationships/tags" Target="../tags/tag245.xml"/><Relationship Id="rId20" Type="http://schemas.openxmlformats.org/officeDocument/2006/relationships/tags" Target="../tags/tag198.xml"/><Relationship Id="rId41" Type="http://schemas.openxmlformats.org/officeDocument/2006/relationships/tags" Target="../tags/tag219.xml"/><Relationship Id="rId54" Type="http://schemas.openxmlformats.org/officeDocument/2006/relationships/tags" Target="../tags/tag232.xml"/><Relationship Id="rId62" Type="http://schemas.openxmlformats.org/officeDocument/2006/relationships/tags" Target="../tags/tag240.xml"/><Relationship Id="rId70" Type="http://schemas.openxmlformats.org/officeDocument/2006/relationships/tags" Target="../tags/tag248.xml"/><Relationship Id="rId75" Type="http://schemas.openxmlformats.org/officeDocument/2006/relationships/tags" Target="../tags/tag253.xml"/><Relationship Id="rId83" Type="http://schemas.openxmlformats.org/officeDocument/2006/relationships/tags" Target="../tags/tag261.xml"/><Relationship Id="rId88" Type="http://schemas.openxmlformats.org/officeDocument/2006/relationships/tags" Target="../tags/tag266.xml"/><Relationship Id="rId91" Type="http://schemas.openxmlformats.org/officeDocument/2006/relationships/slideLayout" Target="../slideLayouts/slideLayout9.xml"/><Relationship Id="rId1" Type="http://schemas.openxmlformats.org/officeDocument/2006/relationships/tags" Target="../tags/tag179.xml"/><Relationship Id="rId6" Type="http://schemas.openxmlformats.org/officeDocument/2006/relationships/tags" Target="../tags/tag184.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tags" Target="../tags/tag206.xml"/><Relationship Id="rId36" Type="http://schemas.openxmlformats.org/officeDocument/2006/relationships/tags" Target="../tags/tag214.xml"/><Relationship Id="rId49" Type="http://schemas.openxmlformats.org/officeDocument/2006/relationships/tags" Target="../tags/tag227.xml"/><Relationship Id="rId57" Type="http://schemas.openxmlformats.org/officeDocument/2006/relationships/tags" Target="../tags/tag235.xml"/><Relationship Id="rId10" Type="http://schemas.openxmlformats.org/officeDocument/2006/relationships/tags" Target="../tags/tag188.xml"/><Relationship Id="rId31" Type="http://schemas.openxmlformats.org/officeDocument/2006/relationships/tags" Target="../tags/tag209.xml"/><Relationship Id="rId44" Type="http://schemas.openxmlformats.org/officeDocument/2006/relationships/tags" Target="../tags/tag222.xml"/><Relationship Id="rId52" Type="http://schemas.openxmlformats.org/officeDocument/2006/relationships/tags" Target="../tags/tag230.xml"/><Relationship Id="rId60" Type="http://schemas.openxmlformats.org/officeDocument/2006/relationships/tags" Target="../tags/tag238.xml"/><Relationship Id="rId65" Type="http://schemas.openxmlformats.org/officeDocument/2006/relationships/tags" Target="../tags/tag243.xml"/><Relationship Id="rId73" Type="http://schemas.openxmlformats.org/officeDocument/2006/relationships/tags" Target="../tags/tag251.xml"/><Relationship Id="rId78" Type="http://schemas.openxmlformats.org/officeDocument/2006/relationships/tags" Target="../tags/tag256.xml"/><Relationship Id="rId81" Type="http://schemas.openxmlformats.org/officeDocument/2006/relationships/tags" Target="../tags/tag259.xml"/><Relationship Id="rId86" Type="http://schemas.openxmlformats.org/officeDocument/2006/relationships/tags" Target="../tags/tag264.xml"/><Relationship Id="rId94" Type="http://schemas.openxmlformats.org/officeDocument/2006/relationships/image" Target="../media/image84.wmf"/><Relationship Id="rId4" Type="http://schemas.openxmlformats.org/officeDocument/2006/relationships/tags" Target="../tags/tag182.xml"/><Relationship Id="rId9" Type="http://schemas.openxmlformats.org/officeDocument/2006/relationships/tags" Target="../tags/tag187.xml"/><Relationship Id="rId13" Type="http://schemas.openxmlformats.org/officeDocument/2006/relationships/tags" Target="../tags/tag191.xml"/><Relationship Id="rId18" Type="http://schemas.openxmlformats.org/officeDocument/2006/relationships/tags" Target="../tags/tag196.xml"/><Relationship Id="rId39" Type="http://schemas.openxmlformats.org/officeDocument/2006/relationships/tags" Target="../tags/tag217.xml"/><Relationship Id="rId34" Type="http://schemas.openxmlformats.org/officeDocument/2006/relationships/tags" Target="../tags/tag212.xml"/><Relationship Id="rId50" Type="http://schemas.openxmlformats.org/officeDocument/2006/relationships/tags" Target="../tags/tag228.xml"/><Relationship Id="rId55" Type="http://schemas.openxmlformats.org/officeDocument/2006/relationships/tags" Target="../tags/tag233.xml"/><Relationship Id="rId76" Type="http://schemas.openxmlformats.org/officeDocument/2006/relationships/tags" Target="../tags/tag254.xml"/><Relationship Id="rId7" Type="http://schemas.openxmlformats.org/officeDocument/2006/relationships/tags" Target="../tags/tag185.xml"/><Relationship Id="rId71" Type="http://schemas.openxmlformats.org/officeDocument/2006/relationships/tags" Target="../tags/tag249.xml"/><Relationship Id="rId92" Type="http://schemas.openxmlformats.org/officeDocument/2006/relationships/notesSlide" Target="../notesSlides/notesSlide21.xml"/><Relationship Id="rId2" Type="http://schemas.openxmlformats.org/officeDocument/2006/relationships/tags" Target="../tags/tag180.xml"/><Relationship Id="rId29" Type="http://schemas.openxmlformats.org/officeDocument/2006/relationships/tags" Target="../tags/tag207.xml"/><Relationship Id="rId24" Type="http://schemas.openxmlformats.org/officeDocument/2006/relationships/tags" Target="../tags/tag202.xml"/><Relationship Id="rId40" Type="http://schemas.openxmlformats.org/officeDocument/2006/relationships/tags" Target="../tags/tag218.xml"/><Relationship Id="rId45" Type="http://schemas.openxmlformats.org/officeDocument/2006/relationships/tags" Target="../tags/tag223.xml"/><Relationship Id="rId66" Type="http://schemas.openxmlformats.org/officeDocument/2006/relationships/tags" Target="../tags/tag244.xml"/><Relationship Id="rId87" Type="http://schemas.openxmlformats.org/officeDocument/2006/relationships/tags" Target="../tags/tag265.xml"/><Relationship Id="rId61" Type="http://schemas.openxmlformats.org/officeDocument/2006/relationships/tags" Target="../tags/tag239.xml"/><Relationship Id="rId82" Type="http://schemas.openxmlformats.org/officeDocument/2006/relationships/tags" Target="../tags/tag260.xml"/><Relationship Id="rId19" Type="http://schemas.openxmlformats.org/officeDocument/2006/relationships/tags" Target="../tags/tag197.xml"/><Relationship Id="rId14" Type="http://schemas.openxmlformats.org/officeDocument/2006/relationships/tags" Target="../tags/tag192.xml"/><Relationship Id="rId30" Type="http://schemas.openxmlformats.org/officeDocument/2006/relationships/tags" Target="../tags/tag208.xml"/><Relationship Id="rId35" Type="http://schemas.openxmlformats.org/officeDocument/2006/relationships/tags" Target="../tags/tag213.xml"/><Relationship Id="rId56" Type="http://schemas.openxmlformats.org/officeDocument/2006/relationships/tags" Target="../tags/tag234.xml"/><Relationship Id="rId77" Type="http://schemas.openxmlformats.org/officeDocument/2006/relationships/tags" Target="../tags/tag255.xml"/></Relationships>
</file>

<file path=ppt/slides/_rels/slide33.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3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3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5.xml"/><Relationship Id="rId1" Type="http://schemas.openxmlformats.org/officeDocument/2006/relationships/slideLayout" Target="../slideLayouts/slideLayout7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31.xml"/></Relationships>
</file>

<file path=ppt/slides/_rels/slide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3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3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31.xml"/></Relationships>
</file>

<file path=ppt/slides/_rels/slide4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sv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54.xml"/><Relationship Id="rId4" Type="http://schemas.openxmlformats.org/officeDocument/2006/relationships/image" Target="../media/image8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134.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6.xml.rels><?xml version="1.0" encoding="UTF-8" standalone="yes"?>
<Relationships xmlns="http://schemas.openxmlformats.org/package/2006/relationships"><Relationship Id="rId8" Type="http://schemas.openxmlformats.org/officeDocument/2006/relationships/hyperlink" Target="https://en.wikipedia.org/wiki/Data_aggregation" TargetMode="External"/><Relationship Id="rId3" Type="http://schemas.openxmlformats.org/officeDocument/2006/relationships/hyperlink" Target="https://en.wikipedia.org/wiki/PowerPivot" TargetMode="External"/><Relationship Id="rId7" Type="http://schemas.openxmlformats.org/officeDocument/2006/relationships/hyperlink" Target="https://en.wikipedia.org/wiki/Relational_model" TargetMode="External"/><Relationship Id="rId2" Type="http://schemas.openxmlformats.org/officeDocument/2006/relationships/hyperlink" Target="https://en.wikipedia.org/wiki/Microsoft" TargetMode="External"/><Relationship Id="rId1" Type="http://schemas.openxmlformats.org/officeDocument/2006/relationships/slideLayout" Target="../slideLayouts/slideLayout57.xml"/><Relationship Id="rId6" Type="http://schemas.openxmlformats.org/officeDocument/2006/relationships/hyperlink" Target="https://en.wikipedia.org/wiki/Microsoft_Excel" TargetMode="External"/><Relationship Id="rId5" Type="http://schemas.openxmlformats.org/officeDocument/2006/relationships/hyperlink" Target="https://en.wikipedia.org/wiki/Microsoft_Analysis_Services" TargetMode="External"/><Relationship Id="rId4" Type="http://schemas.openxmlformats.org/officeDocument/2006/relationships/hyperlink" Target="https://en.wikipedia.org/wiki/Power_BI" TargetMode="Externa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60.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7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5.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9.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4.xml"/></Relationships>
</file>

<file path=ppt/slides/_rels/slide72.xml.rels><?xml version="1.0" encoding="UTF-8" standalone="yes"?>
<Relationships xmlns="http://schemas.openxmlformats.org/package/2006/relationships"><Relationship Id="rId8" Type="http://schemas.openxmlformats.org/officeDocument/2006/relationships/image" Target="../media/image139.svg"/><Relationship Id="rId13" Type="http://schemas.openxmlformats.org/officeDocument/2006/relationships/image" Target="../media/image144.png"/><Relationship Id="rId18" Type="http://schemas.openxmlformats.org/officeDocument/2006/relationships/image" Target="../media/image149.svg"/><Relationship Id="rId3" Type="http://schemas.openxmlformats.org/officeDocument/2006/relationships/image" Target="../media/image129.png"/><Relationship Id="rId7" Type="http://schemas.openxmlformats.org/officeDocument/2006/relationships/image" Target="../media/image138.png"/><Relationship Id="rId12" Type="http://schemas.openxmlformats.org/officeDocument/2006/relationships/image" Target="../media/image143.svg"/><Relationship Id="rId17" Type="http://schemas.openxmlformats.org/officeDocument/2006/relationships/image" Target="../media/image148.png"/><Relationship Id="rId2" Type="http://schemas.openxmlformats.org/officeDocument/2006/relationships/notesSlide" Target="../notesSlides/notesSlide45.xml"/><Relationship Id="rId16" Type="http://schemas.openxmlformats.org/officeDocument/2006/relationships/image" Target="../media/image147.svg"/><Relationship Id="rId1" Type="http://schemas.openxmlformats.org/officeDocument/2006/relationships/slideLayout" Target="../slideLayouts/slideLayout9.xml"/><Relationship Id="rId6" Type="http://schemas.openxmlformats.org/officeDocument/2006/relationships/image" Target="../media/image137.svg"/><Relationship Id="rId11" Type="http://schemas.openxmlformats.org/officeDocument/2006/relationships/image" Target="../media/image142.png"/><Relationship Id="rId5" Type="http://schemas.openxmlformats.org/officeDocument/2006/relationships/image" Target="../media/image136.png"/><Relationship Id="rId15" Type="http://schemas.openxmlformats.org/officeDocument/2006/relationships/image" Target="../media/image146.png"/><Relationship Id="rId10" Type="http://schemas.openxmlformats.org/officeDocument/2006/relationships/image" Target="../media/image141.svg"/><Relationship Id="rId4" Type="http://schemas.openxmlformats.org/officeDocument/2006/relationships/image" Target="../media/image130.svg"/><Relationship Id="rId9" Type="http://schemas.openxmlformats.org/officeDocument/2006/relationships/image" Target="../media/image140.png"/><Relationship Id="rId14" Type="http://schemas.openxmlformats.org/officeDocument/2006/relationships/image" Target="../media/image145.sv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4.xml"/></Relationships>
</file>

<file path=ppt/slides/_rels/slide79.xml.rels><?xml version="1.0" encoding="UTF-8" standalone="yes"?>
<Relationships xmlns="http://schemas.openxmlformats.org/package/2006/relationships"><Relationship Id="rId3" Type="http://schemas.openxmlformats.org/officeDocument/2006/relationships/hyperlink" Target="https://daxstudio.org/" TargetMode="External"/><Relationship Id="rId2" Type="http://schemas.openxmlformats.org/officeDocument/2006/relationships/image" Target="../media/image150.png"/><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8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49.xml"/><Relationship Id="rId1" Type="http://schemas.openxmlformats.org/officeDocument/2006/relationships/slideLayout" Target="../slideLayouts/slideLayout74.xml"/><Relationship Id="rId4" Type="http://schemas.openxmlformats.org/officeDocument/2006/relationships/image" Target="../media/image152.png"/></Relationships>
</file>

<file path=ppt/slides/_rels/slide8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0.xml"/><Relationship Id="rId1" Type="http://schemas.openxmlformats.org/officeDocument/2006/relationships/slideLayout" Target="../slideLayouts/slideLayout7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86.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74.xml"/></Relationships>
</file>

<file path=ppt/slides/_rels/slide8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57.png"/><Relationship Id="rId2" Type="http://schemas.openxmlformats.org/officeDocument/2006/relationships/diagramData" Target="../diagrams/data3.xml"/><Relationship Id="rId1" Type="http://schemas.openxmlformats.org/officeDocument/2006/relationships/slideLayout" Target="../slideLayouts/slideLayout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5.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9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4.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7.xml.rels><?xml version="1.0" encoding="UTF-8" standalone="yes"?>
<Relationships xmlns="http://schemas.openxmlformats.org/package/2006/relationships"><Relationship Id="rId2" Type="http://schemas.openxmlformats.org/officeDocument/2006/relationships/hyperlink" Target="https://www.sqlbi.com/articles/storage-differences-between-calculated-columns-and-calculated-tables/" TargetMode="External"/><Relationship Id="rId1" Type="http://schemas.openxmlformats.org/officeDocument/2006/relationships/slideLayout" Target="../slideLayouts/slideLayout7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hyperlink" Target="https://docs.microsoft.com/en-us/learn/paths/power-bi-effective/" TargetMode="Externa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F1E3C8-B98E-45A3-87C1-4650493983B3}"/>
              </a:ext>
            </a:extLst>
          </p:cNvPr>
          <p:cNvSpPr>
            <a:spLocks noGrp="1"/>
          </p:cNvSpPr>
          <p:nvPr>
            <p:ph type="title"/>
          </p:nvPr>
        </p:nvSpPr>
        <p:spPr/>
        <p:txBody>
          <a:bodyPr/>
          <a:lstStyle/>
          <a:p>
            <a:r>
              <a:rPr lang="en-US" dirty="0"/>
              <a:t>Session resources</a:t>
            </a:r>
          </a:p>
        </p:txBody>
      </p:sp>
      <p:sp>
        <p:nvSpPr>
          <p:cNvPr id="5" name="TextBox 4">
            <a:extLst>
              <a:ext uri="{FF2B5EF4-FFF2-40B4-BE49-F238E27FC236}">
                <a16:creationId xmlns:a16="http://schemas.microsoft.com/office/drawing/2014/main" id="{032173C7-D62D-44EA-887D-AAA626A308F6}"/>
              </a:ext>
            </a:extLst>
          </p:cNvPr>
          <p:cNvSpPr txBox="1"/>
          <p:nvPr/>
        </p:nvSpPr>
        <p:spPr>
          <a:xfrm>
            <a:off x="595838" y="1223405"/>
            <a:ext cx="11556223" cy="5232202"/>
          </a:xfrm>
          <a:prstGeom prst="rect">
            <a:avLst/>
          </a:prstGeom>
          <a:noFill/>
        </p:spPr>
        <p:txBody>
          <a:bodyPr wrap="square" lIns="0" tIns="0" rIns="0" bIns="0" rtlCol="0">
            <a:spAutoFit/>
          </a:bodyPr>
          <a:lstStyle/>
          <a:p>
            <a:pPr algn="l"/>
            <a:r>
              <a:rPr lang="en-US" sz="2000" dirty="0">
                <a:hlinkClick r:id="rId3"/>
              </a:rPr>
              <a:t>GitHub (Day After Dashboard in a Day) </a:t>
            </a:r>
            <a:endParaRPr lang="en-US" sz="2000" dirty="0"/>
          </a:p>
          <a:p>
            <a:pPr algn="l"/>
            <a:r>
              <a:rPr lang="en-US" sz="2000" dirty="0">
                <a:hlinkClick r:id="rId4"/>
              </a:rPr>
              <a:t>Premium features of dataflows</a:t>
            </a:r>
            <a:endParaRPr lang="en-US" sz="2000" dirty="0"/>
          </a:p>
          <a:p>
            <a:pPr algn="l"/>
            <a:r>
              <a:rPr lang="en-US" sz="2000" dirty="0">
                <a:hlinkClick r:id="rId5"/>
              </a:rPr>
              <a:t>Power Query SDK </a:t>
            </a:r>
            <a:r>
              <a:rPr lang="en-US" sz="2000" dirty="0"/>
              <a:t>for Visual Studio</a:t>
            </a:r>
          </a:p>
          <a:p>
            <a:pPr algn="l"/>
            <a:r>
              <a:rPr lang="en-US" sz="2000" dirty="0">
                <a:hlinkClick r:id="rId6"/>
              </a:rPr>
              <a:t>Power Query M / VS Code </a:t>
            </a:r>
            <a:endParaRPr lang="en-US" sz="2000" dirty="0"/>
          </a:p>
          <a:p>
            <a:pPr algn="l"/>
            <a:r>
              <a:rPr lang="en-US" sz="2000" dirty="0">
                <a:hlinkClick r:id="rId7"/>
              </a:rPr>
              <a:t>#shared keyword for all Power Query functions</a:t>
            </a:r>
            <a:endParaRPr lang="en-US" sz="2000" dirty="0"/>
          </a:p>
          <a:p>
            <a:pPr algn="l"/>
            <a:r>
              <a:rPr lang="en-US" sz="2000" dirty="0">
                <a:hlinkClick r:id="rId8"/>
              </a:rPr>
              <a:t>Column </a:t>
            </a:r>
            <a:r>
              <a:rPr lang="en-US" sz="2000" dirty="0" err="1">
                <a:hlinkClick r:id="rId8"/>
              </a:rPr>
              <a:t>Renamer</a:t>
            </a:r>
            <a:r>
              <a:rPr lang="en-US" sz="2000" dirty="0">
                <a:hlinkClick r:id="rId8"/>
              </a:rPr>
              <a:t> Custom Function</a:t>
            </a:r>
            <a:r>
              <a:rPr lang="en-US" sz="2000" dirty="0"/>
              <a:t> (Pascal Case)</a:t>
            </a:r>
          </a:p>
          <a:p>
            <a:pPr algn="l"/>
            <a:r>
              <a:rPr lang="en-US" sz="2000" dirty="0">
                <a:hlinkClick r:id="rId9"/>
              </a:rPr>
              <a:t>Column </a:t>
            </a:r>
            <a:r>
              <a:rPr lang="en-US" sz="2000" dirty="0" err="1">
                <a:hlinkClick r:id="rId9"/>
              </a:rPr>
              <a:t>Renamer</a:t>
            </a:r>
            <a:r>
              <a:rPr lang="en-US" sz="2000" dirty="0">
                <a:hlinkClick r:id="rId9"/>
              </a:rPr>
              <a:t> Custom Function </a:t>
            </a:r>
            <a:r>
              <a:rPr lang="en-US" sz="2000" dirty="0"/>
              <a:t>(Underscore)</a:t>
            </a:r>
          </a:p>
          <a:p>
            <a:pPr algn="l"/>
            <a:r>
              <a:rPr lang="en-US" sz="2000" dirty="0">
                <a:hlinkClick r:id="rId10"/>
              </a:rPr>
              <a:t>PowerBI.tips Business Ops </a:t>
            </a:r>
            <a:r>
              <a:rPr lang="en-US" sz="2000" dirty="0"/>
              <a:t>(a community collection of External Tools)</a:t>
            </a:r>
          </a:p>
          <a:p>
            <a:pPr algn="l"/>
            <a:r>
              <a:rPr lang="en-US" sz="2000" dirty="0">
                <a:hlinkClick r:id="rId11"/>
              </a:rPr>
              <a:t>Everything you wanted to know about Incremental Refresh in Power BI</a:t>
            </a:r>
            <a:endParaRPr lang="en-US" sz="2000" dirty="0"/>
          </a:p>
          <a:p>
            <a:pPr algn="l"/>
            <a:r>
              <a:rPr lang="en-US" sz="2000" dirty="0">
                <a:hlinkClick r:id="rId12"/>
              </a:rPr>
              <a:t>The </a:t>
            </a:r>
            <a:r>
              <a:rPr lang="en-US" sz="2000" dirty="0" err="1">
                <a:hlinkClick r:id="rId12"/>
              </a:rPr>
              <a:t>VertiPaq</a:t>
            </a:r>
            <a:r>
              <a:rPr lang="en-US" sz="2000" dirty="0">
                <a:hlinkClick r:id="rId12"/>
              </a:rPr>
              <a:t> Engine in DAX</a:t>
            </a:r>
            <a:endParaRPr lang="en-US" sz="2000" dirty="0"/>
          </a:p>
          <a:p>
            <a:pPr algn="l"/>
            <a:r>
              <a:rPr lang="en-US" sz="2000" dirty="0">
                <a:hlinkClick r:id="rId13"/>
              </a:rPr>
              <a:t>SQLBI Training</a:t>
            </a:r>
            <a:endParaRPr lang="en-US" sz="2000" dirty="0"/>
          </a:p>
          <a:p>
            <a:pPr algn="l"/>
            <a:r>
              <a:rPr lang="en-US" sz="2000" dirty="0">
                <a:hlinkClick r:id="rId14"/>
              </a:rPr>
              <a:t>Design effective reports in Power BI </a:t>
            </a:r>
            <a:endParaRPr lang="en-US" sz="2000" dirty="0"/>
          </a:p>
          <a:p>
            <a:pPr algn="l"/>
            <a:r>
              <a:rPr lang="en-US" sz="2000" dirty="0">
                <a:hlinkClick r:id="rId15"/>
              </a:rPr>
              <a:t>Themeable backgrounds for Power BI </a:t>
            </a:r>
            <a:r>
              <a:rPr lang="en-US" sz="2000" dirty="0"/>
              <a:t>(PowerPoint)</a:t>
            </a:r>
          </a:p>
          <a:p>
            <a:pPr algn="l"/>
            <a:r>
              <a:rPr lang="en-US" sz="2000" dirty="0">
                <a:hlinkClick r:id="rId16"/>
              </a:rPr>
              <a:t>Building a Data Culture</a:t>
            </a:r>
            <a:endParaRPr lang="en-US" sz="2000" dirty="0"/>
          </a:p>
          <a:p>
            <a:pPr algn="l"/>
            <a:r>
              <a:rPr lang="en-US" sz="2000" dirty="0">
                <a:hlinkClick r:id="rId17"/>
              </a:rPr>
              <a:t>Customer Success Stories</a:t>
            </a:r>
            <a:endParaRPr lang="en-US" sz="2000" dirty="0"/>
          </a:p>
          <a:p>
            <a:pPr algn="l"/>
            <a:r>
              <a:rPr lang="en-US" sz="2000" dirty="0">
                <a:hlinkClick r:id="rId18"/>
              </a:rPr>
              <a:t>Microsoft Stores Training</a:t>
            </a:r>
            <a:endParaRPr lang="en-US" sz="2000" dirty="0"/>
          </a:p>
          <a:p>
            <a:pPr algn="l"/>
            <a:r>
              <a:rPr lang="en-US" sz="2000" dirty="0">
                <a:hlinkClick r:id="rId19"/>
              </a:rPr>
              <a:t>Power BI guidance</a:t>
            </a:r>
            <a:endParaRPr lang="en-US" sz="2000" dirty="0"/>
          </a:p>
        </p:txBody>
      </p:sp>
    </p:spTree>
    <p:extLst>
      <p:ext uri="{BB962C8B-B14F-4D97-AF65-F5344CB8AC3E}">
        <p14:creationId xmlns:p14="http://schemas.microsoft.com/office/powerpoint/2010/main" val="25808786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4" name="Group 1683" descr="World map">
            <a:extLst>
              <a:ext uri="{FF2B5EF4-FFF2-40B4-BE49-F238E27FC236}">
                <a16:creationId xmlns:a16="http://schemas.microsoft.com/office/drawing/2014/main" id="{E1BBFF4C-D0E0-B547-9F44-7CA64AF575A8}"/>
              </a:ext>
            </a:extLst>
          </p:cNvPr>
          <p:cNvGrpSpPr/>
          <p:nvPr/>
        </p:nvGrpSpPr>
        <p:grpSpPr>
          <a:xfrm>
            <a:off x="2761670" y="869111"/>
            <a:ext cx="6866721" cy="3395214"/>
            <a:chOff x="4754563" y="1309941"/>
            <a:chExt cx="6733550" cy="3329368"/>
          </a:xfrm>
          <a:solidFill>
            <a:srgbClr val="E6E6E6"/>
          </a:solidFill>
        </p:grpSpPr>
        <p:grpSp>
          <p:nvGrpSpPr>
            <p:cNvPr id="1685" name="Africa">
              <a:extLst>
                <a:ext uri="{FF2B5EF4-FFF2-40B4-BE49-F238E27FC236}">
                  <a16:creationId xmlns:a16="http://schemas.microsoft.com/office/drawing/2014/main" id="{EEFE9752-D04C-014B-BC71-CB51A6438350}"/>
                </a:ext>
              </a:extLst>
            </p:cNvPr>
            <p:cNvGrpSpPr/>
            <p:nvPr/>
          </p:nvGrpSpPr>
          <p:grpSpPr>
            <a:xfrm>
              <a:off x="7603462" y="2719778"/>
              <a:ext cx="1270725" cy="1425034"/>
              <a:chOff x="3916456" y="3374516"/>
              <a:chExt cx="1608526" cy="1803856"/>
            </a:xfrm>
            <a:grpFill/>
          </p:grpSpPr>
          <p:sp>
            <p:nvSpPr>
              <p:cNvPr id="1813" name="Egypt">
                <a:extLst>
                  <a:ext uri="{FF2B5EF4-FFF2-40B4-BE49-F238E27FC236}">
                    <a16:creationId xmlns:a16="http://schemas.microsoft.com/office/drawing/2014/main" id="{608E2978-93FC-B942-8C61-DC942C248E78}"/>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4" name="Tunisia">
                <a:extLst>
                  <a:ext uri="{FF2B5EF4-FFF2-40B4-BE49-F238E27FC236}">
                    <a16:creationId xmlns:a16="http://schemas.microsoft.com/office/drawing/2014/main" id="{B3FC306E-A9BD-DA4A-A5A6-63C849B764BE}"/>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5" name="Morocco">
                <a:extLst>
                  <a:ext uri="{FF2B5EF4-FFF2-40B4-BE49-F238E27FC236}">
                    <a16:creationId xmlns:a16="http://schemas.microsoft.com/office/drawing/2014/main" id="{18FAB453-3EDE-CF49-9843-D56379305015}"/>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6" name="Swaziland">
                <a:extLst>
                  <a:ext uri="{FF2B5EF4-FFF2-40B4-BE49-F238E27FC236}">
                    <a16:creationId xmlns:a16="http://schemas.microsoft.com/office/drawing/2014/main" id="{B21279E1-E42D-E34E-A94D-F61A6DBE8EBF}"/>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7" name="Lesotho">
                <a:extLst>
                  <a:ext uri="{FF2B5EF4-FFF2-40B4-BE49-F238E27FC236}">
                    <a16:creationId xmlns:a16="http://schemas.microsoft.com/office/drawing/2014/main" id="{DFB4B393-C301-FC4D-A97A-09E9BFF158DF}"/>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8" name="Rwanda">
                <a:extLst>
                  <a:ext uri="{FF2B5EF4-FFF2-40B4-BE49-F238E27FC236}">
                    <a16:creationId xmlns:a16="http://schemas.microsoft.com/office/drawing/2014/main" id="{0F9484AF-285C-5C42-84C1-415899D132EF}"/>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9" name="Somalia">
                <a:extLst>
                  <a:ext uri="{FF2B5EF4-FFF2-40B4-BE49-F238E27FC236}">
                    <a16:creationId xmlns:a16="http://schemas.microsoft.com/office/drawing/2014/main" id="{2B78F418-277A-C344-91DA-E967C0CC93C9}"/>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0" name="Central African Republic">
                <a:extLst>
                  <a:ext uri="{FF2B5EF4-FFF2-40B4-BE49-F238E27FC236}">
                    <a16:creationId xmlns:a16="http://schemas.microsoft.com/office/drawing/2014/main" id="{0700474E-E8DE-7749-82B1-CFDECC355050}"/>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1" name="Republic of the Congo">
                <a:extLst>
                  <a:ext uri="{FF2B5EF4-FFF2-40B4-BE49-F238E27FC236}">
                    <a16:creationId xmlns:a16="http://schemas.microsoft.com/office/drawing/2014/main" id="{CB828F23-54DC-9A46-8665-69748F584039}"/>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2" name="Djibouti">
                <a:extLst>
                  <a:ext uri="{FF2B5EF4-FFF2-40B4-BE49-F238E27FC236}">
                    <a16:creationId xmlns:a16="http://schemas.microsoft.com/office/drawing/2014/main" id="{58A71FC4-50DA-814B-8830-AE56D58F1A8B}"/>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3" name="Uganda">
                <a:extLst>
                  <a:ext uri="{FF2B5EF4-FFF2-40B4-BE49-F238E27FC236}">
                    <a16:creationId xmlns:a16="http://schemas.microsoft.com/office/drawing/2014/main" id="{2219DB13-B2A2-3B41-8CF0-C1BF148E0F85}"/>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4" name="Burundi">
                <a:extLst>
                  <a:ext uri="{FF2B5EF4-FFF2-40B4-BE49-F238E27FC236}">
                    <a16:creationId xmlns:a16="http://schemas.microsoft.com/office/drawing/2014/main" id="{EEC30E40-86D1-1343-86A8-5917772E37C9}"/>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5" name="Malawi">
                <a:extLst>
                  <a:ext uri="{FF2B5EF4-FFF2-40B4-BE49-F238E27FC236}">
                    <a16:creationId xmlns:a16="http://schemas.microsoft.com/office/drawing/2014/main" id="{99E3B4D9-E6A3-0346-B5F0-4D00ADFF24E1}"/>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6" name="Ethiopia">
                <a:extLst>
                  <a:ext uri="{FF2B5EF4-FFF2-40B4-BE49-F238E27FC236}">
                    <a16:creationId xmlns:a16="http://schemas.microsoft.com/office/drawing/2014/main" id="{6857D000-EF67-E848-8F10-A3C74F2A9D3B}"/>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7" name="Botswana">
                <a:extLst>
                  <a:ext uri="{FF2B5EF4-FFF2-40B4-BE49-F238E27FC236}">
                    <a16:creationId xmlns:a16="http://schemas.microsoft.com/office/drawing/2014/main" id="{8E879C6C-A8DE-AD42-BFD5-BA6E6DA2DCF6}"/>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8" name="Zimbabwe">
                <a:extLst>
                  <a:ext uri="{FF2B5EF4-FFF2-40B4-BE49-F238E27FC236}">
                    <a16:creationId xmlns:a16="http://schemas.microsoft.com/office/drawing/2014/main" id="{3D8B0C31-D777-AB4E-8694-FFB242BDAF29}"/>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29" name="Mozambique">
                <a:extLst>
                  <a:ext uri="{FF2B5EF4-FFF2-40B4-BE49-F238E27FC236}">
                    <a16:creationId xmlns:a16="http://schemas.microsoft.com/office/drawing/2014/main" id="{0455513F-FF47-B24B-AFA2-E0E376C008CE}"/>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0" name="Zambia">
                <a:extLst>
                  <a:ext uri="{FF2B5EF4-FFF2-40B4-BE49-F238E27FC236}">
                    <a16:creationId xmlns:a16="http://schemas.microsoft.com/office/drawing/2014/main" id="{35E82B87-B5EF-F64D-ADB0-13C5E22B6D12}"/>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1" name="Namibia">
                <a:extLst>
                  <a:ext uri="{FF2B5EF4-FFF2-40B4-BE49-F238E27FC236}">
                    <a16:creationId xmlns:a16="http://schemas.microsoft.com/office/drawing/2014/main" id="{D4CE51DD-A99A-E84C-9DAB-A8AD5BE6C998}"/>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2" name="Kenya">
                <a:extLst>
                  <a:ext uri="{FF2B5EF4-FFF2-40B4-BE49-F238E27FC236}">
                    <a16:creationId xmlns:a16="http://schemas.microsoft.com/office/drawing/2014/main" id="{4C3D2D63-7329-0745-8C66-B4C733749E5D}"/>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3" name="Angola">
                <a:extLst>
                  <a:ext uri="{FF2B5EF4-FFF2-40B4-BE49-F238E27FC236}">
                    <a16:creationId xmlns:a16="http://schemas.microsoft.com/office/drawing/2014/main" id="{E15C222A-712D-164F-AD2B-D4B13F4C682A}"/>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4" name="Tanzania">
                <a:extLst>
                  <a:ext uri="{FF2B5EF4-FFF2-40B4-BE49-F238E27FC236}">
                    <a16:creationId xmlns:a16="http://schemas.microsoft.com/office/drawing/2014/main" id="{C24B2819-9E89-AE4D-8575-D9B071FAEF6C}"/>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5" name="DR Congo">
                <a:extLst>
                  <a:ext uri="{FF2B5EF4-FFF2-40B4-BE49-F238E27FC236}">
                    <a16:creationId xmlns:a16="http://schemas.microsoft.com/office/drawing/2014/main" id="{F3D8A485-96F4-6A45-93E2-7CFE960DE55A}"/>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6" name="South Africa">
                <a:extLst>
                  <a:ext uri="{FF2B5EF4-FFF2-40B4-BE49-F238E27FC236}">
                    <a16:creationId xmlns:a16="http://schemas.microsoft.com/office/drawing/2014/main" id="{9E614261-5264-0C4A-9B0D-C0FF7E0DFA58}"/>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7" name="Madagascar">
                <a:extLst>
                  <a:ext uri="{FF2B5EF4-FFF2-40B4-BE49-F238E27FC236}">
                    <a16:creationId xmlns:a16="http://schemas.microsoft.com/office/drawing/2014/main" id="{B7F6AD65-EC88-B74E-8893-D864631B86B8}"/>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38" name="Ghana">
                <a:extLst>
                  <a:ext uri="{FF2B5EF4-FFF2-40B4-BE49-F238E27FC236}">
                    <a16:creationId xmlns:a16="http://schemas.microsoft.com/office/drawing/2014/main" id="{45AA0C3C-F60A-3848-89EF-C023DA5B7274}"/>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39" name="Liberia">
                <a:extLst>
                  <a:ext uri="{FF2B5EF4-FFF2-40B4-BE49-F238E27FC236}">
                    <a16:creationId xmlns:a16="http://schemas.microsoft.com/office/drawing/2014/main" id="{5A777BE6-5D15-A442-85A3-B96451A13A74}"/>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0" name="Cote d'Ivoire">
                <a:extLst>
                  <a:ext uri="{FF2B5EF4-FFF2-40B4-BE49-F238E27FC236}">
                    <a16:creationId xmlns:a16="http://schemas.microsoft.com/office/drawing/2014/main" id="{BD4E539E-36E0-6845-A474-03FDD6AAE143}"/>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1" name="Benin">
                <a:extLst>
                  <a:ext uri="{FF2B5EF4-FFF2-40B4-BE49-F238E27FC236}">
                    <a16:creationId xmlns:a16="http://schemas.microsoft.com/office/drawing/2014/main" id="{2DB764B4-D978-F143-B4D8-F46D19ECB56E}"/>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2" name="Togo">
                <a:extLst>
                  <a:ext uri="{FF2B5EF4-FFF2-40B4-BE49-F238E27FC236}">
                    <a16:creationId xmlns:a16="http://schemas.microsoft.com/office/drawing/2014/main" id="{FF99142A-4AF5-C44C-A6AF-5617034EC4BB}"/>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3" name="Cameroon">
                <a:extLst>
                  <a:ext uri="{FF2B5EF4-FFF2-40B4-BE49-F238E27FC236}">
                    <a16:creationId xmlns:a16="http://schemas.microsoft.com/office/drawing/2014/main" id="{64B142E0-B389-9440-AF7D-61C27FD158FB}"/>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4" name="Nigeria">
                <a:extLst>
                  <a:ext uri="{FF2B5EF4-FFF2-40B4-BE49-F238E27FC236}">
                    <a16:creationId xmlns:a16="http://schemas.microsoft.com/office/drawing/2014/main" id="{F26AD733-DBA6-C84D-ABFD-8CA81CCE564D}"/>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5" name="Equatorial Guinea">
                <a:extLst>
                  <a:ext uri="{FF2B5EF4-FFF2-40B4-BE49-F238E27FC236}">
                    <a16:creationId xmlns:a16="http://schemas.microsoft.com/office/drawing/2014/main" id="{2917CA8F-A9D9-6E44-BF63-93EF6913D608}"/>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6" name="Gabon">
                <a:extLst>
                  <a:ext uri="{FF2B5EF4-FFF2-40B4-BE49-F238E27FC236}">
                    <a16:creationId xmlns:a16="http://schemas.microsoft.com/office/drawing/2014/main" id="{96EBBEA9-2196-C74F-AC21-268DE238B04C}"/>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7" name="Mauritania">
                <a:extLst>
                  <a:ext uri="{FF2B5EF4-FFF2-40B4-BE49-F238E27FC236}">
                    <a16:creationId xmlns:a16="http://schemas.microsoft.com/office/drawing/2014/main" id="{93F501F5-5DE0-F947-8B0D-D8FAFF56C1B1}"/>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8" name="Algeria">
                <a:extLst>
                  <a:ext uri="{FF2B5EF4-FFF2-40B4-BE49-F238E27FC236}">
                    <a16:creationId xmlns:a16="http://schemas.microsoft.com/office/drawing/2014/main" id="{26A09682-D584-4341-8348-5D1DA1B05EAD}"/>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49" name="Niger">
                <a:extLst>
                  <a:ext uri="{FF2B5EF4-FFF2-40B4-BE49-F238E27FC236}">
                    <a16:creationId xmlns:a16="http://schemas.microsoft.com/office/drawing/2014/main" id="{7E12CD82-3E6A-3E4C-8614-8594D631178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0" name="Mali">
                <a:extLst>
                  <a:ext uri="{FF2B5EF4-FFF2-40B4-BE49-F238E27FC236}">
                    <a16:creationId xmlns:a16="http://schemas.microsoft.com/office/drawing/2014/main" id="{EC805547-718A-224D-A3EA-3761B09F9F1E}"/>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1" name="Burkina Faso">
                <a:extLst>
                  <a:ext uri="{FF2B5EF4-FFF2-40B4-BE49-F238E27FC236}">
                    <a16:creationId xmlns:a16="http://schemas.microsoft.com/office/drawing/2014/main" id="{93C5907C-38FD-E34A-91BA-0F7290492B48}"/>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2" name="Chad">
                <a:extLst>
                  <a:ext uri="{FF2B5EF4-FFF2-40B4-BE49-F238E27FC236}">
                    <a16:creationId xmlns:a16="http://schemas.microsoft.com/office/drawing/2014/main" id="{741F2846-0A6A-E944-8670-CCCF5325B7AD}"/>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3" name="Western Sahara">
                <a:extLst>
                  <a:ext uri="{FF2B5EF4-FFF2-40B4-BE49-F238E27FC236}">
                    <a16:creationId xmlns:a16="http://schemas.microsoft.com/office/drawing/2014/main" id="{EAFEC65A-0781-874E-821C-BAAEB916765E}"/>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4" name="Senegal">
                <a:extLst>
                  <a:ext uri="{FF2B5EF4-FFF2-40B4-BE49-F238E27FC236}">
                    <a16:creationId xmlns:a16="http://schemas.microsoft.com/office/drawing/2014/main" id="{4AC916C2-6CE3-0347-BABF-7BBBDF450271}"/>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5" name="Gambia">
                <a:extLst>
                  <a:ext uri="{FF2B5EF4-FFF2-40B4-BE49-F238E27FC236}">
                    <a16:creationId xmlns:a16="http://schemas.microsoft.com/office/drawing/2014/main" id="{54BC8755-A094-694B-9A0A-3196CA629EC3}"/>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6" name="Guinea-Bissau">
                <a:extLst>
                  <a:ext uri="{FF2B5EF4-FFF2-40B4-BE49-F238E27FC236}">
                    <a16:creationId xmlns:a16="http://schemas.microsoft.com/office/drawing/2014/main" id="{46CB0A92-B75B-E942-8BBF-B6C78BE2207E}"/>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7" name="Guinea">
                <a:extLst>
                  <a:ext uri="{FF2B5EF4-FFF2-40B4-BE49-F238E27FC236}">
                    <a16:creationId xmlns:a16="http://schemas.microsoft.com/office/drawing/2014/main" id="{50C2EF5B-B26E-8943-B19A-638AB913EDC0}"/>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8" name="Sierra Leone">
                <a:extLst>
                  <a:ext uri="{FF2B5EF4-FFF2-40B4-BE49-F238E27FC236}">
                    <a16:creationId xmlns:a16="http://schemas.microsoft.com/office/drawing/2014/main" id="{3B2724ED-E389-B04D-A5C0-EFAF37FA2971}"/>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59" name="Sudan">
                <a:extLst>
                  <a:ext uri="{FF2B5EF4-FFF2-40B4-BE49-F238E27FC236}">
                    <a16:creationId xmlns:a16="http://schemas.microsoft.com/office/drawing/2014/main" id="{30232E00-2ADD-2043-B99E-343E96351990}"/>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0" name="Libya">
                <a:extLst>
                  <a:ext uri="{FF2B5EF4-FFF2-40B4-BE49-F238E27FC236}">
                    <a16:creationId xmlns:a16="http://schemas.microsoft.com/office/drawing/2014/main" id="{E66F45C3-A3EB-A648-9097-45D097299629}"/>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61" name="Eritrea">
                <a:extLst>
                  <a:ext uri="{FF2B5EF4-FFF2-40B4-BE49-F238E27FC236}">
                    <a16:creationId xmlns:a16="http://schemas.microsoft.com/office/drawing/2014/main" id="{3C23E3D8-64CE-4C4E-A6C0-6A75004E67ED}"/>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6" name="Asia">
              <a:extLst>
                <a:ext uri="{FF2B5EF4-FFF2-40B4-BE49-F238E27FC236}">
                  <a16:creationId xmlns:a16="http://schemas.microsoft.com/office/drawing/2014/main" id="{7B875672-0F66-AB4A-BCB3-C0C0DFBD5D66}"/>
                </a:ext>
              </a:extLst>
            </p:cNvPr>
            <p:cNvGrpSpPr/>
            <p:nvPr/>
          </p:nvGrpSpPr>
          <p:grpSpPr>
            <a:xfrm>
              <a:off x="9205019" y="2342186"/>
              <a:ext cx="1751190" cy="1329174"/>
              <a:chOff x="5943760" y="2896547"/>
              <a:chExt cx="2216715" cy="1682513"/>
            </a:xfrm>
            <a:grpFill/>
          </p:grpSpPr>
          <p:sp>
            <p:nvSpPr>
              <p:cNvPr id="1790" name="China (Aksai Chin)">
                <a:extLst>
                  <a:ext uri="{FF2B5EF4-FFF2-40B4-BE49-F238E27FC236}">
                    <a16:creationId xmlns:a16="http://schemas.microsoft.com/office/drawing/2014/main" id="{EDD8AB33-4E7E-E243-9A1D-AAEC2F5909CE}"/>
                  </a:ext>
                </a:extLst>
              </p:cNvPr>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1" name="Indonesia">
                <a:extLst>
                  <a:ext uri="{FF2B5EF4-FFF2-40B4-BE49-F238E27FC236}">
                    <a16:creationId xmlns:a16="http://schemas.microsoft.com/office/drawing/2014/main" id="{3117CF29-2B9D-7244-9CE5-90A57F2D9760}"/>
                  </a:ext>
                </a:extLst>
              </p:cNvPr>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2" name="China">
                <a:extLst>
                  <a:ext uri="{FF2B5EF4-FFF2-40B4-BE49-F238E27FC236}">
                    <a16:creationId xmlns:a16="http://schemas.microsoft.com/office/drawing/2014/main" id="{392FB34B-9BDA-994D-AB4D-54D651D4EAAC}"/>
                  </a:ext>
                </a:extLst>
              </p:cNvPr>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3" name="India">
                <a:extLst>
                  <a:ext uri="{FF2B5EF4-FFF2-40B4-BE49-F238E27FC236}">
                    <a16:creationId xmlns:a16="http://schemas.microsoft.com/office/drawing/2014/main" id="{762BC207-BC68-0241-844B-64B0DC5C1E7F}"/>
                  </a:ext>
                </a:extLst>
              </p:cNvPr>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4" name="South Korea">
                <a:extLst>
                  <a:ext uri="{FF2B5EF4-FFF2-40B4-BE49-F238E27FC236}">
                    <a16:creationId xmlns:a16="http://schemas.microsoft.com/office/drawing/2014/main" id="{A7D6F805-58D1-7445-AC8C-1B68AC1DFCFE}"/>
                  </a:ext>
                </a:extLst>
              </p:cNvPr>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5" name="Japan">
                <a:extLst>
                  <a:ext uri="{FF2B5EF4-FFF2-40B4-BE49-F238E27FC236}">
                    <a16:creationId xmlns:a16="http://schemas.microsoft.com/office/drawing/2014/main" id="{4EB128BB-6A4B-3448-A75A-722832FC4F65}"/>
                  </a:ext>
                </a:extLst>
              </p:cNvPr>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96" name="Papua New Guinea">
                <a:extLst>
                  <a:ext uri="{FF2B5EF4-FFF2-40B4-BE49-F238E27FC236}">
                    <a16:creationId xmlns:a16="http://schemas.microsoft.com/office/drawing/2014/main" id="{FA5CE3D0-F0F5-7241-A640-FC3AB46B7C33}"/>
                  </a:ext>
                </a:extLst>
              </p:cNvPr>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7" name="North Korea">
                <a:extLst>
                  <a:ext uri="{FF2B5EF4-FFF2-40B4-BE49-F238E27FC236}">
                    <a16:creationId xmlns:a16="http://schemas.microsoft.com/office/drawing/2014/main" id="{9D168FB5-B5F5-4F42-9F11-0B600B796DE7}"/>
                  </a:ext>
                </a:extLst>
              </p:cNvPr>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8" name="Nepal">
                <a:extLst>
                  <a:ext uri="{FF2B5EF4-FFF2-40B4-BE49-F238E27FC236}">
                    <a16:creationId xmlns:a16="http://schemas.microsoft.com/office/drawing/2014/main" id="{09B33854-D74B-664A-97B2-584957594021}"/>
                  </a:ext>
                </a:extLst>
              </p:cNvPr>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99" name="Myanmar">
                <a:extLst>
                  <a:ext uri="{FF2B5EF4-FFF2-40B4-BE49-F238E27FC236}">
                    <a16:creationId xmlns:a16="http://schemas.microsoft.com/office/drawing/2014/main" id="{F63EFEE5-F56A-7344-B106-15F05E99F6A5}"/>
                  </a:ext>
                </a:extLst>
              </p:cNvP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0" name="Bhutan">
                <a:extLst>
                  <a:ext uri="{FF2B5EF4-FFF2-40B4-BE49-F238E27FC236}">
                    <a16:creationId xmlns:a16="http://schemas.microsoft.com/office/drawing/2014/main" id="{EFD678DD-2468-FE45-AF43-A14E74B6076F}"/>
                  </a:ext>
                </a:extLst>
              </p:cNvPr>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1" name="Vietnam">
                <a:extLst>
                  <a:ext uri="{FF2B5EF4-FFF2-40B4-BE49-F238E27FC236}">
                    <a16:creationId xmlns:a16="http://schemas.microsoft.com/office/drawing/2014/main" id="{96B5BBB0-18C6-884C-8E52-B7161C8C2139}"/>
                  </a:ext>
                </a:extLst>
              </p:cNvPr>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2" name="Cambodia">
                <a:extLst>
                  <a:ext uri="{FF2B5EF4-FFF2-40B4-BE49-F238E27FC236}">
                    <a16:creationId xmlns:a16="http://schemas.microsoft.com/office/drawing/2014/main" id="{EDF77261-7482-5543-A2EC-1C42540D20C3}"/>
                  </a:ext>
                </a:extLst>
              </p:cNvPr>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3" name="Laos">
                <a:extLst>
                  <a:ext uri="{FF2B5EF4-FFF2-40B4-BE49-F238E27FC236}">
                    <a16:creationId xmlns:a16="http://schemas.microsoft.com/office/drawing/2014/main" id="{38E27068-2091-5B49-BEE7-4D0FE7326798}"/>
                  </a:ext>
                </a:extLst>
              </p:cNvPr>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4" name="Thailand">
                <a:extLst>
                  <a:ext uri="{FF2B5EF4-FFF2-40B4-BE49-F238E27FC236}">
                    <a16:creationId xmlns:a16="http://schemas.microsoft.com/office/drawing/2014/main" id="{42D14E4B-7D86-FB48-991E-D4F2BF148F2A}"/>
                  </a:ext>
                </a:extLst>
              </p:cNvPr>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5" name="Bangladesh">
                <a:extLst>
                  <a:ext uri="{FF2B5EF4-FFF2-40B4-BE49-F238E27FC236}">
                    <a16:creationId xmlns:a16="http://schemas.microsoft.com/office/drawing/2014/main" id="{4FD64113-1569-4F4E-B728-2BA1435FD1A6}"/>
                  </a:ext>
                </a:extLst>
              </p:cNvPr>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6" name="Phillippines">
                <a:extLst>
                  <a:ext uri="{FF2B5EF4-FFF2-40B4-BE49-F238E27FC236}">
                    <a16:creationId xmlns:a16="http://schemas.microsoft.com/office/drawing/2014/main" id="{AC484B53-C697-A045-9A4E-BA0C52949F2B}"/>
                  </a:ext>
                </a:extLst>
              </p:cNvPr>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07" name="Solomon Islands">
                <a:extLst>
                  <a:ext uri="{FF2B5EF4-FFF2-40B4-BE49-F238E27FC236}">
                    <a16:creationId xmlns:a16="http://schemas.microsoft.com/office/drawing/2014/main" id="{7A311EAE-99DA-AB4B-AA2B-DDBCA87DE53E}"/>
                  </a:ext>
                </a:extLst>
              </p:cNvPr>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8" name="Mongolia">
                <a:extLst>
                  <a:ext uri="{FF2B5EF4-FFF2-40B4-BE49-F238E27FC236}">
                    <a16:creationId xmlns:a16="http://schemas.microsoft.com/office/drawing/2014/main" id="{DB240F75-AC9B-A541-8091-67B30029791B}"/>
                  </a:ext>
                </a:extLst>
              </p:cNvPr>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09" name="Malaysia">
                <a:extLst>
                  <a:ext uri="{FF2B5EF4-FFF2-40B4-BE49-F238E27FC236}">
                    <a16:creationId xmlns:a16="http://schemas.microsoft.com/office/drawing/2014/main" id="{17E2EAB5-7265-AF4F-9C1B-89DAECB9AC9B}"/>
                  </a:ext>
                </a:extLst>
              </p:cNvPr>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810" name="Brunei">
                <a:extLst>
                  <a:ext uri="{FF2B5EF4-FFF2-40B4-BE49-F238E27FC236}">
                    <a16:creationId xmlns:a16="http://schemas.microsoft.com/office/drawing/2014/main" id="{08FA2E2E-7B07-D748-9D88-83E605BFF76E}"/>
                  </a:ext>
                </a:extLst>
              </p:cNvPr>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1" name="Sri Lanka">
                <a:extLst>
                  <a:ext uri="{FF2B5EF4-FFF2-40B4-BE49-F238E27FC236}">
                    <a16:creationId xmlns:a16="http://schemas.microsoft.com/office/drawing/2014/main" id="{DDBC8C89-1A66-4B4A-893D-0710474DB438}"/>
                  </a:ext>
                </a:extLst>
              </p:cNvPr>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812" name="Timor-Leste">
                <a:extLst>
                  <a:ext uri="{FF2B5EF4-FFF2-40B4-BE49-F238E27FC236}">
                    <a16:creationId xmlns:a16="http://schemas.microsoft.com/office/drawing/2014/main" id="{4CE8D024-AB00-9347-B188-FEF250828BEF}"/>
                  </a:ext>
                </a:extLst>
              </p:cNvPr>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7" name="Middle East">
              <a:extLst>
                <a:ext uri="{FF2B5EF4-FFF2-40B4-BE49-F238E27FC236}">
                  <a16:creationId xmlns:a16="http://schemas.microsoft.com/office/drawing/2014/main" id="{163836FD-0F66-0C47-A29E-3109D505B417}"/>
                </a:ext>
              </a:extLst>
            </p:cNvPr>
            <p:cNvGrpSpPr/>
            <p:nvPr/>
          </p:nvGrpSpPr>
          <p:grpSpPr>
            <a:xfrm>
              <a:off x="8556212" y="2663665"/>
              <a:ext cx="819482" cy="554115"/>
              <a:chOff x="5122480" y="3303486"/>
              <a:chExt cx="1037328" cy="701418"/>
            </a:xfrm>
            <a:grpFill/>
          </p:grpSpPr>
          <p:sp>
            <p:nvSpPr>
              <p:cNvPr id="1775" name="Saudi Arabia">
                <a:extLst>
                  <a:ext uri="{FF2B5EF4-FFF2-40B4-BE49-F238E27FC236}">
                    <a16:creationId xmlns:a16="http://schemas.microsoft.com/office/drawing/2014/main" id="{680DB3D8-31C8-2745-8AFD-FABD959B27E0}"/>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6" name="Afghanistan">
                <a:extLst>
                  <a:ext uri="{FF2B5EF4-FFF2-40B4-BE49-F238E27FC236}">
                    <a16:creationId xmlns:a16="http://schemas.microsoft.com/office/drawing/2014/main" id="{1FE43339-6679-5F4F-8B21-CF9FA2957426}"/>
                  </a:ext>
                </a:extLst>
              </p:cNvPr>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7" name="Pakistan">
                <a:extLst>
                  <a:ext uri="{FF2B5EF4-FFF2-40B4-BE49-F238E27FC236}">
                    <a16:creationId xmlns:a16="http://schemas.microsoft.com/office/drawing/2014/main" id="{FAAB8C0C-3D70-C640-958B-0C5300C108A4}"/>
                  </a:ext>
                </a:extLst>
              </p:cNvPr>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8" name="Iran">
                <a:extLst>
                  <a:ext uri="{FF2B5EF4-FFF2-40B4-BE49-F238E27FC236}">
                    <a16:creationId xmlns:a16="http://schemas.microsoft.com/office/drawing/2014/main" id="{83FB8AAB-6285-8245-B42B-439F69943E32}"/>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9" name="Iraq">
                <a:extLst>
                  <a:ext uri="{FF2B5EF4-FFF2-40B4-BE49-F238E27FC236}">
                    <a16:creationId xmlns:a16="http://schemas.microsoft.com/office/drawing/2014/main" id="{D232C46F-1CD3-D14F-8D2F-0F1AEC8A189E}"/>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0" name="Kuwait">
                <a:extLst>
                  <a:ext uri="{FF2B5EF4-FFF2-40B4-BE49-F238E27FC236}">
                    <a16:creationId xmlns:a16="http://schemas.microsoft.com/office/drawing/2014/main" id="{2F4CD7AB-98E6-D444-866F-4C930B057D04}"/>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1" name="Yemen">
                <a:extLst>
                  <a:ext uri="{FF2B5EF4-FFF2-40B4-BE49-F238E27FC236}">
                    <a16:creationId xmlns:a16="http://schemas.microsoft.com/office/drawing/2014/main" id="{7365F785-291E-414F-BF80-C9DCE2B81B2F}"/>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2" name="Oman">
                <a:extLst>
                  <a:ext uri="{FF2B5EF4-FFF2-40B4-BE49-F238E27FC236}">
                    <a16:creationId xmlns:a16="http://schemas.microsoft.com/office/drawing/2014/main" id="{534BAFE2-1993-3B44-86CD-2CFBA2322B62}"/>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3" name="Qatar">
                <a:extLst>
                  <a:ext uri="{FF2B5EF4-FFF2-40B4-BE49-F238E27FC236}">
                    <a16:creationId xmlns:a16="http://schemas.microsoft.com/office/drawing/2014/main" id="{0D1D6022-6AA4-DF48-AC70-7DE0FEFD0BCB}"/>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4" name="UAE">
                <a:extLst>
                  <a:ext uri="{FF2B5EF4-FFF2-40B4-BE49-F238E27FC236}">
                    <a16:creationId xmlns:a16="http://schemas.microsoft.com/office/drawing/2014/main" id="{521FD381-6BDB-204A-9C69-6CE3E79244BB}"/>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5" name="West Bank">
                <a:extLst>
                  <a:ext uri="{FF2B5EF4-FFF2-40B4-BE49-F238E27FC236}">
                    <a16:creationId xmlns:a16="http://schemas.microsoft.com/office/drawing/2014/main" id="{EAF2F655-C5C1-7940-B152-DA2A9767AD5C}"/>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6" name="Israel">
                <a:extLst>
                  <a:ext uri="{FF2B5EF4-FFF2-40B4-BE49-F238E27FC236}">
                    <a16:creationId xmlns:a16="http://schemas.microsoft.com/office/drawing/2014/main" id="{577F79CE-C918-3C48-8CA1-7254CA42A7FA}"/>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87" name="Jordan">
                <a:extLst>
                  <a:ext uri="{FF2B5EF4-FFF2-40B4-BE49-F238E27FC236}">
                    <a16:creationId xmlns:a16="http://schemas.microsoft.com/office/drawing/2014/main" id="{3F726D53-9DD7-B043-B144-A1F4DEDB1ABD}"/>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8" name="Lebanon">
                <a:extLst>
                  <a:ext uri="{FF2B5EF4-FFF2-40B4-BE49-F238E27FC236}">
                    <a16:creationId xmlns:a16="http://schemas.microsoft.com/office/drawing/2014/main" id="{7753A3FB-57C6-3C40-B4C8-0AD2B541D722}"/>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89" name="Syria">
                <a:extLst>
                  <a:ext uri="{FF2B5EF4-FFF2-40B4-BE49-F238E27FC236}">
                    <a16:creationId xmlns:a16="http://schemas.microsoft.com/office/drawing/2014/main" id="{79E8DBED-53FD-A14B-B421-8C54E8FCDBF7}"/>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8" name="Carribean">
              <a:extLst>
                <a:ext uri="{FF2B5EF4-FFF2-40B4-BE49-F238E27FC236}">
                  <a16:creationId xmlns:a16="http://schemas.microsoft.com/office/drawing/2014/main" id="{D572D9C5-33DE-8042-9499-3A024630755E}"/>
                </a:ext>
              </a:extLst>
            </p:cNvPr>
            <p:cNvGrpSpPr/>
            <p:nvPr/>
          </p:nvGrpSpPr>
          <p:grpSpPr>
            <a:xfrm>
              <a:off x="6325723" y="2973456"/>
              <a:ext cx="360058" cy="147297"/>
              <a:chOff x="2299052" y="3695629"/>
              <a:chExt cx="455774" cy="186453"/>
            </a:xfrm>
            <a:grpFill/>
          </p:grpSpPr>
          <p:sp>
            <p:nvSpPr>
              <p:cNvPr id="1769" name="Bahamas">
                <a:extLst>
                  <a:ext uri="{FF2B5EF4-FFF2-40B4-BE49-F238E27FC236}">
                    <a16:creationId xmlns:a16="http://schemas.microsoft.com/office/drawing/2014/main" id="{CE1EE2C1-DD81-274A-9789-9AD8B24E6162}"/>
                  </a:ext>
                </a:extLst>
              </p:cNvPr>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70" name="Puerto Rico">
                <a:extLst>
                  <a:ext uri="{FF2B5EF4-FFF2-40B4-BE49-F238E27FC236}">
                    <a16:creationId xmlns:a16="http://schemas.microsoft.com/office/drawing/2014/main" id="{6730E875-8BDA-F342-9751-8FFD3724AB93}"/>
                  </a:ext>
                </a:extLst>
              </p:cNvPr>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1" name="Dominican Republic">
                <a:extLst>
                  <a:ext uri="{FF2B5EF4-FFF2-40B4-BE49-F238E27FC236}">
                    <a16:creationId xmlns:a16="http://schemas.microsoft.com/office/drawing/2014/main" id="{602D5577-E3E4-B14F-9D3B-525534F007B9}"/>
                  </a:ext>
                </a:extLst>
              </p:cNvPr>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2" name="Haiti">
                <a:extLst>
                  <a:ext uri="{FF2B5EF4-FFF2-40B4-BE49-F238E27FC236}">
                    <a16:creationId xmlns:a16="http://schemas.microsoft.com/office/drawing/2014/main" id="{34206862-2499-4B42-992D-9EE0B79E96BF}"/>
                  </a:ext>
                </a:extLst>
              </p:cNvPr>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3" name="Jamaica">
                <a:extLst>
                  <a:ext uri="{FF2B5EF4-FFF2-40B4-BE49-F238E27FC236}">
                    <a16:creationId xmlns:a16="http://schemas.microsoft.com/office/drawing/2014/main" id="{21B3B0C9-39E5-E845-B814-14AE1EE10A44}"/>
                  </a:ext>
                </a:extLst>
              </p:cNvPr>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74" name="Cuba">
                <a:extLst>
                  <a:ext uri="{FF2B5EF4-FFF2-40B4-BE49-F238E27FC236}">
                    <a16:creationId xmlns:a16="http://schemas.microsoft.com/office/drawing/2014/main" id="{51748BFA-2306-0046-9DD8-7C00A640FE7E}"/>
                  </a:ext>
                </a:extLst>
              </p:cNvPr>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89" name="Central America">
              <a:extLst>
                <a:ext uri="{FF2B5EF4-FFF2-40B4-BE49-F238E27FC236}">
                  <a16:creationId xmlns:a16="http://schemas.microsoft.com/office/drawing/2014/main" id="{BCE28E4E-D009-8E42-9FC5-BD5E4C19D058}"/>
                </a:ext>
              </a:extLst>
            </p:cNvPr>
            <p:cNvGrpSpPr/>
            <p:nvPr/>
          </p:nvGrpSpPr>
          <p:grpSpPr>
            <a:xfrm>
              <a:off x="6174921" y="3107893"/>
              <a:ext cx="291086" cy="216269"/>
              <a:chOff x="2108160" y="3865804"/>
              <a:chExt cx="368467" cy="273761"/>
            </a:xfrm>
            <a:grpFill/>
          </p:grpSpPr>
          <p:sp>
            <p:nvSpPr>
              <p:cNvPr id="1762" name="Belize">
                <a:extLst>
                  <a:ext uri="{FF2B5EF4-FFF2-40B4-BE49-F238E27FC236}">
                    <a16:creationId xmlns:a16="http://schemas.microsoft.com/office/drawing/2014/main" id="{FEF151AC-2B99-6947-B2A3-04C33BD8BA92}"/>
                  </a:ext>
                </a:extLst>
              </p:cNvPr>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3" name="El Salvador">
                <a:extLst>
                  <a:ext uri="{FF2B5EF4-FFF2-40B4-BE49-F238E27FC236}">
                    <a16:creationId xmlns:a16="http://schemas.microsoft.com/office/drawing/2014/main" id="{6E8E3378-4E45-DD4E-BA12-6D3526C2CA46}"/>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4" name="Guatemala">
                <a:extLst>
                  <a:ext uri="{FF2B5EF4-FFF2-40B4-BE49-F238E27FC236}">
                    <a16:creationId xmlns:a16="http://schemas.microsoft.com/office/drawing/2014/main" id="{2AC0F07F-1180-CC40-B3AB-5436A360EFA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5" name="Honduras">
                <a:extLst>
                  <a:ext uri="{FF2B5EF4-FFF2-40B4-BE49-F238E27FC236}">
                    <a16:creationId xmlns:a16="http://schemas.microsoft.com/office/drawing/2014/main" id="{0DEB5905-D358-404E-8731-018E910B5B2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6" name="Nicaragua">
                <a:extLst>
                  <a:ext uri="{FF2B5EF4-FFF2-40B4-BE49-F238E27FC236}">
                    <a16:creationId xmlns:a16="http://schemas.microsoft.com/office/drawing/2014/main" id="{12294AEF-84A3-A24C-A1F4-7B7B77FBA742}"/>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7" name="Costa Rica">
                <a:extLst>
                  <a:ext uri="{FF2B5EF4-FFF2-40B4-BE49-F238E27FC236}">
                    <a16:creationId xmlns:a16="http://schemas.microsoft.com/office/drawing/2014/main" id="{A7A38BC2-EC69-2B4E-8D06-25EA0DC7D5A3}"/>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68" name="Panama">
                <a:extLst>
                  <a:ext uri="{FF2B5EF4-FFF2-40B4-BE49-F238E27FC236}">
                    <a16:creationId xmlns:a16="http://schemas.microsoft.com/office/drawing/2014/main" id="{2AA91A10-2FA7-D04D-971B-C494B6F6CE3F}"/>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0" name="South America">
              <a:extLst>
                <a:ext uri="{FF2B5EF4-FFF2-40B4-BE49-F238E27FC236}">
                  <a16:creationId xmlns:a16="http://schemas.microsoft.com/office/drawing/2014/main" id="{B39222A5-EC9F-8C41-8438-858E6BCB0FD7}"/>
                </a:ext>
              </a:extLst>
            </p:cNvPr>
            <p:cNvGrpSpPr/>
            <p:nvPr/>
          </p:nvGrpSpPr>
          <p:grpSpPr>
            <a:xfrm>
              <a:off x="6386513" y="3223626"/>
              <a:ext cx="881440" cy="1415683"/>
              <a:chOff x="2376001" y="4012303"/>
              <a:chExt cx="1115757" cy="1792019"/>
            </a:xfrm>
            <a:grpFill/>
          </p:grpSpPr>
          <p:sp>
            <p:nvSpPr>
              <p:cNvPr id="1748" name="Trinidad and Tobago">
                <a:extLst>
                  <a:ext uri="{FF2B5EF4-FFF2-40B4-BE49-F238E27FC236}">
                    <a16:creationId xmlns:a16="http://schemas.microsoft.com/office/drawing/2014/main" id="{993ADFEA-3920-B34A-8EE3-6D2620846B87}"/>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9" name="Suriname">
                <a:extLst>
                  <a:ext uri="{FF2B5EF4-FFF2-40B4-BE49-F238E27FC236}">
                    <a16:creationId xmlns:a16="http://schemas.microsoft.com/office/drawing/2014/main" id="{7FF1D7A9-1D7C-0F4E-A6C2-9E9C4BB9EA03}"/>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0" name="French Guiana">
                <a:extLst>
                  <a:ext uri="{FF2B5EF4-FFF2-40B4-BE49-F238E27FC236}">
                    <a16:creationId xmlns:a16="http://schemas.microsoft.com/office/drawing/2014/main" id="{CD4186B7-0BD8-2441-9593-128502FE470B}"/>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1" name="Guyana">
                <a:extLst>
                  <a:ext uri="{FF2B5EF4-FFF2-40B4-BE49-F238E27FC236}">
                    <a16:creationId xmlns:a16="http://schemas.microsoft.com/office/drawing/2014/main" id="{26A417DB-9552-B643-B482-C882546946D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2" name="Uruguay">
                <a:extLst>
                  <a:ext uri="{FF2B5EF4-FFF2-40B4-BE49-F238E27FC236}">
                    <a16:creationId xmlns:a16="http://schemas.microsoft.com/office/drawing/2014/main" id="{AF4FCA52-3D30-5344-8DFB-EE6FFBD52911}"/>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3" name="Paraguay">
                <a:extLst>
                  <a:ext uri="{FF2B5EF4-FFF2-40B4-BE49-F238E27FC236}">
                    <a16:creationId xmlns:a16="http://schemas.microsoft.com/office/drawing/2014/main" id="{E596405C-9430-CD4A-8474-CD949E7A9CDB}"/>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4" name="Ecuador">
                <a:extLst>
                  <a:ext uri="{FF2B5EF4-FFF2-40B4-BE49-F238E27FC236}">
                    <a16:creationId xmlns:a16="http://schemas.microsoft.com/office/drawing/2014/main" id="{B55CE0C5-4D1D-184D-9D23-A872DFDA913C}"/>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5" name="Bolivia">
                <a:extLst>
                  <a:ext uri="{FF2B5EF4-FFF2-40B4-BE49-F238E27FC236}">
                    <a16:creationId xmlns:a16="http://schemas.microsoft.com/office/drawing/2014/main" id="{192CD1EB-E06C-5A43-8270-31B0B72E9F2C}"/>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6" name="Peru">
                <a:extLst>
                  <a:ext uri="{FF2B5EF4-FFF2-40B4-BE49-F238E27FC236}">
                    <a16:creationId xmlns:a16="http://schemas.microsoft.com/office/drawing/2014/main" id="{66DFF972-B531-8241-B427-BE31AE282426}"/>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7" name="Colombia">
                <a:extLst>
                  <a:ext uri="{FF2B5EF4-FFF2-40B4-BE49-F238E27FC236}">
                    <a16:creationId xmlns:a16="http://schemas.microsoft.com/office/drawing/2014/main" id="{D78BF440-4D3D-3B4C-9330-DB1B098E2CED}"/>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8" name="Venezuela">
                <a:extLst>
                  <a:ext uri="{FF2B5EF4-FFF2-40B4-BE49-F238E27FC236}">
                    <a16:creationId xmlns:a16="http://schemas.microsoft.com/office/drawing/2014/main" id="{82F64E1B-2CC7-6840-A7BD-9D640442DD96}"/>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59" name="Argentina">
                <a:extLst>
                  <a:ext uri="{FF2B5EF4-FFF2-40B4-BE49-F238E27FC236}">
                    <a16:creationId xmlns:a16="http://schemas.microsoft.com/office/drawing/2014/main" id="{C14B9309-CE22-8949-9FE1-D6866BD4809C}"/>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0" name="Brazil">
                <a:extLst>
                  <a:ext uri="{FF2B5EF4-FFF2-40B4-BE49-F238E27FC236}">
                    <a16:creationId xmlns:a16="http://schemas.microsoft.com/office/drawing/2014/main" id="{4AFC5298-11B6-7947-8EF3-5FED4C8E5CFF}"/>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61" name="Chile">
                <a:extLst>
                  <a:ext uri="{FF2B5EF4-FFF2-40B4-BE49-F238E27FC236}">
                    <a16:creationId xmlns:a16="http://schemas.microsoft.com/office/drawing/2014/main" id="{07AFEFFC-0D21-A94A-BF27-679D481E2738}"/>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1" name="Oceana">
              <a:extLst>
                <a:ext uri="{FF2B5EF4-FFF2-40B4-BE49-F238E27FC236}">
                  <a16:creationId xmlns:a16="http://schemas.microsoft.com/office/drawing/2014/main" id="{3C5FC313-8459-2A41-BE26-DC761E8764B1}"/>
                </a:ext>
              </a:extLst>
            </p:cNvPr>
            <p:cNvGrpSpPr/>
            <p:nvPr/>
          </p:nvGrpSpPr>
          <p:grpSpPr>
            <a:xfrm>
              <a:off x="10019823" y="3667853"/>
              <a:ext cx="1239161" cy="751679"/>
              <a:chOff x="6975168" y="4574621"/>
              <a:chExt cx="1568572" cy="951500"/>
            </a:xfrm>
            <a:grpFill/>
          </p:grpSpPr>
          <p:sp>
            <p:nvSpPr>
              <p:cNvPr id="1746" name="New Zealand">
                <a:extLst>
                  <a:ext uri="{FF2B5EF4-FFF2-40B4-BE49-F238E27FC236}">
                    <a16:creationId xmlns:a16="http://schemas.microsoft.com/office/drawing/2014/main" id="{A55B925B-0852-4A46-B712-B517155C4396}"/>
                  </a:ext>
                </a:extLst>
              </p:cNvPr>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7" name="Australia">
                <a:extLst>
                  <a:ext uri="{FF2B5EF4-FFF2-40B4-BE49-F238E27FC236}">
                    <a16:creationId xmlns:a16="http://schemas.microsoft.com/office/drawing/2014/main" id="{2AF1248A-98D0-7247-B623-ADF5C5AE6C2D}"/>
                  </a:ext>
                </a:extLst>
              </p:cNvPr>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2" name="North American">
              <a:extLst>
                <a:ext uri="{FF2B5EF4-FFF2-40B4-BE49-F238E27FC236}">
                  <a16:creationId xmlns:a16="http://schemas.microsoft.com/office/drawing/2014/main" id="{4B4568A1-272D-834C-AC31-CC587D9BF42A}"/>
                </a:ext>
              </a:extLst>
            </p:cNvPr>
            <p:cNvGrpSpPr/>
            <p:nvPr/>
          </p:nvGrpSpPr>
          <p:grpSpPr>
            <a:xfrm>
              <a:off x="4754563" y="1329815"/>
              <a:ext cx="2173207" cy="1845881"/>
              <a:chOff x="310223" y="1615054"/>
              <a:chExt cx="2750919" cy="2336578"/>
            </a:xfrm>
            <a:grpFill/>
          </p:grpSpPr>
          <p:sp>
            <p:nvSpPr>
              <p:cNvPr id="1743" name="Mexico">
                <a:extLst>
                  <a:ext uri="{FF2B5EF4-FFF2-40B4-BE49-F238E27FC236}">
                    <a16:creationId xmlns:a16="http://schemas.microsoft.com/office/drawing/2014/main" id="{852B721A-E382-2A4F-8C72-9C1950121FD6}"/>
                  </a:ext>
                </a:extLst>
              </p:cNvPr>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44" name="Canada">
                <a:extLst>
                  <a:ext uri="{FF2B5EF4-FFF2-40B4-BE49-F238E27FC236}">
                    <a16:creationId xmlns:a16="http://schemas.microsoft.com/office/drawing/2014/main" id="{33CC979B-8C7C-7A46-BA2D-AB93FC99EA6B}"/>
                  </a:ext>
                </a:extLst>
              </p:cNvPr>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5" name="United States">
                <a:extLst>
                  <a:ext uri="{FF2B5EF4-FFF2-40B4-BE49-F238E27FC236}">
                    <a16:creationId xmlns:a16="http://schemas.microsoft.com/office/drawing/2014/main" id="{2CDB15F7-6F66-4743-97EE-2D8468666523}"/>
                  </a:ext>
                </a:extLst>
              </p:cNvPr>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nvGrpSpPr>
            <p:cNvPr id="1693" name="Europe">
              <a:extLst>
                <a:ext uri="{FF2B5EF4-FFF2-40B4-BE49-F238E27FC236}">
                  <a16:creationId xmlns:a16="http://schemas.microsoft.com/office/drawing/2014/main" id="{F1098AB7-B984-4A48-8112-339D00C69E3D}"/>
                </a:ext>
              </a:extLst>
            </p:cNvPr>
            <p:cNvGrpSpPr/>
            <p:nvPr/>
          </p:nvGrpSpPr>
          <p:grpSpPr>
            <a:xfrm>
              <a:off x="6550176" y="1309941"/>
              <a:ext cx="4937937" cy="1464782"/>
              <a:chOff x="2583171" y="1589897"/>
              <a:chExt cx="6250607" cy="1854170"/>
            </a:xfrm>
            <a:grpFill/>
          </p:grpSpPr>
          <p:sp>
            <p:nvSpPr>
              <p:cNvPr id="1694" name="Serbia">
                <a:extLst>
                  <a:ext uri="{FF2B5EF4-FFF2-40B4-BE49-F238E27FC236}">
                    <a16:creationId xmlns:a16="http://schemas.microsoft.com/office/drawing/2014/main" id="{DFB9B124-B256-7C43-9609-7DC208E43A46}"/>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5" name="Kyrgystan">
                <a:extLst>
                  <a:ext uri="{FF2B5EF4-FFF2-40B4-BE49-F238E27FC236}">
                    <a16:creationId xmlns:a16="http://schemas.microsoft.com/office/drawing/2014/main" id="{FA93D83D-91C2-6043-8F31-98499D94173D}"/>
                  </a:ext>
                </a:extLst>
              </p:cNvPr>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6" name="Georgia">
                <a:extLst>
                  <a:ext uri="{FF2B5EF4-FFF2-40B4-BE49-F238E27FC236}">
                    <a16:creationId xmlns:a16="http://schemas.microsoft.com/office/drawing/2014/main" id="{4BDE6CD3-82F5-8443-AF1A-94A32782913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697" name="Turkey">
                <a:extLst>
                  <a:ext uri="{FF2B5EF4-FFF2-40B4-BE49-F238E27FC236}">
                    <a16:creationId xmlns:a16="http://schemas.microsoft.com/office/drawing/2014/main" id="{50EFDF33-4DB1-5F49-A287-AE7AD6DC0B79}"/>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8" name="Poland">
                <a:extLst>
                  <a:ext uri="{FF2B5EF4-FFF2-40B4-BE49-F238E27FC236}">
                    <a16:creationId xmlns:a16="http://schemas.microsoft.com/office/drawing/2014/main" id="{38409701-6DE2-2E49-B860-5E58819B067F}"/>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699" name="Bosnia and Herzegovina">
                <a:extLst>
                  <a:ext uri="{FF2B5EF4-FFF2-40B4-BE49-F238E27FC236}">
                    <a16:creationId xmlns:a16="http://schemas.microsoft.com/office/drawing/2014/main" id="{4B71C1BD-9C1C-FA47-9C02-D938958CD70F}"/>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0" name="Croatia">
                <a:extLst>
                  <a:ext uri="{FF2B5EF4-FFF2-40B4-BE49-F238E27FC236}">
                    <a16:creationId xmlns:a16="http://schemas.microsoft.com/office/drawing/2014/main" id="{F1A457BD-FE0D-574E-847D-087D8CAB4932}"/>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1" name="Albania">
                <a:extLst>
                  <a:ext uri="{FF2B5EF4-FFF2-40B4-BE49-F238E27FC236}">
                    <a16:creationId xmlns:a16="http://schemas.microsoft.com/office/drawing/2014/main" id="{5B8E74A5-F45A-7B40-BC69-720FC6DC8217}"/>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2" name="Austria">
                <a:extLst>
                  <a:ext uri="{FF2B5EF4-FFF2-40B4-BE49-F238E27FC236}">
                    <a16:creationId xmlns:a16="http://schemas.microsoft.com/office/drawing/2014/main" id="{DE9FFCB3-423D-D049-9346-0E078AF3579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3" name="Hungary">
                <a:extLst>
                  <a:ext uri="{FF2B5EF4-FFF2-40B4-BE49-F238E27FC236}">
                    <a16:creationId xmlns:a16="http://schemas.microsoft.com/office/drawing/2014/main" id="{6A24B29B-9771-5449-88C6-D3FA655C04B8}"/>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4" name="Czech Republic">
                <a:extLst>
                  <a:ext uri="{FF2B5EF4-FFF2-40B4-BE49-F238E27FC236}">
                    <a16:creationId xmlns:a16="http://schemas.microsoft.com/office/drawing/2014/main" id="{0E4B98FA-7AF5-3D46-AFD7-ABF10292C6E0}"/>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5" name="Slovakia">
                <a:extLst>
                  <a:ext uri="{FF2B5EF4-FFF2-40B4-BE49-F238E27FC236}">
                    <a16:creationId xmlns:a16="http://schemas.microsoft.com/office/drawing/2014/main" id="{A43F63A3-8426-F644-A569-E68C856209A8}"/>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06" name="Netherlands">
                <a:extLst>
                  <a:ext uri="{FF2B5EF4-FFF2-40B4-BE49-F238E27FC236}">
                    <a16:creationId xmlns:a16="http://schemas.microsoft.com/office/drawing/2014/main" id="{FDD3FFFF-8561-FB46-96F9-9CC1D9C860B7}"/>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7" name="Luxembourg">
                <a:extLst>
                  <a:ext uri="{FF2B5EF4-FFF2-40B4-BE49-F238E27FC236}">
                    <a16:creationId xmlns:a16="http://schemas.microsoft.com/office/drawing/2014/main" id="{ADE5E3BF-2098-694E-8C1A-5824ED949804}"/>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8" name="Belgium">
                <a:extLst>
                  <a:ext uri="{FF2B5EF4-FFF2-40B4-BE49-F238E27FC236}">
                    <a16:creationId xmlns:a16="http://schemas.microsoft.com/office/drawing/2014/main" id="{4F77FD46-77B0-9D42-8FC3-B662888A2B5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09" name="Romania">
                <a:extLst>
                  <a:ext uri="{FF2B5EF4-FFF2-40B4-BE49-F238E27FC236}">
                    <a16:creationId xmlns:a16="http://schemas.microsoft.com/office/drawing/2014/main" id="{D8FD4305-F84E-C84C-AC81-8DB32A3322B5}"/>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0" name="Moldova">
                <a:extLst>
                  <a:ext uri="{FF2B5EF4-FFF2-40B4-BE49-F238E27FC236}">
                    <a16:creationId xmlns:a16="http://schemas.microsoft.com/office/drawing/2014/main" id="{6CCC62FE-5428-3043-809D-B8FAC7C04E8F}"/>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1" name="Bulgaria">
                <a:extLst>
                  <a:ext uri="{FF2B5EF4-FFF2-40B4-BE49-F238E27FC236}">
                    <a16:creationId xmlns:a16="http://schemas.microsoft.com/office/drawing/2014/main" id="{2D4625D8-31A4-F44C-B54D-D22BEE8EE39A}"/>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2" name="Macedonia">
                <a:extLst>
                  <a:ext uri="{FF2B5EF4-FFF2-40B4-BE49-F238E27FC236}">
                    <a16:creationId xmlns:a16="http://schemas.microsoft.com/office/drawing/2014/main" id="{BE903FD6-A651-A847-A02E-78AA3A930C7C}"/>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3" name="Ukraine">
                <a:extLst>
                  <a:ext uri="{FF2B5EF4-FFF2-40B4-BE49-F238E27FC236}">
                    <a16:creationId xmlns:a16="http://schemas.microsoft.com/office/drawing/2014/main" id="{FACAD71C-ADF8-E348-9BE3-19171A0D49A5}"/>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4" name="Belarus">
                <a:extLst>
                  <a:ext uri="{FF2B5EF4-FFF2-40B4-BE49-F238E27FC236}">
                    <a16:creationId xmlns:a16="http://schemas.microsoft.com/office/drawing/2014/main" id="{DE2AB201-0871-DD4D-87E0-317F7704DF42}"/>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5" name="Latvia">
                <a:extLst>
                  <a:ext uri="{FF2B5EF4-FFF2-40B4-BE49-F238E27FC236}">
                    <a16:creationId xmlns:a16="http://schemas.microsoft.com/office/drawing/2014/main" id="{3AA8DB73-F3CD-FB41-B00D-4CD1A765C97A}"/>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16" name="Lithuania">
                <a:extLst>
                  <a:ext uri="{FF2B5EF4-FFF2-40B4-BE49-F238E27FC236}">
                    <a16:creationId xmlns:a16="http://schemas.microsoft.com/office/drawing/2014/main" id="{4A42A0CF-4344-BE4F-A218-B9C839ED1AC1}"/>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7" name="Switzerland">
                <a:extLst>
                  <a:ext uri="{FF2B5EF4-FFF2-40B4-BE49-F238E27FC236}">
                    <a16:creationId xmlns:a16="http://schemas.microsoft.com/office/drawing/2014/main" id="{06CBB11B-733A-B04F-8C09-83424C5FF1E7}"/>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8" name="Germany">
                <a:extLst>
                  <a:ext uri="{FF2B5EF4-FFF2-40B4-BE49-F238E27FC236}">
                    <a16:creationId xmlns:a16="http://schemas.microsoft.com/office/drawing/2014/main" id="{6BF582C3-D8AA-BB40-9625-E75C0A8B01E8}"/>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19" name="Finland">
                <a:extLst>
                  <a:ext uri="{FF2B5EF4-FFF2-40B4-BE49-F238E27FC236}">
                    <a16:creationId xmlns:a16="http://schemas.microsoft.com/office/drawing/2014/main" id="{18AD6618-29C4-154C-8412-C3D0A3072B1E}"/>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0" name="Slovenia">
                <a:extLst>
                  <a:ext uri="{FF2B5EF4-FFF2-40B4-BE49-F238E27FC236}">
                    <a16:creationId xmlns:a16="http://schemas.microsoft.com/office/drawing/2014/main" id="{3F93AAC0-2972-4B48-8C7D-E048A226776B}"/>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1" name="Greece">
                <a:extLst>
                  <a:ext uri="{FF2B5EF4-FFF2-40B4-BE49-F238E27FC236}">
                    <a16:creationId xmlns:a16="http://schemas.microsoft.com/office/drawing/2014/main" id="{7C74FEDA-9356-244F-A13E-766462BAC482}"/>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2" name="Cyprus">
                <a:extLst>
                  <a:ext uri="{FF2B5EF4-FFF2-40B4-BE49-F238E27FC236}">
                    <a16:creationId xmlns:a16="http://schemas.microsoft.com/office/drawing/2014/main" id="{3651706C-7D66-FC44-9DC7-7D36495DD825}"/>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3" name="Iceland">
                <a:extLst>
                  <a:ext uri="{FF2B5EF4-FFF2-40B4-BE49-F238E27FC236}">
                    <a16:creationId xmlns:a16="http://schemas.microsoft.com/office/drawing/2014/main" id="{A66431BB-DB7B-DE4C-AE6E-82D502083DA6}"/>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4" name="Ireland">
                <a:extLst>
                  <a:ext uri="{FF2B5EF4-FFF2-40B4-BE49-F238E27FC236}">
                    <a16:creationId xmlns:a16="http://schemas.microsoft.com/office/drawing/2014/main" id="{AC0C6F2D-EA97-3745-A478-5E1492012338}"/>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5" name="Denmark">
                <a:extLst>
                  <a:ext uri="{FF2B5EF4-FFF2-40B4-BE49-F238E27FC236}">
                    <a16:creationId xmlns:a16="http://schemas.microsoft.com/office/drawing/2014/main" id="{9D02D57F-E939-9241-A3C4-4674B3A6A270}"/>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6" name="Sweden">
                <a:extLst>
                  <a:ext uri="{FF2B5EF4-FFF2-40B4-BE49-F238E27FC236}">
                    <a16:creationId xmlns:a16="http://schemas.microsoft.com/office/drawing/2014/main" id="{9BB5BE6A-F611-6443-ACB9-A7A4BED306F5}"/>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7" name="Estonia">
                <a:extLst>
                  <a:ext uri="{FF2B5EF4-FFF2-40B4-BE49-F238E27FC236}">
                    <a16:creationId xmlns:a16="http://schemas.microsoft.com/office/drawing/2014/main" id="{D4933230-9F7B-2E40-88FF-DB8E106498B0}"/>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8" name="Uzbekistan">
                <a:extLst>
                  <a:ext uri="{FF2B5EF4-FFF2-40B4-BE49-F238E27FC236}">
                    <a16:creationId xmlns:a16="http://schemas.microsoft.com/office/drawing/2014/main" id="{B17AFE7B-63F4-DB4A-8EC7-E579D4777ECF}"/>
                  </a:ext>
                </a:extLst>
              </p:cNvPr>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29" name="Norway">
                <a:extLst>
                  <a:ext uri="{FF2B5EF4-FFF2-40B4-BE49-F238E27FC236}">
                    <a16:creationId xmlns:a16="http://schemas.microsoft.com/office/drawing/2014/main" id="{4DF6851E-9C96-8143-96EE-B3B712EE6773}"/>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470" fontAlgn="base">
                  <a:spcBef>
                    <a:spcPct val="0"/>
                  </a:spcBef>
                  <a:spcAft>
                    <a:spcPct val="0"/>
                  </a:spcAft>
                  <a:defRPr/>
                </a:pPr>
                <a:endParaRPr lang="en-US" kern="0">
                  <a:solidFill>
                    <a:srgbClr val="3F3F3F"/>
                  </a:solidFill>
                  <a:latin typeface="Tw Cen MT Regular"/>
                </a:endParaRPr>
              </a:p>
            </p:txBody>
          </p:sp>
          <p:sp>
            <p:nvSpPr>
              <p:cNvPr id="1730" name="Turkmenistan">
                <a:extLst>
                  <a:ext uri="{FF2B5EF4-FFF2-40B4-BE49-F238E27FC236}">
                    <a16:creationId xmlns:a16="http://schemas.microsoft.com/office/drawing/2014/main" id="{BC6586B9-F085-034A-81A1-9D39EEE2D559}"/>
                  </a:ext>
                </a:extLst>
              </p:cNvPr>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1" name="Kasakhstan">
                <a:extLst>
                  <a:ext uri="{FF2B5EF4-FFF2-40B4-BE49-F238E27FC236}">
                    <a16:creationId xmlns:a16="http://schemas.microsoft.com/office/drawing/2014/main" id="{6D2CFFC8-8D9C-AE42-9184-018E6BEFF1ED}"/>
                  </a:ext>
                </a:extLst>
              </p:cNvPr>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2" name="Tajikistan">
                <a:extLst>
                  <a:ext uri="{FF2B5EF4-FFF2-40B4-BE49-F238E27FC236}">
                    <a16:creationId xmlns:a16="http://schemas.microsoft.com/office/drawing/2014/main" id="{95900C22-ABD3-604B-A5E9-EE667E81064F}"/>
                  </a:ext>
                </a:extLst>
              </p:cNvPr>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3" name="Armenia">
                <a:extLst>
                  <a:ext uri="{FF2B5EF4-FFF2-40B4-BE49-F238E27FC236}">
                    <a16:creationId xmlns:a16="http://schemas.microsoft.com/office/drawing/2014/main" id="{BE00A792-FA92-9E4B-8EE5-826F31C4F16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4" name="Azerbajijan">
                <a:extLst>
                  <a:ext uri="{FF2B5EF4-FFF2-40B4-BE49-F238E27FC236}">
                    <a16:creationId xmlns:a16="http://schemas.microsoft.com/office/drawing/2014/main" id="{CE8734CA-3DE2-744F-B6FF-83C30E0F7AD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5" name="Montenegro">
                <a:extLst>
                  <a:ext uri="{FF2B5EF4-FFF2-40B4-BE49-F238E27FC236}">
                    <a16:creationId xmlns:a16="http://schemas.microsoft.com/office/drawing/2014/main" id="{38C59D81-5817-D240-9260-ED1152431993}"/>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6" name="Greenland">
                <a:extLst>
                  <a:ext uri="{FF2B5EF4-FFF2-40B4-BE49-F238E27FC236}">
                    <a16:creationId xmlns:a16="http://schemas.microsoft.com/office/drawing/2014/main" id="{85A86DF7-C790-C34C-95E0-C204BF0640F7}"/>
                  </a:ext>
                </a:extLst>
              </p:cNvPr>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7" name="Italy">
                <a:extLst>
                  <a:ext uri="{FF2B5EF4-FFF2-40B4-BE49-F238E27FC236}">
                    <a16:creationId xmlns:a16="http://schemas.microsoft.com/office/drawing/2014/main" id="{A49963A1-E042-9441-AB1B-899CBE4A6363}"/>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8" name="Spain">
                <a:extLst>
                  <a:ext uri="{FF2B5EF4-FFF2-40B4-BE49-F238E27FC236}">
                    <a16:creationId xmlns:a16="http://schemas.microsoft.com/office/drawing/2014/main" id="{D302D4BC-69CE-3A47-A391-426D287FC61E}"/>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39" name="Portugal">
                <a:extLst>
                  <a:ext uri="{FF2B5EF4-FFF2-40B4-BE49-F238E27FC236}">
                    <a16:creationId xmlns:a16="http://schemas.microsoft.com/office/drawing/2014/main" id="{5BD36D1D-ABB8-6544-808A-F2A959ADB6DA}"/>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0" name="United Kingdom">
                <a:extLst>
                  <a:ext uri="{FF2B5EF4-FFF2-40B4-BE49-F238E27FC236}">
                    <a16:creationId xmlns:a16="http://schemas.microsoft.com/office/drawing/2014/main" id="{483F7BA0-654B-2E46-A31B-DD69945A1D06}"/>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1" name="Russia">
                <a:extLst>
                  <a:ext uri="{FF2B5EF4-FFF2-40B4-BE49-F238E27FC236}">
                    <a16:creationId xmlns:a16="http://schemas.microsoft.com/office/drawing/2014/main" id="{9BEE90F2-CE4D-524F-9DE3-8DFBC0F6B4A4}"/>
                  </a:ext>
                </a:extLst>
              </p:cNvPr>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sp>
            <p:nvSpPr>
              <p:cNvPr id="1742" name="France">
                <a:extLst>
                  <a:ext uri="{FF2B5EF4-FFF2-40B4-BE49-F238E27FC236}">
                    <a16:creationId xmlns:a16="http://schemas.microsoft.com/office/drawing/2014/main" id="{CFAF42AC-D042-E44E-BF37-1C893EF08C82}"/>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3248" tIns="46624" rIns="93248" bIns="46624" numCol="1" anchor="t" anchorCtr="0" compatLnSpc="1">
                <a:prstTxWarp prst="textNoShape">
                  <a:avLst/>
                </a:prstTxWarp>
              </a:bodyPr>
              <a:lstStyle/>
              <a:p>
                <a:pPr defTabSz="932504" fontAlgn="base">
                  <a:spcBef>
                    <a:spcPct val="0"/>
                  </a:spcBef>
                  <a:spcAft>
                    <a:spcPct val="0"/>
                  </a:spcAft>
                  <a:defRPr/>
                </a:pPr>
                <a:endParaRPr lang="en-US" kern="0">
                  <a:solidFill>
                    <a:srgbClr val="3F3F3F"/>
                  </a:solidFill>
                  <a:latin typeface="Tw Cen MT Regular"/>
                </a:endParaRPr>
              </a:p>
            </p:txBody>
          </p:sp>
        </p:grpSp>
      </p:grpSp>
      <p:sp>
        <p:nvSpPr>
          <p:cNvPr id="2" name="Rectangle 1">
            <a:extLst>
              <a:ext uri="{FF2B5EF4-FFF2-40B4-BE49-F238E27FC236}">
                <a16:creationId xmlns:a16="http://schemas.microsoft.com/office/drawing/2014/main" id="{D66A1BD2-C4A1-074A-A6D0-D3F4DD67FD06}"/>
              </a:ext>
            </a:extLst>
          </p:cNvPr>
          <p:cNvSpPr/>
          <p:nvPr/>
        </p:nvSpPr>
        <p:spPr bwMode="auto">
          <a:xfrm>
            <a:off x="882" y="446"/>
            <a:ext cx="5007035" cy="6993632"/>
          </a:xfrm>
          <a:prstGeom prst="rect">
            <a:avLst/>
          </a:prstGeom>
          <a:gradFill>
            <a:gsLst>
              <a:gs pos="100000">
                <a:schemeClr val="bg1">
                  <a:alpha val="0"/>
                </a:schemeClr>
              </a:gs>
              <a:gs pos="100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grpSp>
        <p:nvGrpSpPr>
          <p:cNvPr id="1466" name="Group 1465">
            <a:extLst>
              <a:ext uri="{FF2B5EF4-FFF2-40B4-BE49-F238E27FC236}">
                <a16:creationId xmlns:a16="http://schemas.microsoft.com/office/drawing/2014/main" id="{F353206F-3E20-D747-8089-E808F537BC99}"/>
              </a:ext>
            </a:extLst>
          </p:cNvPr>
          <p:cNvGrpSpPr/>
          <p:nvPr/>
        </p:nvGrpSpPr>
        <p:grpSpPr>
          <a:xfrm>
            <a:off x="3974295" y="1158744"/>
            <a:ext cx="5769708" cy="3047090"/>
            <a:chOff x="5784081" y="1536912"/>
            <a:chExt cx="5657813" cy="2987996"/>
          </a:xfrm>
          <a:solidFill>
            <a:srgbClr val="FFC000"/>
          </a:solidFill>
        </p:grpSpPr>
        <p:sp>
          <p:nvSpPr>
            <p:cNvPr id="1467" name="Oval 1466">
              <a:extLst>
                <a:ext uri="{FF2B5EF4-FFF2-40B4-BE49-F238E27FC236}">
                  <a16:creationId xmlns:a16="http://schemas.microsoft.com/office/drawing/2014/main" id="{022D3504-A797-A949-A6D7-4EB000E3F9C8}"/>
                </a:ext>
              </a:extLst>
            </p:cNvPr>
            <p:cNvSpPr/>
            <p:nvPr/>
          </p:nvSpPr>
          <p:spPr bwMode="auto">
            <a:xfrm>
              <a:off x="5784081" y="2481684"/>
              <a:ext cx="336884" cy="33688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8" name="Oval 1467">
              <a:extLst>
                <a:ext uri="{FF2B5EF4-FFF2-40B4-BE49-F238E27FC236}">
                  <a16:creationId xmlns:a16="http://schemas.microsoft.com/office/drawing/2014/main" id="{A71D3883-894D-CF4B-BA78-0FA63EFBC103}"/>
                </a:ext>
              </a:extLst>
            </p:cNvPr>
            <p:cNvSpPr/>
            <p:nvPr/>
          </p:nvSpPr>
          <p:spPr bwMode="auto">
            <a:xfrm>
              <a:off x="5823552" y="2919513"/>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69" name="Oval 1468">
              <a:extLst>
                <a:ext uri="{FF2B5EF4-FFF2-40B4-BE49-F238E27FC236}">
                  <a16:creationId xmlns:a16="http://schemas.microsoft.com/office/drawing/2014/main" id="{4C5C4D9E-B79C-C548-9B78-D9B2A352E548}"/>
                </a:ext>
              </a:extLst>
            </p:cNvPr>
            <p:cNvSpPr/>
            <p:nvPr/>
          </p:nvSpPr>
          <p:spPr bwMode="auto">
            <a:xfrm>
              <a:off x="5938674" y="2742250"/>
              <a:ext cx="122808" cy="12280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0" name="Oval 1469">
              <a:extLst>
                <a:ext uri="{FF2B5EF4-FFF2-40B4-BE49-F238E27FC236}">
                  <a16:creationId xmlns:a16="http://schemas.microsoft.com/office/drawing/2014/main" id="{FCAC4E9C-B7AA-9947-BBA6-788B3A25F7C2}"/>
                </a:ext>
              </a:extLst>
            </p:cNvPr>
            <p:cNvSpPr/>
            <p:nvPr/>
          </p:nvSpPr>
          <p:spPr bwMode="auto">
            <a:xfrm>
              <a:off x="6113690" y="2738960"/>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1" name="Oval 1470">
              <a:extLst>
                <a:ext uri="{FF2B5EF4-FFF2-40B4-BE49-F238E27FC236}">
                  <a16:creationId xmlns:a16="http://schemas.microsoft.com/office/drawing/2014/main" id="{FAB4AE49-6B2A-794D-B248-DCD1DD1FC610}"/>
                </a:ext>
              </a:extLst>
            </p:cNvPr>
            <p:cNvSpPr/>
            <p:nvPr/>
          </p:nvSpPr>
          <p:spPr bwMode="auto">
            <a:xfrm>
              <a:off x="6179119" y="2755406"/>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2" name="Oval 1471">
              <a:extLst>
                <a:ext uri="{FF2B5EF4-FFF2-40B4-BE49-F238E27FC236}">
                  <a16:creationId xmlns:a16="http://schemas.microsoft.com/office/drawing/2014/main" id="{10064310-2D83-864E-B977-65FE43E0A9A5}"/>
                </a:ext>
              </a:extLst>
            </p:cNvPr>
            <p:cNvSpPr/>
            <p:nvPr/>
          </p:nvSpPr>
          <p:spPr bwMode="auto">
            <a:xfrm>
              <a:off x="6505912" y="2765274"/>
              <a:ext cx="92518" cy="9251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3" name="Oval 1472">
              <a:extLst>
                <a:ext uri="{FF2B5EF4-FFF2-40B4-BE49-F238E27FC236}">
                  <a16:creationId xmlns:a16="http://schemas.microsoft.com/office/drawing/2014/main" id="{86C4DB40-00D8-D949-80CC-9B5F1C4D38AA}"/>
                </a:ext>
              </a:extLst>
            </p:cNvPr>
            <p:cNvSpPr/>
            <p:nvPr/>
          </p:nvSpPr>
          <p:spPr bwMode="auto">
            <a:xfrm>
              <a:off x="5920431" y="1923492"/>
              <a:ext cx="144339" cy="14433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4" name="Oval 1473">
              <a:extLst>
                <a:ext uri="{FF2B5EF4-FFF2-40B4-BE49-F238E27FC236}">
                  <a16:creationId xmlns:a16="http://schemas.microsoft.com/office/drawing/2014/main" id="{18CCF4F6-3164-EC46-B75C-8DBBFDF5DF21}"/>
                </a:ext>
              </a:extLst>
            </p:cNvPr>
            <p:cNvSpPr/>
            <p:nvPr/>
          </p:nvSpPr>
          <p:spPr bwMode="auto">
            <a:xfrm>
              <a:off x="7344322" y="184126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5" name="Oval 1474">
              <a:extLst>
                <a:ext uri="{FF2B5EF4-FFF2-40B4-BE49-F238E27FC236}">
                  <a16:creationId xmlns:a16="http://schemas.microsoft.com/office/drawing/2014/main" id="{33F7D9DC-38DA-4045-B85F-7B4A8EE45EAF}"/>
                </a:ext>
              </a:extLst>
            </p:cNvPr>
            <p:cNvSpPr/>
            <p:nvPr/>
          </p:nvSpPr>
          <p:spPr bwMode="auto">
            <a:xfrm>
              <a:off x="7555638"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6" name="Oval 1475">
              <a:extLst>
                <a:ext uri="{FF2B5EF4-FFF2-40B4-BE49-F238E27FC236}">
                  <a16:creationId xmlns:a16="http://schemas.microsoft.com/office/drawing/2014/main" id="{5C578C87-6CBB-3D4F-A045-229B43CDEB04}"/>
                </a:ext>
              </a:extLst>
            </p:cNvPr>
            <p:cNvSpPr/>
            <p:nvPr/>
          </p:nvSpPr>
          <p:spPr bwMode="auto">
            <a:xfrm>
              <a:off x="7850249" y="195967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7" name="Oval 1476">
              <a:extLst>
                <a:ext uri="{FF2B5EF4-FFF2-40B4-BE49-F238E27FC236}">
                  <a16:creationId xmlns:a16="http://schemas.microsoft.com/office/drawing/2014/main" id="{85654AE3-2FEE-D54A-93C2-11525DD56E8D}"/>
                </a:ext>
              </a:extLst>
            </p:cNvPr>
            <p:cNvSpPr/>
            <p:nvPr/>
          </p:nvSpPr>
          <p:spPr bwMode="auto">
            <a:xfrm>
              <a:off x="7981108" y="19366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8" name="Oval 1477">
              <a:extLst>
                <a:ext uri="{FF2B5EF4-FFF2-40B4-BE49-F238E27FC236}">
                  <a16:creationId xmlns:a16="http://schemas.microsoft.com/office/drawing/2014/main" id="{1BD95E60-F6D8-1B42-A451-8FB8A7CB0C62}"/>
                </a:ext>
              </a:extLst>
            </p:cNvPr>
            <p:cNvSpPr/>
            <p:nvPr/>
          </p:nvSpPr>
          <p:spPr bwMode="auto">
            <a:xfrm>
              <a:off x="7987686" y="190740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79" name="Oval 1478">
              <a:extLst>
                <a:ext uri="{FF2B5EF4-FFF2-40B4-BE49-F238E27FC236}">
                  <a16:creationId xmlns:a16="http://schemas.microsoft.com/office/drawing/2014/main" id="{6C6CDB3A-BEDC-C04B-BAD4-03A92A1862D5}"/>
                </a:ext>
              </a:extLst>
            </p:cNvPr>
            <p:cNvSpPr/>
            <p:nvPr/>
          </p:nvSpPr>
          <p:spPr bwMode="auto">
            <a:xfrm>
              <a:off x="8145214" y="1867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0" name="Oval 1479">
              <a:extLst>
                <a:ext uri="{FF2B5EF4-FFF2-40B4-BE49-F238E27FC236}">
                  <a16:creationId xmlns:a16="http://schemas.microsoft.com/office/drawing/2014/main" id="{9D9F364A-015B-5F49-A5C5-4FEE42C2CC52}"/>
                </a:ext>
              </a:extLst>
            </p:cNvPr>
            <p:cNvSpPr/>
            <p:nvPr/>
          </p:nvSpPr>
          <p:spPr bwMode="auto">
            <a:xfrm>
              <a:off x="9389069" y="197976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1" name="Oval 1480">
              <a:extLst>
                <a:ext uri="{FF2B5EF4-FFF2-40B4-BE49-F238E27FC236}">
                  <a16:creationId xmlns:a16="http://schemas.microsoft.com/office/drawing/2014/main" id="{2586253E-6FDD-A647-86F0-7E9E7EF792FF}"/>
                </a:ext>
              </a:extLst>
            </p:cNvPr>
            <p:cNvSpPr/>
            <p:nvPr/>
          </p:nvSpPr>
          <p:spPr bwMode="auto">
            <a:xfrm>
              <a:off x="8835320" y="23974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2" name="Oval 1481">
              <a:extLst>
                <a:ext uri="{FF2B5EF4-FFF2-40B4-BE49-F238E27FC236}">
                  <a16:creationId xmlns:a16="http://schemas.microsoft.com/office/drawing/2014/main" id="{2A420857-DE51-F348-B8D2-253E57680812}"/>
                </a:ext>
              </a:extLst>
            </p:cNvPr>
            <p:cNvSpPr/>
            <p:nvPr/>
          </p:nvSpPr>
          <p:spPr bwMode="auto">
            <a:xfrm>
              <a:off x="9459658" y="243038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3" name="Oval 1482">
              <a:extLst>
                <a:ext uri="{FF2B5EF4-FFF2-40B4-BE49-F238E27FC236}">
                  <a16:creationId xmlns:a16="http://schemas.microsoft.com/office/drawing/2014/main" id="{A6D0C626-5B40-A647-9245-0ED06C4F6D9E}"/>
                </a:ext>
              </a:extLst>
            </p:cNvPr>
            <p:cNvSpPr/>
            <p:nvPr/>
          </p:nvSpPr>
          <p:spPr bwMode="auto">
            <a:xfrm>
              <a:off x="9472815" y="266988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4" name="Oval 1483">
              <a:extLst>
                <a:ext uri="{FF2B5EF4-FFF2-40B4-BE49-F238E27FC236}">
                  <a16:creationId xmlns:a16="http://schemas.microsoft.com/office/drawing/2014/main" id="{6BBDEE5F-6AB4-4E43-AB82-C45359580062}"/>
                </a:ext>
              </a:extLst>
            </p:cNvPr>
            <p:cNvSpPr/>
            <p:nvPr/>
          </p:nvSpPr>
          <p:spPr bwMode="auto">
            <a:xfrm>
              <a:off x="6263416" y="2969206"/>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5" name="Oval 1484">
              <a:extLst>
                <a:ext uri="{FF2B5EF4-FFF2-40B4-BE49-F238E27FC236}">
                  <a16:creationId xmlns:a16="http://schemas.microsoft.com/office/drawing/2014/main" id="{293A935B-9836-ED44-8A42-BF2E7BE7EBF1}"/>
                </a:ext>
              </a:extLst>
            </p:cNvPr>
            <p:cNvSpPr/>
            <p:nvPr/>
          </p:nvSpPr>
          <p:spPr bwMode="auto">
            <a:xfrm>
              <a:off x="6276573" y="3032862"/>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6" name="Oval 1485">
              <a:extLst>
                <a:ext uri="{FF2B5EF4-FFF2-40B4-BE49-F238E27FC236}">
                  <a16:creationId xmlns:a16="http://schemas.microsoft.com/office/drawing/2014/main" id="{981238C7-3816-874F-A512-4812F94F9F85}"/>
                </a:ext>
              </a:extLst>
            </p:cNvPr>
            <p:cNvSpPr/>
            <p:nvPr/>
          </p:nvSpPr>
          <p:spPr bwMode="auto">
            <a:xfrm>
              <a:off x="6208367" y="301312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7" name="Oval 1486">
              <a:extLst>
                <a:ext uri="{FF2B5EF4-FFF2-40B4-BE49-F238E27FC236}">
                  <a16:creationId xmlns:a16="http://schemas.microsoft.com/office/drawing/2014/main" id="{DBA6854F-65CE-DD45-A971-39EAFB9BE131}"/>
                </a:ext>
              </a:extLst>
            </p:cNvPr>
            <p:cNvSpPr/>
            <p:nvPr/>
          </p:nvSpPr>
          <p:spPr bwMode="auto">
            <a:xfrm>
              <a:off x="6274152" y="29184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8" name="Oval 1487">
              <a:extLst>
                <a:ext uri="{FF2B5EF4-FFF2-40B4-BE49-F238E27FC236}">
                  <a16:creationId xmlns:a16="http://schemas.microsoft.com/office/drawing/2014/main" id="{88B7D197-CAE0-6944-94E2-4764A83F8579}"/>
                </a:ext>
              </a:extLst>
            </p:cNvPr>
            <p:cNvSpPr/>
            <p:nvPr/>
          </p:nvSpPr>
          <p:spPr bwMode="auto">
            <a:xfrm>
              <a:off x="6058128"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89" name="Oval 1488">
              <a:extLst>
                <a:ext uri="{FF2B5EF4-FFF2-40B4-BE49-F238E27FC236}">
                  <a16:creationId xmlns:a16="http://schemas.microsoft.com/office/drawing/2014/main" id="{1527D92B-5F2D-D44C-9CE5-54A56579AF02}"/>
                </a:ext>
              </a:extLst>
            </p:cNvPr>
            <p:cNvSpPr/>
            <p:nvPr/>
          </p:nvSpPr>
          <p:spPr bwMode="auto">
            <a:xfrm>
              <a:off x="6146937" y="31417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0" name="Oval 1489">
              <a:extLst>
                <a:ext uri="{FF2B5EF4-FFF2-40B4-BE49-F238E27FC236}">
                  <a16:creationId xmlns:a16="http://schemas.microsoft.com/office/drawing/2014/main" id="{F9E4C9CE-F235-DE40-990E-1C27F0D875DE}"/>
                </a:ext>
              </a:extLst>
            </p:cNvPr>
            <p:cNvSpPr/>
            <p:nvPr/>
          </p:nvSpPr>
          <p:spPr bwMode="auto">
            <a:xfrm>
              <a:off x="6133781" y="311509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1" name="Oval 1490">
              <a:extLst>
                <a:ext uri="{FF2B5EF4-FFF2-40B4-BE49-F238E27FC236}">
                  <a16:creationId xmlns:a16="http://schemas.microsoft.com/office/drawing/2014/main" id="{D0538DC4-7861-5B4C-A2ED-EDC6E5F9DDE9}"/>
                </a:ext>
              </a:extLst>
            </p:cNvPr>
            <p:cNvSpPr/>
            <p:nvPr/>
          </p:nvSpPr>
          <p:spPr bwMode="auto">
            <a:xfrm>
              <a:off x="6117335" y="315749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2" name="Oval 1491">
              <a:extLst>
                <a:ext uri="{FF2B5EF4-FFF2-40B4-BE49-F238E27FC236}">
                  <a16:creationId xmlns:a16="http://schemas.microsoft.com/office/drawing/2014/main" id="{378FAA4B-BB85-0545-BA1E-2CD646D154C1}"/>
                </a:ext>
              </a:extLst>
            </p:cNvPr>
            <p:cNvSpPr/>
            <p:nvPr/>
          </p:nvSpPr>
          <p:spPr bwMode="auto">
            <a:xfrm>
              <a:off x="6087376" y="3131184"/>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3" name="Oval 1492">
              <a:extLst>
                <a:ext uri="{FF2B5EF4-FFF2-40B4-BE49-F238E27FC236}">
                  <a16:creationId xmlns:a16="http://schemas.microsoft.com/office/drawing/2014/main" id="{83633479-1EBF-764F-AEB4-FDB87BE6EF91}"/>
                </a:ext>
              </a:extLst>
            </p:cNvPr>
            <p:cNvSpPr/>
            <p:nvPr/>
          </p:nvSpPr>
          <p:spPr bwMode="auto">
            <a:xfrm>
              <a:off x="6087376" y="302334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4" name="Oval 1493">
              <a:extLst>
                <a:ext uri="{FF2B5EF4-FFF2-40B4-BE49-F238E27FC236}">
                  <a16:creationId xmlns:a16="http://schemas.microsoft.com/office/drawing/2014/main" id="{C689BCAF-19F2-4148-BD14-A5327736F73D}"/>
                </a:ext>
              </a:extLst>
            </p:cNvPr>
            <p:cNvSpPr/>
            <p:nvPr/>
          </p:nvSpPr>
          <p:spPr bwMode="auto">
            <a:xfrm>
              <a:off x="6103822" y="309535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5" name="Oval 1494">
              <a:extLst>
                <a:ext uri="{FF2B5EF4-FFF2-40B4-BE49-F238E27FC236}">
                  <a16:creationId xmlns:a16="http://schemas.microsoft.com/office/drawing/2014/main" id="{F86A4396-45E2-B340-AD15-8533D6B9E6B4}"/>
                </a:ext>
              </a:extLst>
            </p:cNvPr>
            <p:cNvSpPr/>
            <p:nvPr/>
          </p:nvSpPr>
          <p:spPr bwMode="auto">
            <a:xfrm>
              <a:off x="6694108" y="3539400"/>
              <a:ext cx="120604" cy="120604"/>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6" name="Oval 1495">
              <a:extLst>
                <a:ext uri="{FF2B5EF4-FFF2-40B4-BE49-F238E27FC236}">
                  <a16:creationId xmlns:a16="http://schemas.microsoft.com/office/drawing/2014/main" id="{DF72B0F3-780E-F44B-BEA6-E89C1E06226B}"/>
                </a:ext>
              </a:extLst>
            </p:cNvPr>
            <p:cNvSpPr/>
            <p:nvPr/>
          </p:nvSpPr>
          <p:spPr bwMode="auto">
            <a:xfrm>
              <a:off x="6506976" y="366110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7" name="Oval 1496">
              <a:extLst>
                <a:ext uri="{FF2B5EF4-FFF2-40B4-BE49-F238E27FC236}">
                  <a16:creationId xmlns:a16="http://schemas.microsoft.com/office/drawing/2014/main" id="{6922DE1B-BB17-C94E-9540-70AB113D611E}"/>
                </a:ext>
              </a:extLst>
            </p:cNvPr>
            <p:cNvSpPr/>
            <p:nvPr/>
          </p:nvSpPr>
          <p:spPr bwMode="auto">
            <a:xfrm>
              <a:off x="6335937" y="3526244"/>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8" name="Oval 1497">
              <a:extLst>
                <a:ext uri="{FF2B5EF4-FFF2-40B4-BE49-F238E27FC236}">
                  <a16:creationId xmlns:a16="http://schemas.microsoft.com/office/drawing/2014/main" id="{FF7FB88F-FFB1-5141-9314-075AE328DD3A}"/>
                </a:ext>
              </a:extLst>
            </p:cNvPr>
            <p:cNvSpPr/>
            <p:nvPr/>
          </p:nvSpPr>
          <p:spPr bwMode="auto">
            <a:xfrm>
              <a:off x="6164899" y="318968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499" name="Oval 1498">
              <a:extLst>
                <a:ext uri="{FF2B5EF4-FFF2-40B4-BE49-F238E27FC236}">
                  <a16:creationId xmlns:a16="http://schemas.microsoft.com/office/drawing/2014/main" id="{B0A824C9-F46C-E24D-825B-B5E0D23FD73E}"/>
                </a:ext>
              </a:extLst>
            </p:cNvPr>
            <p:cNvSpPr/>
            <p:nvPr/>
          </p:nvSpPr>
          <p:spPr bwMode="auto">
            <a:xfrm>
              <a:off x="6231392" y="3212705"/>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0" name="Oval 1499">
              <a:extLst>
                <a:ext uri="{FF2B5EF4-FFF2-40B4-BE49-F238E27FC236}">
                  <a16:creationId xmlns:a16="http://schemas.microsoft.com/office/drawing/2014/main" id="{82EFA1BF-3FAE-BA45-8209-E425AD3CD62F}"/>
                </a:ext>
              </a:extLst>
            </p:cNvPr>
            <p:cNvSpPr/>
            <p:nvPr/>
          </p:nvSpPr>
          <p:spPr bwMode="auto">
            <a:xfrm>
              <a:off x="6660505" y="3285068"/>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1" name="Oval 1500">
              <a:extLst>
                <a:ext uri="{FF2B5EF4-FFF2-40B4-BE49-F238E27FC236}">
                  <a16:creationId xmlns:a16="http://schemas.microsoft.com/office/drawing/2014/main" id="{E49915DC-2BA1-EC4C-8EA2-1D7302AE2532}"/>
                </a:ext>
              </a:extLst>
            </p:cNvPr>
            <p:cNvSpPr/>
            <p:nvPr/>
          </p:nvSpPr>
          <p:spPr bwMode="auto">
            <a:xfrm>
              <a:off x="6705845" y="329493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2" name="Oval 1501">
              <a:extLst>
                <a:ext uri="{FF2B5EF4-FFF2-40B4-BE49-F238E27FC236}">
                  <a16:creationId xmlns:a16="http://schemas.microsoft.com/office/drawing/2014/main" id="{78622937-AC97-704A-8B59-47265DECD4B9}"/>
                </a:ext>
              </a:extLst>
            </p:cNvPr>
            <p:cNvSpPr/>
            <p:nvPr/>
          </p:nvSpPr>
          <p:spPr bwMode="auto">
            <a:xfrm>
              <a:off x="6601299" y="32817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3" name="Oval 1502">
              <a:extLst>
                <a:ext uri="{FF2B5EF4-FFF2-40B4-BE49-F238E27FC236}">
                  <a16:creationId xmlns:a16="http://schemas.microsoft.com/office/drawing/2014/main" id="{FA7027F9-0230-B545-9CB3-72F36F2FCAEC}"/>
                </a:ext>
              </a:extLst>
            </p:cNvPr>
            <p:cNvSpPr/>
            <p:nvPr/>
          </p:nvSpPr>
          <p:spPr bwMode="auto">
            <a:xfrm>
              <a:off x="6357898" y="32934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4" name="Oval 1503">
              <a:extLst>
                <a:ext uri="{FF2B5EF4-FFF2-40B4-BE49-F238E27FC236}">
                  <a16:creationId xmlns:a16="http://schemas.microsoft.com/office/drawing/2014/main" id="{A00562BF-6472-B245-9F74-ACB47B36BF52}"/>
                </a:ext>
              </a:extLst>
            </p:cNvPr>
            <p:cNvSpPr/>
            <p:nvPr/>
          </p:nvSpPr>
          <p:spPr bwMode="auto">
            <a:xfrm>
              <a:off x="6262059" y="33888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5" name="Oval 1504">
              <a:extLst>
                <a:ext uri="{FF2B5EF4-FFF2-40B4-BE49-F238E27FC236}">
                  <a16:creationId xmlns:a16="http://schemas.microsoft.com/office/drawing/2014/main" id="{832F97BF-9A16-9D44-BC8D-F0546495F52F}"/>
                </a:ext>
              </a:extLst>
            </p:cNvPr>
            <p:cNvSpPr/>
            <p:nvPr/>
          </p:nvSpPr>
          <p:spPr bwMode="auto">
            <a:xfrm>
              <a:off x="6488403" y="3247370"/>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6" name="Oval 1505">
              <a:extLst>
                <a:ext uri="{FF2B5EF4-FFF2-40B4-BE49-F238E27FC236}">
                  <a16:creationId xmlns:a16="http://schemas.microsoft.com/office/drawing/2014/main" id="{D24F49AD-90E8-7A4B-B1F3-AD347933A03D}"/>
                </a:ext>
              </a:extLst>
            </p:cNvPr>
            <p:cNvSpPr/>
            <p:nvPr/>
          </p:nvSpPr>
          <p:spPr bwMode="auto">
            <a:xfrm>
              <a:off x="6409462" y="314434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7" name="Oval 1506">
              <a:extLst>
                <a:ext uri="{FF2B5EF4-FFF2-40B4-BE49-F238E27FC236}">
                  <a16:creationId xmlns:a16="http://schemas.microsoft.com/office/drawing/2014/main" id="{28F8D1CD-DC69-AE48-B843-BB69F1889E12}"/>
                </a:ext>
              </a:extLst>
            </p:cNvPr>
            <p:cNvSpPr/>
            <p:nvPr/>
          </p:nvSpPr>
          <p:spPr bwMode="auto">
            <a:xfrm>
              <a:off x="6440838" y="315091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8" name="Oval 1507">
              <a:extLst>
                <a:ext uri="{FF2B5EF4-FFF2-40B4-BE49-F238E27FC236}">
                  <a16:creationId xmlns:a16="http://schemas.microsoft.com/office/drawing/2014/main" id="{284915E7-DFEE-7B48-97A6-4C28DDFF51D0}"/>
                </a:ext>
              </a:extLst>
            </p:cNvPr>
            <p:cNvSpPr/>
            <p:nvPr/>
          </p:nvSpPr>
          <p:spPr bwMode="auto">
            <a:xfrm>
              <a:off x="6616682" y="378244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09" name="Oval 1508">
              <a:extLst>
                <a:ext uri="{FF2B5EF4-FFF2-40B4-BE49-F238E27FC236}">
                  <a16:creationId xmlns:a16="http://schemas.microsoft.com/office/drawing/2014/main" id="{EFD31381-CD7A-714F-A725-E33ECE7F54DB}"/>
                </a:ext>
              </a:extLst>
            </p:cNvPr>
            <p:cNvSpPr/>
            <p:nvPr/>
          </p:nvSpPr>
          <p:spPr bwMode="auto">
            <a:xfrm>
              <a:off x="6659441" y="397847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0" name="Oval 1509">
              <a:extLst>
                <a:ext uri="{FF2B5EF4-FFF2-40B4-BE49-F238E27FC236}">
                  <a16:creationId xmlns:a16="http://schemas.microsoft.com/office/drawing/2014/main" id="{F13A6DCF-8013-E243-9D4D-2C5652E8211D}"/>
                </a:ext>
              </a:extLst>
            </p:cNvPr>
            <p:cNvSpPr/>
            <p:nvPr/>
          </p:nvSpPr>
          <p:spPr bwMode="auto">
            <a:xfrm>
              <a:off x="6499689"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1" name="Oval 1510">
              <a:extLst>
                <a:ext uri="{FF2B5EF4-FFF2-40B4-BE49-F238E27FC236}">
                  <a16:creationId xmlns:a16="http://schemas.microsoft.com/office/drawing/2014/main" id="{497E435D-1852-E24D-A3FE-13782F70CC32}"/>
                </a:ext>
              </a:extLst>
            </p:cNvPr>
            <p:cNvSpPr/>
            <p:nvPr/>
          </p:nvSpPr>
          <p:spPr bwMode="auto">
            <a:xfrm>
              <a:off x="6391854" y="4031107"/>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2" name="Oval 1511">
              <a:extLst>
                <a:ext uri="{FF2B5EF4-FFF2-40B4-BE49-F238E27FC236}">
                  <a16:creationId xmlns:a16="http://schemas.microsoft.com/office/drawing/2014/main" id="{FDCD70CD-5CC0-A34D-8A33-D2E13A74C96A}"/>
                </a:ext>
              </a:extLst>
            </p:cNvPr>
            <p:cNvSpPr/>
            <p:nvPr/>
          </p:nvSpPr>
          <p:spPr bwMode="auto">
            <a:xfrm>
              <a:off x="6608942" y="4424393"/>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3" name="Oval 1512">
              <a:extLst>
                <a:ext uri="{FF2B5EF4-FFF2-40B4-BE49-F238E27FC236}">
                  <a16:creationId xmlns:a16="http://schemas.microsoft.com/office/drawing/2014/main" id="{AF04F526-0A6F-A64C-8274-A0ABD5562B40}"/>
                </a:ext>
              </a:extLst>
            </p:cNvPr>
            <p:cNvSpPr/>
            <p:nvPr/>
          </p:nvSpPr>
          <p:spPr bwMode="auto">
            <a:xfrm>
              <a:off x="6553026" y="3049662"/>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4" name="Oval 1513">
              <a:extLst>
                <a:ext uri="{FF2B5EF4-FFF2-40B4-BE49-F238E27FC236}">
                  <a16:creationId xmlns:a16="http://schemas.microsoft.com/office/drawing/2014/main" id="{A7334820-C3A2-9F4C-96CA-985CF5D0134E}"/>
                </a:ext>
              </a:extLst>
            </p:cNvPr>
            <p:cNvSpPr/>
            <p:nvPr/>
          </p:nvSpPr>
          <p:spPr bwMode="auto">
            <a:xfrm>
              <a:off x="6553026" y="3023349"/>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5" name="Oval 1514">
              <a:extLst>
                <a:ext uri="{FF2B5EF4-FFF2-40B4-BE49-F238E27FC236}">
                  <a16:creationId xmlns:a16="http://schemas.microsoft.com/office/drawing/2014/main" id="{CD1A7C23-5566-F84F-B7CA-F89648EBE827}"/>
                </a:ext>
              </a:extLst>
            </p:cNvPr>
            <p:cNvSpPr/>
            <p:nvPr/>
          </p:nvSpPr>
          <p:spPr bwMode="auto">
            <a:xfrm>
              <a:off x="6509557" y="3036506"/>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6" name="Oval 1515">
              <a:extLst>
                <a:ext uri="{FF2B5EF4-FFF2-40B4-BE49-F238E27FC236}">
                  <a16:creationId xmlns:a16="http://schemas.microsoft.com/office/drawing/2014/main" id="{8F9FD341-C736-694E-923F-20DF411C9795}"/>
                </a:ext>
              </a:extLst>
            </p:cNvPr>
            <p:cNvSpPr/>
            <p:nvPr/>
          </p:nvSpPr>
          <p:spPr bwMode="auto">
            <a:xfrm>
              <a:off x="6529291" y="3016771"/>
              <a:ext cx="100515" cy="10051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7" name="Oval 1516">
              <a:extLst>
                <a:ext uri="{FF2B5EF4-FFF2-40B4-BE49-F238E27FC236}">
                  <a16:creationId xmlns:a16="http://schemas.microsoft.com/office/drawing/2014/main" id="{F593076B-585D-AE40-B482-E117F2C66C07}"/>
                </a:ext>
              </a:extLst>
            </p:cNvPr>
            <p:cNvSpPr/>
            <p:nvPr/>
          </p:nvSpPr>
          <p:spPr bwMode="auto">
            <a:xfrm>
              <a:off x="6364832" y="303615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8" name="Oval 1517">
              <a:extLst>
                <a:ext uri="{FF2B5EF4-FFF2-40B4-BE49-F238E27FC236}">
                  <a16:creationId xmlns:a16="http://schemas.microsoft.com/office/drawing/2014/main" id="{519F3F92-E5BC-1F4F-8D44-8C65DF7AA434}"/>
                </a:ext>
              </a:extLst>
            </p:cNvPr>
            <p:cNvSpPr/>
            <p:nvPr/>
          </p:nvSpPr>
          <p:spPr bwMode="auto">
            <a:xfrm>
              <a:off x="6391146" y="2980234"/>
              <a:ext cx="84778" cy="84778"/>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19" name="Oval 1518">
              <a:extLst>
                <a:ext uri="{FF2B5EF4-FFF2-40B4-BE49-F238E27FC236}">
                  <a16:creationId xmlns:a16="http://schemas.microsoft.com/office/drawing/2014/main" id="{BFE8BCC5-B20C-F245-875C-10CDA95A96FF}"/>
                </a:ext>
              </a:extLst>
            </p:cNvPr>
            <p:cNvSpPr/>
            <p:nvPr/>
          </p:nvSpPr>
          <p:spPr bwMode="auto">
            <a:xfrm>
              <a:off x="6570278" y="31249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0" name="Oval 1519">
              <a:extLst>
                <a:ext uri="{FF2B5EF4-FFF2-40B4-BE49-F238E27FC236}">
                  <a16:creationId xmlns:a16="http://schemas.microsoft.com/office/drawing/2014/main" id="{7BA5C018-DE85-E54A-91B9-1EA5A7ADEFAB}"/>
                </a:ext>
              </a:extLst>
            </p:cNvPr>
            <p:cNvSpPr/>
            <p:nvPr/>
          </p:nvSpPr>
          <p:spPr bwMode="auto">
            <a:xfrm>
              <a:off x="6563700"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1" name="Oval 1520">
              <a:extLst>
                <a:ext uri="{FF2B5EF4-FFF2-40B4-BE49-F238E27FC236}">
                  <a16:creationId xmlns:a16="http://schemas.microsoft.com/office/drawing/2014/main" id="{AB15AC5D-9F47-9749-9FF9-75EA9D5C4BBC}"/>
                </a:ext>
              </a:extLst>
            </p:cNvPr>
            <p:cNvSpPr/>
            <p:nvPr/>
          </p:nvSpPr>
          <p:spPr bwMode="auto">
            <a:xfrm>
              <a:off x="6607523" y="312789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2" name="Oval 1521">
              <a:extLst>
                <a:ext uri="{FF2B5EF4-FFF2-40B4-BE49-F238E27FC236}">
                  <a16:creationId xmlns:a16="http://schemas.microsoft.com/office/drawing/2014/main" id="{88089A48-D9DD-9A4E-8DEB-C55F2F1569F4}"/>
                </a:ext>
              </a:extLst>
            </p:cNvPr>
            <p:cNvSpPr/>
            <p:nvPr/>
          </p:nvSpPr>
          <p:spPr bwMode="auto">
            <a:xfrm>
              <a:off x="6574631" y="31867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3" name="Oval 1522">
              <a:extLst>
                <a:ext uri="{FF2B5EF4-FFF2-40B4-BE49-F238E27FC236}">
                  <a16:creationId xmlns:a16="http://schemas.microsoft.com/office/drawing/2014/main" id="{0AD47890-A220-7F45-BE00-BBD13AAB9A95}"/>
                </a:ext>
              </a:extLst>
            </p:cNvPr>
            <p:cNvSpPr/>
            <p:nvPr/>
          </p:nvSpPr>
          <p:spPr bwMode="auto">
            <a:xfrm>
              <a:off x="6475955" y="30437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4" name="Oval 1523">
              <a:extLst>
                <a:ext uri="{FF2B5EF4-FFF2-40B4-BE49-F238E27FC236}">
                  <a16:creationId xmlns:a16="http://schemas.microsoft.com/office/drawing/2014/main" id="{8F7038C2-2FD8-CB44-B942-E11249E99BAE}"/>
                </a:ext>
              </a:extLst>
            </p:cNvPr>
            <p:cNvSpPr/>
            <p:nvPr/>
          </p:nvSpPr>
          <p:spPr bwMode="auto">
            <a:xfrm>
              <a:off x="6390436" y="303686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5" name="Oval 1524">
              <a:extLst>
                <a:ext uri="{FF2B5EF4-FFF2-40B4-BE49-F238E27FC236}">
                  <a16:creationId xmlns:a16="http://schemas.microsoft.com/office/drawing/2014/main" id="{F05BD5B0-7FF5-6245-9BB4-3C497CF2787B}"/>
                </a:ext>
              </a:extLst>
            </p:cNvPr>
            <p:cNvSpPr/>
            <p:nvPr/>
          </p:nvSpPr>
          <p:spPr bwMode="auto">
            <a:xfrm>
              <a:off x="7266091" y="309935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6" name="Oval 1525">
              <a:extLst>
                <a:ext uri="{FF2B5EF4-FFF2-40B4-BE49-F238E27FC236}">
                  <a16:creationId xmlns:a16="http://schemas.microsoft.com/office/drawing/2014/main" id="{56F437B9-32F8-4F44-ABC4-DEDB9D249792}"/>
                </a:ext>
              </a:extLst>
            </p:cNvPr>
            <p:cNvSpPr/>
            <p:nvPr/>
          </p:nvSpPr>
          <p:spPr bwMode="auto">
            <a:xfrm>
              <a:off x="7503366" y="30006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7" name="Oval 1526">
              <a:extLst>
                <a:ext uri="{FF2B5EF4-FFF2-40B4-BE49-F238E27FC236}">
                  <a16:creationId xmlns:a16="http://schemas.microsoft.com/office/drawing/2014/main" id="{C37ACA45-0A0F-6E44-BBE3-A0E20654116C}"/>
                </a:ext>
              </a:extLst>
            </p:cNvPr>
            <p:cNvSpPr/>
            <p:nvPr/>
          </p:nvSpPr>
          <p:spPr bwMode="auto">
            <a:xfrm>
              <a:off x="7614489"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8" name="Oval 1527">
              <a:extLst>
                <a:ext uri="{FF2B5EF4-FFF2-40B4-BE49-F238E27FC236}">
                  <a16:creationId xmlns:a16="http://schemas.microsoft.com/office/drawing/2014/main" id="{3F46C926-6709-E846-B6DB-7EB8F3DD5787}"/>
                </a:ext>
              </a:extLst>
            </p:cNvPr>
            <p:cNvSpPr/>
            <p:nvPr/>
          </p:nvSpPr>
          <p:spPr bwMode="auto">
            <a:xfrm>
              <a:off x="7846605" y="305001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29" name="Oval 1528">
              <a:extLst>
                <a:ext uri="{FF2B5EF4-FFF2-40B4-BE49-F238E27FC236}">
                  <a16:creationId xmlns:a16="http://schemas.microsoft.com/office/drawing/2014/main" id="{010C1A53-5DD8-9348-BE12-D1B5D2063F23}"/>
                </a:ext>
              </a:extLst>
            </p:cNvPr>
            <p:cNvSpPr/>
            <p:nvPr/>
          </p:nvSpPr>
          <p:spPr bwMode="auto">
            <a:xfrm>
              <a:off x="8010711" y="30927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0" name="Oval 1529">
              <a:extLst>
                <a:ext uri="{FF2B5EF4-FFF2-40B4-BE49-F238E27FC236}">
                  <a16:creationId xmlns:a16="http://schemas.microsoft.com/office/drawing/2014/main" id="{2B8A0EA3-C554-1042-9443-40BCAE5A2B8E}"/>
                </a:ext>
              </a:extLst>
            </p:cNvPr>
            <p:cNvSpPr/>
            <p:nvPr/>
          </p:nvSpPr>
          <p:spPr bwMode="auto">
            <a:xfrm>
              <a:off x="8213933" y="308290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1" name="Oval 1530">
              <a:extLst>
                <a:ext uri="{FF2B5EF4-FFF2-40B4-BE49-F238E27FC236}">
                  <a16:creationId xmlns:a16="http://schemas.microsoft.com/office/drawing/2014/main" id="{5A39EB31-AD6D-B04A-A125-BCE4F2FD6BF0}"/>
                </a:ext>
              </a:extLst>
            </p:cNvPr>
            <p:cNvSpPr/>
            <p:nvPr/>
          </p:nvSpPr>
          <p:spPr bwMode="auto">
            <a:xfrm>
              <a:off x="8691639" y="340749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2" name="Oval 1531">
              <a:extLst>
                <a:ext uri="{FF2B5EF4-FFF2-40B4-BE49-F238E27FC236}">
                  <a16:creationId xmlns:a16="http://schemas.microsoft.com/office/drawing/2014/main" id="{2DB75F53-60B4-3441-BEBF-075AC73A8F3E}"/>
                </a:ext>
              </a:extLst>
            </p:cNvPr>
            <p:cNvSpPr/>
            <p:nvPr/>
          </p:nvSpPr>
          <p:spPr bwMode="auto">
            <a:xfrm>
              <a:off x="8931515" y="337893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3" name="Oval 1532">
              <a:extLst>
                <a:ext uri="{FF2B5EF4-FFF2-40B4-BE49-F238E27FC236}">
                  <a16:creationId xmlns:a16="http://schemas.microsoft.com/office/drawing/2014/main" id="{E82688C2-9290-9240-9B01-2E9E68959A04}"/>
                </a:ext>
              </a:extLst>
            </p:cNvPr>
            <p:cNvSpPr/>
            <p:nvPr/>
          </p:nvSpPr>
          <p:spPr bwMode="auto">
            <a:xfrm>
              <a:off x="9059085" y="32309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4" name="Oval 1533">
              <a:extLst>
                <a:ext uri="{FF2B5EF4-FFF2-40B4-BE49-F238E27FC236}">
                  <a16:creationId xmlns:a16="http://schemas.microsoft.com/office/drawing/2014/main" id="{327299D5-7042-CF4E-8AF7-CC4F05FC4C19}"/>
                </a:ext>
              </a:extLst>
            </p:cNvPr>
            <p:cNvSpPr/>
            <p:nvPr/>
          </p:nvSpPr>
          <p:spPr bwMode="auto">
            <a:xfrm>
              <a:off x="9475751" y="33460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5" name="Oval 1534">
              <a:extLst>
                <a:ext uri="{FF2B5EF4-FFF2-40B4-BE49-F238E27FC236}">
                  <a16:creationId xmlns:a16="http://schemas.microsoft.com/office/drawing/2014/main" id="{0CD25E1B-C8C1-EC42-8A84-089EAD91D64A}"/>
                </a:ext>
              </a:extLst>
            </p:cNvPr>
            <p:cNvSpPr/>
            <p:nvPr/>
          </p:nvSpPr>
          <p:spPr bwMode="auto">
            <a:xfrm>
              <a:off x="8770147" y="37341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6" name="Oval 1535">
              <a:extLst>
                <a:ext uri="{FF2B5EF4-FFF2-40B4-BE49-F238E27FC236}">
                  <a16:creationId xmlns:a16="http://schemas.microsoft.com/office/drawing/2014/main" id="{2CA51D2B-797B-F049-B375-3DD8E495ADA1}"/>
                </a:ext>
              </a:extLst>
            </p:cNvPr>
            <p:cNvSpPr/>
            <p:nvPr/>
          </p:nvSpPr>
          <p:spPr bwMode="auto">
            <a:xfrm>
              <a:off x="8619117" y="371772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7" name="Oval 1536">
              <a:extLst>
                <a:ext uri="{FF2B5EF4-FFF2-40B4-BE49-F238E27FC236}">
                  <a16:creationId xmlns:a16="http://schemas.microsoft.com/office/drawing/2014/main" id="{1FA94CE5-4A24-0B44-8BDD-F9951C835537}"/>
                </a:ext>
              </a:extLst>
            </p:cNvPr>
            <p:cNvSpPr/>
            <p:nvPr/>
          </p:nvSpPr>
          <p:spPr bwMode="auto">
            <a:xfrm>
              <a:off x="8589514" y="35931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8" name="Oval 1537">
              <a:extLst>
                <a:ext uri="{FF2B5EF4-FFF2-40B4-BE49-F238E27FC236}">
                  <a16:creationId xmlns:a16="http://schemas.microsoft.com/office/drawing/2014/main" id="{429599A8-CE40-4C48-BE18-5BDEF0533D0C}"/>
                </a:ext>
              </a:extLst>
            </p:cNvPr>
            <p:cNvSpPr/>
            <p:nvPr/>
          </p:nvSpPr>
          <p:spPr bwMode="auto">
            <a:xfrm>
              <a:off x="8283006" y="359647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39" name="Oval 1538">
              <a:extLst>
                <a:ext uri="{FF2B5EF4-FFF2-40B4-BE49-F238E27FC236}">
                  <a16:creationId xmlns:a16="http://schemas.microsoft.com/office/drawing/2014/main" id="{2DBEAB5B-E6F6-1D4E-A928-A30BCC397F52}"/>
                </a:ext>
              </a:extLst>
            </p:cNvPr>
            <p:cNvSpPr/>
            <p:nvPr/>
          </p:nvSpPr>
          <p:spPr bwMode="auto">
            <a:xfrm>
              <a:off x="8302741" y="366813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0" name="Oval 1539">
              <a:extLst>
                <a:ext uri="{FF2B5EF4-FFF2-40B4-BE49-F238E27FC236}">
                  <a16:creationId xmlns:a16="http://schemas.microsoft.com/office/drawing/2014/main" id="{8CD305F4-3247-F949-991F-6B7A91329B25}"/>
                </a:ext>
              </a:extLst>
            </p:cNvPr>
            <p:cNvSpPr/>
            <p:nvPr/>
          </p:nvSpPr>
          <p:spPr bwMode="auto">
            <a:xfrm>
              <a:off x="8171883" y="3608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1" name="Oval 1540">
              <a:extLst>
                <a:ext uri="{FF2B5EF4-FFF2-40B4-BE49-F238E27FC236}">
                  <a16:creationId xmlns:a16="http://schemas.microsoft.com/office/drawing/2014/main" id="{E09E7A56-70B8-3D4D-8F5D-0400A622B498}"/>
                </a:ext>
              </a:extLst>
            </p:cNvPr>
            <p:cNvSpPr/>
            <p:nvPr/>
          </p:nvSpPr>
          <p:spPr bwMode="auto">
            <a:xfrm>
              <a:off x="8214642" y="37039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2" name="Oval 1541">
              <a:extLst>
                <a:ext uri="{FF2B5EF4-FFF2-40B4-BE49-F238E27FC236}">
                  <a16:creationId xmlns:a16="http://schemas.microsoft.com/office/drawing/2014/main" id="{EFB14586-B939-E94E-9C08-04FCA1F6438C}"/>
                </a:ext>
              </a:extLst>
            </p:cNvPr>
            <p:cNvSpPr/>
            <p:nvPr/>
          </p:nvSpPr>
          <p:spPr bwMode="auto">
            <a:xfrm>
              <a:off x="7413847" y="316078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3" name="Oval 1542">
              <a:extLst>
                <a:ext uri="{FF2B5EF4-FFF2-40B4-BE49-F238E27FC236}">
                  <a16:creationId xmlns:a16="http://schemas.microsoft.com/office/drawing/2014/main" id="{E21337E4-FE25-C946-9E5E-4E856873F163}"/>
                </a:ext>
              </a:extLst>
            </p:cNvPr>
            <p:cNvSpPr/>
            <p:nvPr/>
          </p:nvSpPr>
          <p:spPr bwMode="auto">
            <a:xfrm>
              <a:off x="7407269" y="3118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4" name="Oval 1543">
              <a:extLst>
                <a:ext uri="{FF2B5EF4-FFF2-40B4-BE49-F238E27FC236}">
                  <a16:creationId xmlns:a16="http://schemas.microsoft.com/office/drawing/2014/main" id="{D515F7F0-50CF-A943-BFE2-C8F220E42CA0}"/>
                </a:ext>
              </a:extLst>
            </p:cNvPr>
            <p:cNvSpPr/>
            <p:nvPr/>
          </p:nvSpPr>
          <p:spPr bwMode="auto">
            <a:xfrm>
              <a:off x="7428423" y="31052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5" name="Oval 1544">
              <a:extLst>
                <a:ext uri="{FF2B5EF4-FFF2-40B4-BE49-F238E27FC236}">
                  <a16:creationId xmlns:a16="http://schemas.microsoft.com/office/drawing/2014/main" id="{379BA90D-C240-814F-9425-0D835020D7A8}"/>
                </a:ext>
              </a:extLst>
            </p:cNvPr>
            <p:cNvSpPr/>
            <p:nvPr/>
          </p:nvSpPr>
          <p:spPr bwMode="auto">
            <a:xfrm>
              <a:off x="7477762" y="321928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6" name="Oval 1545">
              <a:extLst>
                <a:ext uri="{FF2B5EF4-FFF2-40B4-BE49-F238E27FC236}">
                  <a16:creationId xmlns:a16="http://schemas.microsoft.com/office/drawing/2014/main" id="{5158C20A-1BDB-9F4F-BC3B-935C5EBD20F2}"/>
                </a:ext>
              </a:extLst>
            </p:cNvPr>
            <p:cNvSpPr/>
            <p:nvPr/>
          </p:nvSpPr>
          <p:spPr bwMode="auto">
            <a:xfrm>
              <a:off x="7477762" y="316736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7" name="Oval 1546">
              <a:extLst>
                <a:ext uri="{FF2B5EF4-FFF2-40B4-BE49-F238E27FC236}">
                  <a16:creationId xmlns:a16="http://schemas.microsoft.com/office/drawing/2014/main" id="{8691FB06-45BA-5346-8E66-DC4BBA2CBCDB}"/>
                </a:ext>
              </a:extLst>
            </p:cNvPr>
            <p:cNvSpPr/>
            <p:nvPr/>
          </p:nvSpPr>
          <p:spPr bwMode="auto">
            <a:xfrm>
              <a:off x="7484340" y="318052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8" name="Oval 1547">
              <a:extLst>
                <a:ext uri="{FF2B5EF4-FFF2-40B4-BE49-F238E27FC236}">
                  <a16:creationId xmlns:a16="http://schemas.microsoft.com/office/drawing/2014/main" id="{708395FC-A3AD-4549-B29B-DFE29B7DCC12}"/>
                </a:ext>
              </a:extLst>
            </p:cNvPr>
            <p:cNvSpPr/>
            <p:nvPr/>
          </p:nvSpPr>
          <p:spPr bwMode="auto">
            <a:xfrm>
              <a:off x="7523810" y="32495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49" name="Oval 1548">
              <a:extLst>
                <a:ext uri="{FF2B5EF4-FFF2-40B4-BE49-F238E27FC236}">
                  <a16:creationId xmlns:a16="http://schemas.microsoft.com/office/drawing/2014/main" id="{76322A62-40BE-744A-869D-29B5B9A6019D}"/>
                </a:ext>
              </a:extLst>
            </p:cNvPr>
            <p:cNvSpPr/>
            <p:nvPr/>
          </p:nvSpPr>
          <p:spPr bwMode="auto">
            <a:xfrm>
              <a:off x="7828289" y="320025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0" name="Oval 1549">
              <a:extLst>
                <a:ext uri="{FF2B5EF4-FFF2-40B4-BE49-F238E27FC236}">
                  <a16:creationId xmlns:a16="http://schemas.microsoft.com/office/drawing/2014/main" id="{BD162024-8D1D-8F4B-880E-0C7D5ECB9E61}"/>
                </a:ext>
              </a:extLst>
            </p:cNvPr>
            <p:cNvSpPr/>
            <p:nvPr/>
          </p:nvSpPr>
          <p:spPr bwMode="auto">
            <a:xfrm>
              <a:off x="7703298" y="321999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1" name="Oval 1550">
              <a:extLst>
                <a:ext uri="{FF2B5EF4-FFF2-40B4-BE49-F238E27FC236}">
                  <a16:creationId xmlns:a16="http://schemas.microsoft.com/office/drawing/2014/main" id="{3C8B0DC3-DB3E-A240-8CC4-5242ADE46862}"/>
                </a:ext>
              </a:extLst>
            </p:cNvPr>
            <p:cNvSpPr/>
            <p:nvPr/>
          </p:nvSpPr>
          <p:spPr bwMode="auto">
            <a:xfrm>
              <a:off x="7663828" y="31476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2" name="Oval 1551">
              <a:extLst>
                <a:ext uri="{FF2B5EF4-FFF2-40B4-BE49-F238E27FC236}">
                  <a16:creationId xmlns:a16="http://schemas.microsoft.com/office/drawing/2014/main" id="{EF5D8176-F171-F34B-99D5-0491F8624BEB}"/>
                </a:ext>
              </a:extLst>
            </p:cNvPr>
            <p:cNvSpPr/>
            <p:nvPr/>
          </p:nvSpPr>
          <p:spPr bwMode="auto">
            <a:xfrm>
              <a:off x="7657249"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3" name="Oval 1552">
              <a:extLst>
                <a:ext uri="{FF2B5EF4-FFF2-40B4-BE49-F238E27FC236}">
                  <a16:creationId xmlns:a16="http://schemas.microsoft.com/office/drawing/2014/main" id="{08AA4B86-F6F0-AF44-874B-C4F5B72A0C2F}"/>
                </a:ext>
              </a:extLst>
            </p:cNvPr>
            <p:cNvSpPr/>
            <p:nvPr/>
          </p:nvSpPr>
          <p:spPr bwMode="auto">
            <a:xfrm>
              <a:off x="7726323" y="31966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4" name="Oval 1553">
              <a:extLst>
                <a:ext uri="{FF2B5EF4-FFF2-40B4-BE49-F238E27FC236}">
                  <a16:creationId xmlns:a16="http://schemas.microsoft.com/office/drawing/2014/main" id="{C9A2DEEC-BA08-5F4D-BA36-B819B2A48E94}"/>
                </a:ext>
              </a:extLst>
            </p:cNvPr>
            <p:cNvSpPr/>
            <p:nvPr/>
          </p:nvSpPr>
          <p:spPr bwMode="auto">
            <a:xfrm>
              <a:off x="7726323"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5" name="Oval 1554">
              <a:extLst>
                <a:ext uri="{FF2B5EF4-FFF2-40B4-BE49-F238E27FC236}">
                  <a16:creationId xmlns:a16="http://schemas.microsoft.com/office/drawing/2014/main" id="{7859FC30-2A58-0B4F-8FF9-3FA4438CE96F}"/>
                </a:ext>
              </a:extLst>
            </p:cNvPr>
            <p:cNvSpPr/>
            <p:nvPr/>
          </p:nvSpPr>
          <p:spPr bwMode="auto">
            <a:xfrm>
              <a:off x="7572439" y="27839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6" name="Oval 1555">
              <a:extLst>
                <a:ext uri="{FF2B5EF4-FFF2-40B4-BE49-F238E27FC236}">
                  <a16:creationId xmlns:a16="http://schemas.microsoft.com/office/drawing/2014/main" id="{3AB84CC6-24EB-E44E-99E3-EF6E86A3CD3C}"/>
                </a:ext>
              </a:extLst>
            </p:cNvPr>
            <p:cNvSpPr/>
            <p:nvPr/>
          </p:nvSpPr>
          <p:spPr bwMode="auto">
            <a:xfrm>
              <a:off x="7592175" y="26892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7" name="Oval 1556">
              <a:extLst>
                <a:ext uri="{FF2B5EF4-FFF2-40B4-BE49-F238E27FC236}">
                  <a16:creationId xmlns:a16="http://schemas.microsoft.com/office/drawing/2014/main" id="{F3C66224-0C97-764F-9206-93D853B49222}"/>
                </a:ext>
              </a:extLst>
            </p:cNvPr>
            <p:cNvSpPr/>
            <p:nvPr/>
          </p:nvSpPr>
          <p:spPr bwMode="auto">
            <a:xfrm>
              <a:off x="7856408" y="272983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8" name="Oval 1557">
              <a:extLst>
                <a:ext uri="{FF2B5EF4-FFF2-40B4-BE49-F238E27FC236}">
                  <a16:creationId xmlns:a16="http://schemas.microsoft.com/office/drawing/2014/main" id="{8CE20E8E-E75E-094D-AA24-2AC963E80B26}"/>
                </a:ext>
              </a:extLst>
            </p:cNvPr>
            <p:cNvSpPr/>
            <p:nvPr/>
          </p:nvSpPr>
          <p:spPr bwMode="auto">
            <a:xfrm>
              <a:off x="7744575" y="284166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59" name="Oval 1558">
              <a:extLst>
                <a:ext uri="{FF2B5EF4-FFF2-40B4-BE49-F238E27FC236}">
                  <a16:creationId xmlns:a16="http://schemas.microsoft.com/office/drawing/2014/main" id="{88174A5C-4929-AC49-90A1-0423AC2634AE}"/>
                </a:ext>
              </a:extLst>
            </p:cNvPr>
            <p:cNvSpPr/>
            <p:nvPr/>
          </p:nvSpPr>
          <p:spPr bwMode="auto">
            <a:xfrm>
              <a:off x="8002229" y="28756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0" name="Oval 1559">
              <a:extLst>
                <a:ext uri="{FF2B5EF4-FFF2-40B4-BE49-F238E27FC236}">
                  <a16:creationId xmlns:a16="http://schemas.microsoft.com/office/drawing/2014/main" id="{197C6BF8-FD83-9A4B-BA1B-3AFFEFB71191}"/>
                </a:ext>
              </a:extLst>
            </p:cNvPr>
            <p:cNvSpPr/>
            <p:nvPr/>
          </p:nvSpPr>
          <p:spPr bwMode="auto">
            <a:xfrm>
              <a:off x="8207257" y="288333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1" name="Oval 1560">
              <a:extLst>
                <a:ext uri="{FF2B5EF4-FFF2-40B4-BE49-F238E27FC236}">
                  <a16:creationId xmlns:a16="http://schemas.microsoft.com/office/drawing/2014/main" id="{A37BA5FE-08C0-BE4D-B922-2DC5FC3197BA}"/>
                </a:ext>
              </a:extLst>
            </p:cNvPr>
            <p:cNvSpPr/>
            <p:nvPr/>
          </p:nvSpPr>
          <p:spPr bwMode="auto">
            <a:xfrm>
              <a:off x="7930963" y="269584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2" name="Oval 1561">
              <a:extLst>
                <a:ext uri="{FF2B5EF4-FFF2-40B4-BE49-F238E27FC236}">
                  <a16:creationId xmlns:a16="http://schemas.microsoft.com/office/drawing/2014/main" id="{58E47F4C-26A2-6643-8EBB-D8064E55BCC6}"/>
                </a:ext>
              </a:extLst>
            </p:cNvPr>
            <p:cNvSpPr/>
            <p:nvPr/>
          </p:nvSpPr>
          <p:spPr bwMode="auto">
            <a:xfrm>
              <a:off x="8361849" y="308726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3" name="Oval 1562">
              <a:extLst>
                <a:ext uri="{FF2B5EF4-FFF2-40B4-BE49-F238E27FC236}">
                  <a16:creationId xmlns:a16="http://schemas.microsoft.com/office/drawing/2014/main" id="{3793ED1F-8BC9-AB4E-8EAD-174E8BA614F9}"/>
                </a:ext>
              </a:extLst>
            </p:cNvPr>
            <p:cNvSpPr/>
            <p:nvPr/>
          </p:nvSpPr>
          <p:spPr bwMode="auto">
            <a:xfrm>
              <a:off x="8528633" y="30905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4" name="Oval 1563">
              <a:extLst>
                <a:ext uri="{FF2B5EF4-FFF2-40B4-BE49-F238E27FC236}">
                  <a16:creationId xmlns:a16="http://schemas.microsoft.com/office/drawing/2014/main" id="{D9199073-988A-8D46-8187-6A9F87B6F7F6}"/>
                </a:ext>
              </a:extLst>
            </p:cNvPr>
            <p:cNvSpPr/>
            <p:nvPr/>
          </p:nvSpPr>
          <p:spPr bwMode="auto">
            <a:xfrm>
              <a:off x="8433601" y="315633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5" name="Oval 1564">
              <a:extLst>
                <a:ext uri="{FF2B5EF4-FFF2-40B4-BE49-F238E27FC236}">
                  <a16:creationId xmlns:a16="http://schemas.microsoft.com/office/drawing/2014/main" id="{68C71B9D-C43F-CA4C-A405-B17CAC8ECEAC}"/>
                </a:ext>
              </a:extLst>
            </p:cNvPr>
            <p:cNvSpPr/>
            <p:nvPr/>
          </p:nvSpPr>
          <p:spPr bwMode="auto">
            <a:xfrm>
              <a:off x="8387552" y="321963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6" name="Oval 1565">
              <a:extLst>
                <a:ext uri="{FF2B5EF4-FFF2-40B4-BE49-F238E27FC236}">
                  <a16:creationId xmlns:a16="http://schemas.microsoft.com/office/drawing/2014/main" id="{880939B2-355F-F04D-A8EB-EE83FFB303FB}"/>
                </a:ext>
              </a:extLst>
            </p:cNvPr>
            <p:cNvSpPr/>
            <p:nvPr/>
          </p:nvSpPr>
          <p:spPr bwMode="auto">
            <a:xfrm>
              <a:off x="8495386"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7" name="Oval 1566">
              <a:extLst>
                <a:ext uri="{FF2B5EF4-FFF2-40B4-BE49-F238E27FC236}">
                  <a16:creationId xmlns:a16="http://schemas.microsoft.com/office/drawing/2014/main" id="{594E844D-E311-FC42-8544-6197FA75E844}"/>
                </a:ext>
              </a:extLst>
            </p:cNvPr>
            <p:cNvSpPr/>
            <p:nvPr/>
          </p:nvSpPr>
          <p:spPr bwMode="auto">
            <a:xfrm>
              <a:off x="8230379" y="32985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8" name="Oval 1567">
              <a:extLst>
                <a:ext uri="{FF2B5EF4-FFF2-40B4-BE49-F238E27FC236}">
                  <a16:creationId xmlns:a16="http://schemas.microsoft.com/office/drawing/2014/main" id="{6B9A7B0B-4389-6146-BAC7-3A7901183239}"/>
                </a:ext>
              </a:extLst>
            </p:cNvPr>
            <p:cNvSpPr/>
            <p:nvPr/>
          </p:nvSpPr>
          <p:spPr bwMode="auto">
            <a:xfrm>
              <a:off x="8213933" y="324266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69" name="Oval 1568">
              <a:extLst>
                <a:ext uri="{FF2B5EF4-FFF2-40B4-BE49-F238E27FC236}">
                  <a16:creationId xmlns:a16="http://schemas.microsoft.com/office/drawing/2014/main" id="{70F36455-13FF-9645-8855-FACAA28C40F0}"/>
                </a:ext>
              </a:extLst>
            </p:cNvPr>
            <p:cNvSpPr/>
            <p:nvPr/>
          </p:nvSpPr>
          <p:spPr bwMode="auto">
            <a:xfrm>
              <a:off x="8053825" y="324924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0" name="Oval 1569">
              <a:extLst>
                <a:ext uri="{FF2B5EF4-FFF2-40B4-BE49-F238E27FC236}">
                  <a16:creationId xmlns:a16="http://schemas.microsoft.com/office/drawing/2014/main" id="{DA622B2D-DE32-0648-BB47-054068246DE1}"/>
                </a:ext>
              </a:extLst>
            </p:cNvPr>
            <p:cNvSpPr/>
            <p:nvPr/>
          </p:nvSpPr>
          <p:spPr bwMode="auto">
            <a:xfrm>
              <a:off x="7872919" y="334791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1" name="Oval 1570">
              <a:extLst>
                <a:ext uri="{FF2B5EF4-FFF2-40B4-BE49-F238E27FC236}">
                  <a16:creationId xmlns:a16="http://schemas.microsoft.com/office/drawing/2014/main" id="{223E23F8-62F3-6643-A333-FACF41A3CE6B}"/>
                </a:ext>
              </a:extLst>
            </p:cNvPr>
            <p:cNvSpPr/>
            <p:nvPr/>
          </p:nvSpPr>
          <p:spPr bwMode="auto">
            <a:xfrm>
              <a:off x="7899232" y="32558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2" name="Oval 1571">
              <a:extLst>
                <a:ext uri="{FF2B5EF4-FFF2-40B4-BE49-F238E27FC236}">
                  <a16:creationId xmlns:a16="http://schemas.microsoft.com/office/drawing/2014/main" id="{96FC0EC8-A886-574C-83B5-29DEBE44BA0C}"/>
                </a:ext>
              </a:extLst>
            </p:cNvPr>
            <p:cNvSpPr/>
            <p:nvPr/>
          </p:nvSpPr>
          <p:spPr bwMode="auto">
            <a:xfrm>
              <a:off x="7902521" y="33863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3" name="Oval 1572">
              <a:extLst>
                <a:ext uri="{FF2B5EF4-FFF2-40B4-BE49-F238E27FC236}">
                  <a16:creationId xmlns:a16="http://schemas.microsoft.com/office/drawing/2014/main" id="{901D1D84-7713-1347-9541-392D40AB616D}"/>
                </a:ext>
              </a:extLst>
            </p:cNvPr>
            <p:cNvSpPr/>
            <p:nvPr/>
          </p:nvSpPr>
          <p:spPr bwMode="auto">
            <a:xfrm>
              <a:off x="8094005" y="34159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4" name="Oval 1573">
              <a:extLst>
                <a:ext uri="{FF2B5EF4-FFF2-40B4-BE49-F238E27FC236}">
                  <a16:creationId xmlns:a16="http://schemas.microsoft.com/office/drawing/2014/main" id="{0B7F34B8-F29D-DA44-8F76-C1D5B87724E8}"/>
                </a:ext>
              </a:extLst>
            </p:cNvPr>
            <p:cNvSpPr/>
            <p:nvPr/>
          </p:nvSpPr>
          <p:spPr bwMode="auto">
            <a:xfrm>
              <a:off x="8207354" y="340276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5" name="Oval 1574">
              <a:extLst>
                <a:ext uri="{FF2B5EF4-FFF2-40B4-BE49-F238E27FC236}">
                  <a16:creationId xmlns:a16="http://schemas.microsoft.com/office/drawing/2014/main" id="{C3DCE13C-F1AB-C84F-9C96-1B174019D42C}"/>
                </a:ext>
              </a:extLst>
            </p:cNvPr>
            <p:cNvSpPr/>
            <p:nvPr/>
          </p:nvSpPr>
          <p:spPr bwMode="auto">
            <a:xfrm>
              <a:off x="8207354" y="34323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6" name="Oval 1575">
              <a:extLst>
                <a:ext uri="{FF2B5EF4-FFF2-40B4-BE49-F238E27FC236}">
                  <a16:creationId xmlns:a16="http://schemas.microsoft.com/office/drawing/2014/main" id="{C5150336-D72C-2B4E-B3CF-A144D85F2F0F}"/>
                </a:ext>
              </a:extLst>
            </p:cNvPr>
            <p:cNvSpPr/>
            <p:nvPr/>
          </p:nvSpPr>
          <p:spPr bwMode="auto">
            <a:xfrm>
              <a:off x="8246471" y="33336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7" name="Oval 1576">
              <a:extLst>
                <a:ext uri="{FF2B5EF4-FFF2-40B4-BE49-F238E27FC236}">
                  <a16:creationId xmlns:a16="http://schemas.microsoft.com/office/drawing/2014/main" id="{6FB504F5-FA93-E846-8B6F-D8466F83D02A}"/>
                </a:ext>
              </a:extLst>
            </p:cNvPr>
            <p:cNvSpPr/>
            <p:nvPr/>
          </p:nvSpPr>
          <p:spPr bwMode="auto">
            <a:xfrm>
              <a:off x="8348081" y="33567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8" name="Oval 1577">
              <a:extLst>
                <a:ext uri="{FF2B5EF4-FFF2-40B4-BE49-F238E27FC236}">
                  <a16:creationId xmlns:a16="http://schemas.microsoft.com/office/drawing/2014/main" id="{63C2CA67-576A-C144-B6E3-9A9E9E81C194}"/>
                </a:ext>
              </a:extLst>
            </p:cNvPr>
            <p:cNvSpPr/>
            <p:nvPr/>
          </p:nvSpPr>
          <p:spPr bwMode="auto">
            <a:xfrm>
              <a:off x="7990267" y="35855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79" name="Oval 1578">
              <a:extLst>
                <a:ext uri="{FF2B5EF4-FFF2-40B4-BE49-F238E27FC236}">
                  <a16:creationId xmlns:a16="http://schemas.microsoft.com/office/drawing/2014/main" id="{2411D8C1-9336-BC44-8FE7-2606A8FA8586}"/>
                </a:ext>
              </a:extLst>
            </p:cNvPr>
            <p:cNvSpPr/>
            <p:nvPr/>
          </p:nvSpPr>
          <p:spPr bwMode="auto">
            <a:xfrm>
              <a:off x="7990267"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0" name="Oval 1579">
              <a:extLst>
                <a:ext uri="{FF2B5EF4-FFF2-40B4-BE49-F238E27FC236}">
                  <a16:creationId xmlns:a16="http://schemas.microsoft.com/office/drawing/2014/main" id="{F2799215-CAA5-DB46-903B-A1C6F08FC439}"/>
                </a:ext>
              </a:extLst>
            </p:cNvPr>
            <p:cNvSpPr/>
            <p:nvPr/>
          </p:nvSpPr>
          <p:spPr bwMode="auto">
            <a:xfrm>
              <a:off x="8102455" y="376609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1" name="Oval 1580">
              <a:extLst>
                <a:ext uri="{FF2B5EF4-FFF2-40B4-BE49-F238E27FC236}">
                  <a16:creationId xmlns:a16="http://schemas.microsoft.com/office/drawing/2014/main" id="{CC7F5867-E222-4B48-9EE7-959BF41F34E1}"/>
                </a:ext>
              </a:extLst>
            </p:cNvPr>
            <p:cNvSpPr/>
            <p:nvPr/>
          </p:nvSpPr>
          <p:spPr bwMode="auto">
            <a:xfrm>
              <a:off x="8243536" y="385490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2" name="Oval 1581">
              <a:extLst>
                <a:ext uri="{FF2B5EF4-FFF2-40B4-BE49-F238E27FC236}">
                  <a16:creationId xmlns:a16="http://schemas.microsoft.com/office/drawing/2014/main" id="{55A1E164-E748-5E4C-9B2B-7A3DD401360F}"/>
                </a:ext>
              </a:extLst>
            </p:cNvPr>
            <p:cNvSpPr/>
            <p:nvPr/>
          </p:nvSpPr>
          <p:spPr bwMode="auto">
            <a:xfrm>
              <a:off x="8181396" y="391082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3" name="Oval 1582">
              <a:extLst>
                <a:ext uri="{FF2B5EF4-FFF2-40B4-BE49-F238E27FC236}">
                  <a16:creationId xmlns:a16="http://schemas.microsoft.com/office/drawing/2014/main" id="{31B27243-1CA7-2B4F-BE1F-BDDBB8E27925}"/>
                </a:ext>
              </a:extLst>
            </p:cNvPr>
            <p:cNvSpPr/>
            <p:nvPr/>
          </p:nvSpPr>
          <p:spPr bwMode="auto">
            <a:xfrm>
              <a:off x="8181396" y="384504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4" name="Oval 1583">
              <a:extLst>
                <a:ext uri="{FF2B5EF4-FFF2-40B4-BE49-F238E27FC236}">
                  <a16:creationId xmlns:a16="http://schemas.microsoft.com/office/drawing/2014/main" id="{0502F8BE-D108-6E43-B150-A9FB98390964}"/>
                </a:ext>
              </a:extLst>
            </p:cNvPr>
            <p:cNvSpPr/>
            <p:nvPr/>
          </p:nvSpPr>
          <p:spPr bwMode="auto">
            <a:xfrm>
              <a:off x="8129122" y="39009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5" name="Oval 1584">
              <a:extLst>
                <a:ext uri="{FF2B5EF4-FFF2-40B4-BE49-F238E27FC236}">
                  <a16:creationId xmlns:a16="http://schemas.microsoft.com/office/drawing/2014/main" id="{F59BE761-A224-8449-B4F7-E1B6326380BB}"/>
                </a:ext>
              </a:extLst>
            </p:cNvPr>
            <p:cNvSpPr/>
            <p:nvPr/>
          </p:nvSpPr>
          <p:spPr bwMode="auto">
            <a:xfrm>
              <a:off x="8637259" y="30030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6" name="Oval 1585">
              <a:extLst>
                <a:ext uri="{FF2B5EF4-FFF2-40B4-BE49-F238E27FC236}">
                  <a16:creationId xmlns:a16="http://schemas.microsoft.com/office/drawing/2014/main" id="{BCEE8D47-9A65-1A41-8F74-171B664338D3}"/>
                </a:ext>
              </a:extLst>
            </p:cNvPr>
            <p:cNvSpPr/>
            <p:nvPr/>
          </p:nvSpPr>
          <p:spPr bwMode="auto">
            <a:xfrm>
              <a:off x="8636114" y="275834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7" name="Oval 1586">
              <a:extLst>
                <a:ext uri="{FF2B5EF4-FFF2-40B4-BE49-F238E27FC236}">
                  <a16:creationId xmlns:a16="http://schemas.microsoft.com/office/drawing/2014/main" id="{3B427E8E-8910-9A45-BB5F-B012DDA49E4E}"/>
                </a:ext>
              </a:extLst>
            </p:cNvPr>
            <p:cNvSpPr/>
            <p:nvPr/>
          </p:nvSpPr>
          <p:spPr bwMode="auto">
            <a:xfrm>
              <a:off x="8693176" y="261432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8" name="Oval 1587">
              <a:extLst>
                <a:ext uri="{FF2B5EF4-FFF2-40B4-BE49-F238E27FC236}">
                  <a16:creationId xmlns:a16="http://schemas.microsoft.com/office/drawing/2014/main" id="{91F6E864-F5D3-CA4A-BCF3-B3CF0CE75D05}"/>
                </a:ext>
              </a:extLst>
            </p:cNvPr>
            <p:cNvSpPr/>
            <p:nvPr/>
          </p:nvSpPr>
          <p:spPr bwMode="auto">
            <a:xfrm>
              <a:off x="8761540"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89" name="Oval 1588">
              <a:extLst>
                <a:ext uri="{FF2B5EF4-FFF2-40B4-BE49-F238E27FC236}">
                  <a16:creationId xmlns:a16="http://schemas.microsoft.com/office/drawing/2014/main" id="{1D063A38-E9D6-5F49-B90E-153D0DEA782A}"/>
                </a:ext>
              </a:extLst>
            </p:cNvPr>
            <p:cNvSpPr/>
            <p:nvPr/>
          </p:nvSpPr>
          <p:spPr bwMode="auto">
            <a:xfrm>
              <a:off x="8954539" y="2564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0" name="Oval 1589">
              <a:extLst>
                <a:ext uri="{FF2B5EF4-FFF2-40B4-BE49-F238E27FC236}">
                  <a16:creationId xmlns:a16="http://schemas.microsoft.com/office/drawing/2014/main" id="{A995D35F-1DDC-CE49-9425-DB9F1365B4B4}"/>
                </a:ext>
              </a:extLst>
            </p:cNvPr>
            <p:cNvSpPr/>
            <p:nvPr/>
          </p:nvSpPr>
          <p:spPr bwMode="auto">
            <a:xfrm>
              <a:off x="8895334" y="2633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1" name="Oval 1590">
              <a:extLst>
                <a:ext uri="{FF2B5EF4-FFF2-40B4-BE49-F238E27FC236}">
                  <a16:creationId xmlns:a16="http://schemas.microsoft.com/office/drawing/2014/main" id="{E95CEAD1-EF3E-6C47-B3D4-760F43DD33E2}"/>
                </a:ext>
              </a:extLst>
            </p:cNvPr>
            <p:cNvSpPr/>
            <p:nvPr/>
          </p:nvSpPr>
          <p:spPr bwMode="auto">
            <a:xfrm>
              <a:off x="8809815" y="273825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2" name="Oval 1591">
              <a:extLst>
                <a:ext uri="{FF2B5EF4-FFF2-40B4-BE49-F238E27FC236}">
                  <a16:creationId xmlns:a16="http://schemas.microsoft.com/office/drawing/2014/main" id="{3E5E7895-ADA9-8641-91A6-7A47E3095146}"/>
                </a:ext>
              </a:extLst>
            </p:cNvPr>
            <p:cNvSpPr/>
            <p:nvPr/>
          </p:nvSpPr>
          <p:spPr bwMode="auto">
            <a:xfrm>
              <a:off x="8852575" y="28267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3" name="Oval 1592">
              <a:extLst>
                <a:ext uri="{FF2B5EF4-FFF2-40B4-BE49-F238E27FC236}">
                  <a16:creationId xmlns:a16="http://schemas.microsoft.com/office/drawing/2014/main" id="{EB8D9C50-BC7A-F64A-B6BB-07B7DAC0C3D6}"/>
                </a:ext>
              </a:extLst>
            </p:cNvPr>
            <p:cNvSpPr/>
            <p:nvPr/>
          </p:nvSpPr>
          <p:spPr bwMode="auto">
            <a:xfrm>
              <a:off x="9112421" y="28497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4" name="Oval 1593">
              <a:extLst>
                <a:ext uri="{FF2B5EF4-FFF2-40B4-BE49-F238E27FC236}">
                  <a16:creationId xmlns:a16="http://schemas.microsoft.com/office/drawing/2014/main" id="{F661BC66-425A-5E4E-A9C1-BF792D6BC309}"/>
                </a:ext>
              </a:extLst>
            </p:cNvPr>
            <p:cNvSpPr/>
            <p:nvPr/>
          </p:nvSpPr>
          <p:spPr bwMode="auto">
            <a:xfrm>
              <a:off x="9236348" y="28530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5" name="Oval 1594">
              <a:extLst>
                <a:ext uri="{FF2B5EF4-FFF2-40B4-BE49-F238E27FC236}">
                  <a16:creationId xmlns:a16="http://schemas.microsoft.com/office/drawing/2014/main" id="{0122873E-F8D0-8042-BE2A-C242836B77A9}"/>
                </a:ext>
              </a:extLst>
            </p:cNvPr>
            <p:cNvSpPr/>
            <p:nvPr/>
          </p:nvSpPr>
          <p:spPr bwMode="auto">
            <a:xfrm>
              <a:off x="9236348"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6" name="Oval 1595">
              <a:extLst>
                <a:ext uri="{FF2B5EF4-FFF2-40B4-BE49-F238E27FC236}">
                  <a16:creationId xmlns:a16="http://schemas.microsoft.com/office/drawing/2014/main" id="{50766BA4-E011-0D48-A750-E180544E1F7C}"/>
                </a:ext>
              </a:extLst>
            </p:cNvPr>
            <p:cNvSpPr/>
            <p:nvPr/>
          </p:nvSpPr>
          <p:spPr bwMode="auto">
            <a:xfrm>
              <a:off x="8461785" y="292831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7" name="Oval 1596">
              <a:extLst>
                <a:ext uri="{FF2B5EF4-FFF2-40B4-BE49-F238E27FC236}">
                  <a16:creationId xmlns:a16="http://schemas.microsoft.com/office/drawing/2014/main" id="{CFFA5A78-F7A9-6940-8820-AB9C1BD8ADD4}"/>
                </a:ext>
              </a:extLst>
            </p:cNvPr>
            <p:cNvSpPr/>
            <p:nvPr/>
          </p:nvSpPr>
          <p:spPr bwMode="auto">
            <a:xfrm>
              <a:off x="8461785"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8" name="Oval 1597">
              <a:extLst>
                <a:ext uri="{FF2B5EF4-FFF2-40B4-BE49-F238E27FC236}">
                  <a16:creationId xmlns:a16="http://schemas.microsoft.com/office/drawing/2014/main" id="{C27B3B9D-DF13-4B40-A501-61CD59FA3BE9}"/>
                </a:ext>
              </a:extLst>
            </p:cNvPr>
            <p:cNvSpPr/>
            <p:nvPr/>
          </p:nvSpPr>
          <p:spPr bwMode="auto">
            <a:xfrm>
              <a:off x="8518411" y="25913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599" name="Oval 1598">
              <a:extLst>
                <a:ext uri="{FF2B5EF4-FFF2-40B4-BE49-F238E27FC236}">
                  <a16:creationId xmlns:a16="http://schemas.microsoft.com/office/drawing/2014/main" id="{B9E83D79-C3E6-C942-96F9-0F4C14FF8B4F}"/>
                </a:ext>
              </a:extLst>
            </p:cNvPr>
            <p:cNvSpPr/>
            <p:nvPr/>
          </p:nvSpPr>
          <p:spPr bwMode="auto">
            <a:xfrm>
              <a:off x="8189490" y="24216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0" name="Oval 1599">
              <a:extLst>
                <a:ext uri="{FF2B5EF4-FFF2-40B4-BE49-F238E27FC236}">
                  <a16:creationId xmlns:a16="http://schemas.microsoft.com/office/drawing/2014/main" id="{651BF117-93F7-0F48-A62A-385226514B9D}"/>
                </a:ext>
              </a:extLst>
            </p:cNvPr>
            <p:cNvSpPr/>
            <p:nvPr/>
          </p:nvSpPr>
          <p:spPr bwMode="auto">
            <a:xfrm>
              <a:off x="8242117"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1" name="Oval 1600">
              <a:extLst>
                <a:ext uri="{FF2B5EF4-FFF2-40B4-BE49-F238E27FC236}">
                  <a16:creationId xmlns:a16="http://schemas.microsoft.com/office/drawing/2014/main" id="{69429B1C-E98A-B046-A312-10F9EA74287F}"/>
                </a:ext>
              </a:extLst>
            </p:cNvPr>
            <p:cNvSpPr/>
            <p:nvPr/>
          </p:nvSpPr>
          <p:spPr bwMode="auto">
            <a:xfrm>
              <a:off x="8103970" y="21885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2" name="Oval 1601">
              <a:extLst>
                <a:ext uri="{FF2B5EF4-FFF2-40B4-BE49-F238E27FC236}">
                  <a16:creationId xmlns:a16="http://schemas.microsoft.com/office/drawing/2014/main" id="{49C7ECC1-8A32-7F4A-B1FE-ED9F9934EDF6}"/>
                </a:ext>
              </a:extLst>
            </p:cNvPr>
            <p:cNvSpPr/>
            <p:nvPr/>
          </p:nvSpPr>
          <p:spPr bwMode="auto">
            <a:xfrm>
              <a:off x="8120416" y="21493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3" name="Oval 1602">
              <a:extLst>
                <a:ext uri="{FF2B5EF4-FFF2-40B4-BE49-F238E27FC236}">
                  <a16:creationId xmlns:a16="http://schemas.microsoft.com/office/drawing/2014/main" id="{C7377F58-29FC-3E4D-810C-D546053D2B8A}"/>
                </a:ext>
              </a:extLst>
            </p:cNvPr>
            <p:cNvSpPr/>
            <p:nvPr/>
          </p:nvSpPr>
          <p:spPr bwMode="auto">
            <a:xfrm>
              <a:off x="8140152" y="2093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4" name="Oval 1603">
              <a:extLst>
                <a:ext uri="{FF2B5EF4-FFF2-40B4-BE49-F238E27FC236}">
                  <a16:creationId xmlns:a16="http://schemas.microsoft.com/office/drawing/2014/main" id="{FFE5A62A-D34E-514D-8445-CD02263DAC1B}"/>
                </a:ext>
              </a:extLst>
            </p:cNvPr>
            <p:cNvSpPr/>
            <p:nvPr/>
          </p:nvSpPr>
          <p:spPr bwMode="auto">
            <a:xfrm>
              <a:off x="8173045" y="22539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5" name="Oval 1604">
              <a:extLst>
                <a:ext uri="{FF2B5EF4-FFF2-40B4-BE49-F238E27FC236}">
                  <a16:creationId xmlns:a16="http://schemas.microsoft.com/office/drawing/2014/main" id="{EE382331-2DF0-544C-9E3B-1F6934DAF9B6}"/>
                </a:ext>
              </a:extLst>
            </p:cNvPr>
            <p:cNvSpPr/>
            <p:nvPr/>
          </p:nvSpPr>
          <p:spPr bwMode="auto">
            <a:xfrm>
              <a:off x="8024223" y="229011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6" name="Oval 1605">
              <a:extLst>
                <a:ext uri="{FF2B5EF4-FFF2-40B4-BE49-F238E27FC236}">
                  <a16:creationId xmlns:a16="http://schemas.microsoft.com/office/drawing/2014/main" id="{ED5C8524-5C5B-D044-A5DE-7A30A2C3F392}"/>
                </a:ext>
              </a:extLst>
            </p:cNvPr>
            <p:cNvSpPr/>
            <p:nvPr/>
          </p:nvSpPr>
          <p:spPr bwMode="auto">
            <a:xfrm>
              <a:off x="7850604" y="2171701"/>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7" name="Oval 1606">
              <a:extLst>
                <a:ext uri="{FF2B5EF4-FFF2-40B4-BE49-F238E27FC236}">
                  <a16:creationId xmlns:a16="http://schemas.microsoft.com/office/drawing/2014/main" id="{FFB0118B-8E48-C946-9850-7D8EC91BCF9C}"/>
                </a:ext>
              </a:extLst>
            </p:cNvPr>
            <p:cNvSpPr/>
            <p:nvPr/>
          </p:nvSpPr>
          <p:spPr bwMode="auto">
            <a:xfrm>
              <a:off x="7615198" y="2211170"/>
              <a:ext cx="135791" cy="13579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8" name="Oval 1607">
              <a:extLst>
                <a:ext uri="{FF2B5EF4-FFF2-40B4-BE49-F238E27FC236}">
                  <a16:creationId xmlns:a16="http://schemas.microsoft.com/office/drawing/2014/main" id="{B1293334-6ED0-8843-9CC8-F4DBA9505486}"/>
                </a:ext>
              </a:extLst>
            </p:cNvPr>
            <p:cNvSpPr/>
            <p:nvPr/>
          </p:nvSpPr>
          <p:spPr bwMode="auto">
            <a:xfrm>
              <a:off x="7588531" y="2201658"/>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09" name="Oval 1608">
              <a:extLst>
                <a:ext uri="{FF2B5EF4-FFF2-40B4-BE49-F238E27FC236}">
                  <a16:creationId xmlns:a16="http://schemas.microsoft.com/office/drawing/2014/main" id="{24D27BFC-5914-6048-92A0-397EF52BD495}"/>
                </a:ext>
              </a:extLst>
            </p:cNvPr>
            <p:cNvSpPr/>
            <p:nvPr/>
          </p:nvSpPr>
          <p:spPr bwMode="auto">
            <a:xfrm>
              <a:off x="7532614" y="2253931"/>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0" name="Oval 1609">
              <a:extLst>
                <a:ext uri="{FF2B5EF4-FFF2-40B4-BE49-F238E27FC236}">
                  <a16:creationId xmlns:a16="http://schemas.microsoft.com/office/drawing/2014/main" id="{0370D68E-A172-EA43-9EED-C4E46E79DCEE}"/>
                </a:ext>
              </a:extLst>
            </p:cNvPr>
            <p:cNvSpPr/>
            <p:nvPr/>
          </p:nvSpPr>
          <p:spPr bwMode="auto">
            <a:xfrm>
              <a:off x="7555639" y="2286823"/>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1" name="Oval 1610">
              <a:extLst>
                <a:ext uri="{FF2B5EF4-FFF2-40B4-BE49-F238E27FC236}">
                  <a16:creationId xmlns:a16="http://schemas.microsoft.com/office/drawing/2014/main" id="{3E789C3B-B9DC-6147-A790-F864914B5CA9}"/>
                </a:ext>
              </a:extLst>
            </p:cNvPr>
            <p:cNvSpPr/>
            <p:nvPr/>
          </p:nvSpPr>
          <p:spPr bwMode="auto">
            <a:xfrm>
              <a:off x="7637869" y="2361765"/>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2" name="Oval 1611">
              <a:extLst>
                <a:ext uri="{FF2B5EF4-FFF2-40B4-BE49-F238E27FC236}">
                  <a16:creationId xmlns:a16="http://schemas.microsoft.com/office/drawing/2014/main" id="{7C5D082E-F345-BD40-8811-EDD3619932EF}"/>
                </a:ext>
              </a:extLst>
            </p:cNvPr>
            <p:cNvSpPr/>
            <p:nvPr/>
          </p:nvSpPr>
          <p:spPr bwMode="auto">
            <a:xfrm>
              <a:off x="7611200" y="2592009"/>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3" name="Oval 1612">
              <a:extLst>
                <a:ext uri="{FF2B5EF4-FFF2-40B4-BE49-F238E27FC236}">
                  <a16:creationId xmlns:a16="http://schemas.microsoft.com/office/drawing/2014/main" id="{BD8589E1-7EC5-A841-9C58-3E4DA9157B9C}"/>
                </a:ext>
              </a:extLst>
            </p:cNvPr>
            <p:cNvSpPr/>
            <p:nvPr/>
          </p:nvSpPr>
          <p:spPr bwMode="auto">
            <a:xfrm>
              <a:off x="7539902" y="2601877"/>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4" name="Oval 1613">
              <a:extLst>
                <a:ext uri="{FF2B5EF4-FFF2-40B4-BE49-F238E27FC236}">
                  <a16:creationId xmlns:a16="http://schemas.microsoft.com/office/drawing/2014/main" id="{52D28ABB-CE3D-FD45-B952-B0E9B9DAF8BF}"/>
                </a:ext>
              </a:extLst>
            </p:cNvPr>
            <p:cNvSpPr/>
            <p:nvPr/>
          </p:nvSpPr>
          <p:spPr bwMode="auto">
            <a:xfrm>
              <a:off x="7709877" y="2545960"/>
              <a:ext cx="93133" cy="9313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5" name="Oval 1614">
              <a:extLst>
                <a:ext uri="{FF2B5EF4-FFF2-40B4-BE49-F238E27FC236}">
                  <a16:creationId xmlns:a16="http://schemas.microsoft.com/office/drawing/2014/main" id="{531BF9B9-86F3-8140-B55F-FC985071523B}"/>
                </a:ext>
              </a:extLst>
            </p:cNvPr>
            <p:cNvSpPr/>
            <p:nvPr/>
          </p:nvSpPr>
          <p:spPr bwMode="auto">
            <a:xfrm>
              <a:off x="7706587" y="2427905"/>
              <a:ext cx="124862" cy="12486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6" name="Oval 1615">
              <a:extLst>
                <a:ext uri="{FF2B5EF4-FFF2-40B4-BE49-F238E27FC236}">
                  <a16:creationId xmlns:a16="http://schemas.microsoft.com/office/drawing/2014/main" id="{347DE706-D467-634F-BAB4-EFABB0DABBF3}"/>
                </a:ext>
              </a:extLst>
            </p:cNvPr>
            <p:cNvSpPr/>
            <p:nvPr/>
          </p:nvSpPr>
          <p:spPr bwMode="auto">
            <a:xfrm>
              <a:off x="7791398" y="23551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7" name="Oval 1616">
              <a:extLst>
                <a:ext uri="{FF2B5EF4-FFF2-40B4-BE49-F238E27FC236}">
                  <a16:creationId xmlns:a16="http://schemas.microsoft.com/office/drawing/2014/main" id="{77013456-CE07-424E-9EC3-1FCBCC56D3D1}"/>
                </a:ext>
              </a:extLst>
            </p:cNvPr>
            <p:cNvSpPr/>
            <p:nvPr/>
          </p:nvSpPr>
          <p:spPr bwMode="auto">
            <a:xfrm>
              <a:off x="7765085" y="232629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8" name="Oval 1617">
              <a:extLst>
                <a:ext uri="{FF2B5EF4-FFF2-40B4-BE49-F238E27FC236}">
                  <a16:creationId xmlns:a16="http://schemas.microsoft.com/office/drawing/2014/main" id="{6935293E-691D-E742-993B-5F9A06081CE9}"/>
                </a:ext>
              </a:extLst>
            </p:cNvPr>
            <p:cNvSpPr/>
            <p:nvPr/>
          </p:nvSpPr>
          <p:spPr bwMode="auto">
            <a:xfrm>
              <a:off x="7768374" y="2277309"/>
              <a:ext cx="110895" cy="11089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19" name="Oval 1618">
              <a:extLst>
                <a:ext uri="{FF2B5EF4-FFF2-40B4-BE49-F238E27FC236}">
                  <a16:creationId xmlns:a16="http://schemas.microsoft.com/office/drawing/2014/main" id="{0E5D6DD0-5CEC-F54C-BAE0-F81B9E7511C4}"/>
                </a:ext>
              </a:extLst>
            </p:cNvPr>
            <p:cNvSpPr/>
            <p:nvPr/>
          </p:nvSpPr>
          <p:spPr bwMode="auto">
            <a:xfrm>
              <a:off x="7853539" y="2293756"/>
              <a:ext cx="121117" cy="121117"/>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0" name="Oval 1619">
              <a:extLst>
                <a:ext uri="{FF2B5EF4-FFF2-40B4-BE49-F238E27FC236}">
                  <a16:creationId xmlns:a16="http://schemas.microsoft.com/office/drawing/2014/main" id="{40491DF0-FF5A-604E-8985-E8C674F9F36B}"/>
                </a:ext>
              </a:extLst>
            </p:cNvPr>
            <p:cNvSpPr/>
            <p:nvPr/>
          </p:nvSpPr>
          <p:spPr bwMode="auto">
            <a:xfrm>
              <a:off x="8024223" y="237527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1" name="Oval 1620">
              <a:extLst>
                <a:ext uri="{FF2B5EF4-FFF2-40B4-BE49-F238E27FC236}">
                  <a16:creationId xmlns:a16="http://schemas.microsoft.com/office/drawing/2014/main" id="{58320454-A83B-D641-8492-CDA2E7B82CC8}"/>
                </a:ext>
              </a:extLst>
            </p:cNvPr>
            <p:cNvSpPr/>
            <p:nvPr/>
          </p:nvSpPr>
          <p:spPr bwMode="auto">
            <a:xfrm>
              <a:off x="7902878"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2" name="Oval 1621">
              <a:extLst>
                <a:ext uri="{FF2B5EF4-FFF2-40B4-BE49-F238E27FC236}">
                  <a16:creationId xmlns:a16="http://schemas.microsoft.com/office/drawing/2014/main" id="{AA340392-CA8B-B84B-B199-FB94CD1A73B5}"/>
                </a:ext>
              </a:extLst>
            </p:cNvPr>
            <p:cNvSpPr/>
            <p:nvPr/>
          </p:nvSpPr>
          <p:spPr bwMode="auto">
            <a:xfrm>
              <a:off x="7818066" y="2513780"/>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3" name="Oval 1622">
              <a:extLst>
                <a:ext uri="{FF2B5EF4-FFF2-40B4-BE49-F238E27FC236}">
                  <a16:creationId xmlns:a16="http://schemas.microsoft.com/office/drawing/2014/main" id="{4D98D9C3-07FA-2945-8FFE-56A6321598DE}"/>
                </a:ext>
              </a:extLst>
            </p:cNvPr>
            <p:cNvSpPr/>
            <p:nvPr/>
          </p:nvSpPr>
          <p:spPr bwMode="auto">
            <a:xfrm>
              <a:off x="8084492"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4" name="Oval 1623">
              <a:extLst>
                <a:ext uri="{FF2B5EF4-FFF2-40B4-BE49-F238E27FC236}">
                  <a16:creationId xmlns:a16="http://schemas.microsoft.com/office/drawing/2014/main" id="{C02CB7A8-76B4-364E-A4F5-AC8E31787432}"/>
                </a:ext>
              </a:extLst>
            </p:cNvPr>
            <p:cNvSpPr/>
            <p:nvPr/>
          </p:nvSpPr>
          <p:spPr bwMode="auto">
            <a:xfrm>
              <a:off x="8045022" y="257485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5" name="Oval 1624">
              <a:extLst>
                <a:ext uri="{FF2B5EF4-FFF2-40B4-BE49-F238E27FC236}">
                  <a16:creationId xmlns:a16="http://schemas.microsoft.com/office/drawing/2014/main" id="{5464BF13-7BAF-D44C-A176-5E60F1BE0FFD}"/>
                </a:ext>
              </a:extLst>
            </p:cNvPr>
            <p:cNvSpPr/>
            <p:nvPr/>
          </p:nvSpPr>
          <p:spPr bwMode="auto">
            <a:xfrm>
              <a:off x="8035154" y="254560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6" name="Oval 1625">
              <a:extLst>
                <a:ext uri="{FF2B5EF4-FFF2-40B4-BE49-F238E27FC236}">
                  <a16:creationId xmlns:a16="http://schemas.microsoft.com/office/drawing/2014/main" id="{68804168-6FC2-FD42-8843-C143B1BC0475}"/>
                </a:ext>
              </a:extLst>
            </p:cNvPr>
            <p:cNvSpPr/>
            <p:nvPr/>
          </p:nvSpPr>
          <p:spPr bwMode="auto">
            <a:xfrm>
              <a:off x="7992394" y="2506136"/>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7" name="Oval 1626">
              <a:extLst>
                <a:ext uri="{FF2B5EF4-FFF2-40B4-BE49-F238E27FC236}">
                  <a16:creationId xmlns:a16="http://schemas.microsoft.com/office/drawing/2014/main" id="{D119A0FC-CF24-BC4B-809F-874A9D6864D8}"/>
                </a:ext>
              </a:extLst>
            </p:cNvPr>
            <p:cNvSpPr/>
            <p:nvPr/>
          </p:nvSpPr>
          <p:spPr bwMode="auto">
            <a:xfrm>
              <a:off x="7952923" y="245715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8" name="Oval 1627">
              <a:extLst>
                <a:ext uri="{FF2B5EF4-FFF2-40B4-BE49-F238E27FC236}">
                  <a16:creationId xmlns:a16="http://schemas.microsoft.com/office/drawing/2014/main" id="{25E1C655-C189-9D4D-9C36-91439F3A5776}"/>
                </a:ext>
              </a:extLst>
            </p:cNvPr>
            <p:cNvSpPr/>
            <p:nvPr/>
          </p:nvSpPr>
          <p:spPr bwMode="auto">
            <a:xfrm>
              <a:off x="7939766" y="2355542"/>
              <a:ext cx="113831" cy="113831"/>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29" name="Oval 1628">
              <a:extLst>
                <a:ext uri="{FF2B5EF4-FFF2-40B4-BE49-F238E27FC236}">
                  <a16:creationId xmlns:a16="http://schemas.microsoft.com/office/drawing/2014/main" id="{E3CBAC96-AFBA-4044-9A03-8241FA8B9106}"/>
                </a:ext>
              </a:extLst>
            </p:cNvPr>
            <p:cNvSpPr/>
            <p:nvPr/>
          </p:nvSpPr>
          <p:spPr bwMode="auto">
            <a:xfrm>
              <a:off x="7840384" y="2411104"/>
              <a:ext cx="102192" cy="102192"/>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0" name="Oval 1629">
              <a:extLst>
                <a:ext uri="{FF2B5EF4-FFF2-40B4-BE49-F238E27FC236}">
                  <a16:creationId xmlns:a16="http://schemas.microsoft.com/office/drawing/2014/main" id="{79132ED9-AC35-554D-9CCA-17A134660411}"/>
                </a:ext>
              </a:extLst>
            </p:cNvPr>
            <p:cNvSpPr/>
            <p:nvPr/>
          </p:nvSpPr>
          <p:spPr bwMode="auto">
            <a:xfrm>
              <a:off x="8126995" y="253245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1" name="Oval 1630">
              <a:extLst>
                <a:ext uri="{FF2B5EF4-FFF2-40B4-BE49-F238E27FC236}">
                  <a16:creationId xmlns:a16="http://schemas.microsoft.com/office/drawing/2014/main" id="{EAA6C4D0-709E-6C47-A0BC-6FBE5A86825D}"/>
                </a:ext>
              </a:extLst>
            </p:cNvPr>
            <p:cNvSpPr/>
            <p:nvPr/>
          </p:nvSpPr>
          <p:spPr bwMode="auto">
            <a:xfrm>
              <a:off x="8090814" y="255511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2" name="Oval 1631">
              <a:extLst>
                <a:ext uri="{FF2B5EF4-FFF2-40B4-BE49-F238E27FC236}">
                  <a16:creationId xmlns:a16="http://schemas.microsoft.com/office/drawing/2014/main" id="{A04FB605-2BA4-164F-8F5C-D90E930FC606}"/>
                </a:ext>
              </a:extLst>
            </p:cNvPr>
            <p:cNvSpPr/>
            <p:nvPr/>
          </p:nvSpPr>
          <p:spPr bwMode="auto">
            <a:xfrm>
              <a:off x="8120416" y="2450573"/>
              <a:ext cx="104219" cy="10421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3" name="Oval 1632">
              <a:extLst>
                <a:ext uri="{FF2B5EF4-FFF2-40B4-BE49-F238E27FC236}">
                  <a16:creationId xmlns:a16="http://schemas.microsoft.com/office/drawing/2014/main" id="{4B2B208F-7DAC-364F-8953-0C43D806B4CE}"/>
                </a:ext>
              </a:extLst>
            </p:cNvPr>
            <p:cNvSpPr/>
            <p:nvPr/>
          </p:nvSpPr>
          <p:spPr bwMode="auto">
            <a:xfrm>
              <a:off x="8017645" y="244070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4" name="Oval 1633">
              <a:extLst>
                <a:ext uri="{FF2B5EF4-FFF2-40B4-BE49-F238E27FC236}">
                  <a16:creationId xmlns:a16="http://schemas.microsoft.com/office/drawing/2014/main" id="{73FCCD2A-55C8-7748-95F4-6293732D27F0}"/>
                </a:ext>
              </a:extLst>
            </p:cNvPr>
            <p:cNvSpPr/>
            <p:nvPr/>
          </p:nvSpPr>
          <p:spPr bwMode="auto">
            <a:xfrm>
              <a:off x="8064501" y="247982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5" name="Oval 1634">
              <a:extLst>
                <a:ext uri="{FF2B5EF4-FFF2-40B4-BE49-F238E27FC236}">
                  <a16:creationId xmlns:a16="http://schemas.microsoft.com/office/drawing/2014/main" id="{AAE156A7-4361-FD4E-9383-F00C1E4BCC29}"/>
                </a:ext>
              </a:extLst>
            </p:cNvPr>
            <p:cNvSpPr/>
            <p:nvPr/>
          </p:nvSpPr>
          <p:spPr bwMode="auto">
            <a:xfrm>
              <a:off x="8312254" y="261832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6" name="Oval 1635">
              <a:extLst>
                <a:ext uri="{FF2B5EF4-FFF2-40B4-BE49-F238E27FC236}">
                  <a16:creationId xmlns:a16="http://schemas.microsoft.com/office/drawing/2014/main" id="{BBA9574B-7743-1445-864E-F12404A2E8CD}"/>
                </a:ext>
              </a:extLst>
            </p:cNvPr>
            <p:cNvSpPr/>
            <p:nvPr/>
          </p:nvSpPr>
          <p:spPr bwMode="auto">
            <a:xfrm>
              <a:off x="8312254" y="2735317"/>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7" name="Oval 1636">
              <a:extLst>
                <a:ext uri="{FF2B5EF4-FFF2-40B4-BE49-F238E27FC236}">
                  <a16:creationId xmlns:a16="http://schemas.microsoft.com/office/drawing/2014/main" id="{F1713831-BF69-864B-9E0B-912E7B7DE52E}"/>
                </a:ext>
              </a:extLst>
            </p:cNvPr>
            <p:cNvSpPr/>
            <p:nvPr/>
          </p:nvSpPr>
          <p:spPr bwMode="auto">
            <a:xfrm>
              <a:off x="8263271"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8" name="Oval 1637">
              <a:extLst>
                <a:ext uri="{FF2B5EF4-FFF2-40B4-BE49-F238E27FC236}">
                  <a16:creationId xmlns:a16="http://schemas.microsoft.com/office/drawing/2014/main" id="{4E10EC93-B9BF-324B-B3FE-A341B69E583F}"/>
                </a:ext>
              </a:extLst>
            </p:cNvPr>
            <p:cNvSpPr/>
            <p:nvPr/>
          </p:nvSpPr>
          <p:spPr bwMode="auto">
            <a:xfrm>
              <a:off x="8354660" y="270242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39" name="Oval 1638">
              <a:extLst>
                <a:ext uri="{FF2B5EF4-FFF2-40B4-BE49-F238E27FC236}">
                  <a16:creationId xmlns:a16="http://schemas.microsoft.com/office/drawing/2014/main" id="{6A28273C-5552-3441-A54E-FC1E7C340FD3}"/>
                </a:ext>
              </a:extLst>
            </p:cNvPr>
            <p:cNvSpPr/>
            <p:nvPr/>
          </p:nvSpPr>
          <p:spPr bwMode="auto">
            <a:xfrm>
              <a:off x="8328346" y="2793814"/>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0" name="Oval 1639">
              <a:extLst>
                <a:ext uri="{FF2B5EF4-FFF2-40B4-BE49-F238E27FC236}">
                  <a16:creationId xmlns:a16="http://schemas.microsoft.com/office/drawing/2014/main" id="{9568ECFC-74B6-0A49-904D-486F72F11609}"/>
                </a:ext>
              </a:extLst>
            </p:cNvPr>
            <p:cNvSpPr/>
            <p:nvPr/>
          </p:nvSpPr>
          <p:spPr bwMode="auto">
            <a:xfrm>
              <a:off x="8276074" y="279710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1" name="Oval 1640">
              <a:extLst>
                <a:ext uri="{FF2B5EF4-FFF2-40B4-BE49-F238E27FC236}">
                  <a16:creationId xmlns:a16="http://schemas.microsoft.com/office/drawing/2014/main" id="{2DE0B32B-1176-F84E-A16D-220E9B44C394}"/>
                </a:ext>
              </a:extLst>
            </p:cNvPr>
            <p:cNvSpPr/>
            <p:nvPr/>
          </p:nvSpPr>
          <p:spPr bwMode="auto">
            <a:xfrm>
              <a:off x="8455916" y="274776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2" name="Oval 1641">
              <a:extLst>
                <a:ext uri="{FF2B5EF4-FFF2-40B4-BE49-F238E27FC236}">
                  <a16:creationId xmlns:a16="http://schemas.microsoft.com/office/drawing/2014/main" id="{D6859EBD-21E5-8B48-8DA8-7983DCA8DCF4}"/>
                </a:ext>
              </a:extLst>
            </p:cNvPr>
            <p:cNvSpPr/>
            <p:nvPr/>
          </p:nvSpPr>
          <p:spPr bwMode="auto">
            <a:xfrm>
              <a:off x="8527924" y="2829995"/>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3" name="Oval 1642">
              <a:extLst>
                <a:ext uri="{FF2B5EF4-FFF2-40B4-BE49-F238E27FC236}">
                  <a16:creationId xmlns:a16="http://schemas.microsoft.com/office/drawing/2014/main" id="{B4F55A91-9EC7-A24E-B4B8-2C8966B0A409}"/>
                </a:ext>
              </a:extLst>
            </p:cNvPr>
            <p:cNvSpPr/>
            <p:nvPr/>
          </p:nvSpPr>
          <p:spPr bwMode="auto">
            <a:xfrm>
              <a:off x="8580552" y="2898713"/>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4" name="Oval 1643">
              <a:extLst>
                <a:ext uri="{FF2B5EF4-FFF2-40B4-BE49-F238E27FC236}">
                  <a16:creationId xmlns:a16="http://schemas.microsoft.com/office/drawing/2014/main" id="{1FA66350-7352-6348-8A1E-F81F0175AD5E}"/>
                </a:ext>
              </a:extLst>
            </p:cNvPr>
            <p:cNvSpPr/>
            <p:nvPr/>
          </p:nvSpPr>
          <p:spPr bwMode="auto">
            <a:xfrm>
              <a:off x="8619313" y="2918448"/>
              <a:ext cx="84935" cy="84935"/>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5" name="Oval 1644">
              <a:extLst>
                <a:ext uri="{FF2B5EF4-FFF2-40B4-BE49-F238E27FC236}">
                  <a16:creationId xmlns:a16="http://schemas.microsoft.com/office/drawing/2014/main" id="{384BCEE6-0BEB-7F43-BE72-A38A289E6409}"/>
                </a:ext>
              </a:extLst>
            </p:cNvPr>
            <p:cNvSpPr/>
            <p:nvPr/>
          </p:nvSpPr>
          <p:spPr bwMode="auto">
            <a:xfrm>
              <a:off x="9654884" y="337235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6" name="Oval 1645">
              <a:extLst>
                <a:ext uri="{FF2B5EF4-FFF2-40B4-BE49-F238E27FC236}">
                  <a16:creationId xmlns:a16="http://schemas.microsoft.com/office/drawing/2014/main" id="{162E464D-29DF-5C43-978C-252477C4CCEF}"/>
                </a:ext>
              </a:extLst>
            </p:cNvPr>
            <p:cNvSpPr/>
            <p:nvPr/>
          </p:nvSpPr>
          <p:spPr bwMode="auto">
            <a:xfrm>
              <a:off x="9654884" y="328835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7" name="Oval 1646">
              <a:extLst>
                <a:ext uri="{FF2B5EF4-FFF2-40B4-BE49-F238E27FC236}">
                  <a16:creationId xmlns:a16="http://schemas.microsoft.com/office/drawing/2014/main" id="{592310BA-D2B2-0D40-B7BB-E4214669D9CB}"/>
                </a:ext>
              </a:extLst>
            </p:cNvPr>
            <p:cNvSpPr/>
            <p:nvPr/>
          </p:nvSpPr>
          <p:spPr bwMode="auto">
            <a:xfrm>
              <a:off x="9779873" y="307562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8" name="Oval 1647">
              <a:extLst>
                <a:ext uri="{FF2B5EF4-FFF2-40B4-BE49-F238E27FC236}">
                  <a16:creationId xmlns:a16="http://schemas.microsoft.com/office/drawing/2014/main" id="{2C3EECBC-9C4D-1F45-BD89-09816D666F77}"/>
                </a:ext>
              </a:extLst>
            </p:cNvPr>
            <p:cNvSpPr/>
            <p:nvPr/>
          </p:nvSpPr>
          <p:spPr bwMode="auto">
            <a:xfrm>
              <a:off x="9770005" y="292538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49" name="Oval 1648">
              <a:extLst>
                <a:ext uri="{FF2B5EF4-FFF2-40B4-BE49-F238E27FC236}">
                  <a16:creationId xmlns:a16="http://schemas.microsoft.com/office/drawing/2014/main" id="{8C96EFBA-FFB7-1345-B3F2-E50D3E59EEE0}"/>
                </a:ext>
              </a:extLst>
            </p:cNvPr>
            <p:cNvSpPr/>
            <p:nvPr/>
          </p:nvSpPr>
          <p:spPr bwMode="auto">
            <a:xfrm>
              <a:off x="9635503"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0" name="Oval 1649">
              <a:extLst>
                <a:ext uri="{FF2B5EF4-FFF2-40B4-BE49-F238E27FC236}">
                  <a16:creationId xmlns:a16="http://schemas.microsoft.com/office/drawing/2014/main" id="{C71DC73F-D916-B945-9356-1120D21575D2}"/>
                </a:ext>
              </a:extLst>
            </p:cNvPr>
            <p:cNvSpPr/>
            <p:nvPr/>
          </p:nvSpPr>
          <p:spPr bwMode="auto">
            <a:xfrm>
              <a:off x="9664751" y="295498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1" name="Oval 1650">
              <a:extLst>
                <a:ext uri="{FF2B5EF4-FFF2-40B4-BE49-F238E27FC236}">
                  <a16:creationId xmlns:a16="http://schemas.microsoft.com/office/drawing/2014/main" id="{74040D01-8CD4-634E-BE2B-9B5507E96AB7}"/>
                </a:ext>
              </a:extLst>
            </p:cNvPr>
            <p:cNvSpPr/>
            <p:nvPr/>
          </p:nvSpPr>
          <p:spPr bwMode="auto">
            <a:xfrm>
              <a:off x="10249698"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2" name="Oval 1651">
              <a:extLst>
                <a:ext uri="{FF2B5EF4-FFF2-40B4-BE49-F238E27FC236}">
                  <a16:creationId xmlns:a16="http://schemas.microsoft.com/office/drawing/2014/main" id="{CD5933B0-A1C6-2F43-9740-4CA5549979A7}"/>
                </a:ext>
              </a:extLst>
            </p:cNvPr>
            <p:cNvSpPr/>
            <p:nvPr/>
          </p:nvSpPr>
          <p:spPr bwMode="auto">
            <a:xfrm>
              <a:off x="10075724" y="267540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3" name="Oval 1652">
              <a:extLst>
                <a:ext uri="{FF2B5EF4-FFF2-40B4-BE49-F238E27FC236}">
                  <a16:creationId xmlns:a16="http://schemas.microsoft.com/office/drawing/2014/main" id="{AF04D3CC-A6A1-8B41-8BD3-39F64764F3BB}"/>
                </a:ext>
              </a:extLst>
            </p:cNvPr>
            <p:cNvSpPr/>
            <p:nvPr/>
          </p:nvSpPr>
          <p:spPr bwMode="auto">
            <a:xfrm>
              <a:off x="9420543" y="310628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4" name="Oval 1653">
              <a:extLst>
                <a:ext uri="{FF2B5EF4-FFF2-40B4-BE49-F238E27FC236}">
                  <a16:creationId xmlns:a16="http://schemas.microsoft.com/office/drawing/2014/main" id="{4F61A715-DF6A-3C45-AD64-2E56F1B326ED}"/>
                </a:ext>
              </a:extLst>
            </p:cNvPr>
            <p:cNvSpPr/>
            <p:nvPr/>
          </p:nvSpPr>
          <p:spPr bwMode="auto">
            <a:xfrm>
              <a:off x="9476460" y="30365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5" name="Oval 1654">
              <a:extLst>
                <a:ext uri="{FF2B5EF4-FFF2-40B4-BE49-F238E27FC236}">
                  <a16:creationId xmlns:a16="http://schemas.microsoft.com/office/drawing/2014/main" id="{16B87388-FC95-E24A-80E9-CBD9B86D6D22}"/>
                </a:ext>
              </a:extLst>
            </p:cNvPr>
            <p:cNvSpPr/>
            <p:nvPr/>
          </p:nvSpPr>
          <p:spPr bwMode="auto">
            <a:xfrm>
              <a:off x="9476460" y="313776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6" name="Oval 1655">
              <a:extLst>
                <a:ext uri="{FF2B5EF4-FFF2-40B4-BE49-F238E27FC236}">
                  <a16:creationId xmlns:a16="http://schemas.microsoft.com/office/drawing/2014/main" id="{1C5607EA-406D-0D4E-82BC-A046E21912AB}"/>
                </a:ext>
              </a:extLst>
            </p:cNvPr>
            <p:cNvSpPr/>
            <p:nvPr/>
          </p:nvSpPr>
          <p:spPr bwMode="auto">
            <a:xfrm>
              <a:off x="9540471" y="3124605"/>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7" name="Oval 1656">
              <a:extLst>
                <a:ext uri="{FF2B5EF4-FFF2-40B4-BE49-F238E27FC236}">
                  <a16:creationId xmlns:a16="http://schemas.microsoft.com/office/drawing/2014/main" id="{56516B9F-8C77-D440-8D31-8AB155E46E37}"/>
                </a:ext>
              </a:extLst>
            </p:cNvPr>
            <p:cNvSpPr/>
            <p:nvPr/>
          </p:nvSpPr>
          <p:spPr bwMode="auto">
            <a:xfrm>
              <a:off x="9337603" y="298974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8" name="Oval 1657">
              <a:extLst>
                <a:ext uri="{FF2B5EF4-FFF2-40B4-BE49-F238E27FC236}">
                  <a16:creationId xmlns:a16="http://schemas.microsoft.com/office/drawing/2014/main" id="{5D78DB58-4B2F-7F46-B052-A9ECF045CF39}"/>
                </a:ext>
              </a:extLst>
            </p:cNvPr>
            <p:cNvSpPr/>
            <p:nvPr/>
          </p:nvSpPr>
          <p:spPr bwMode="auto">
            <a:xfrm>
              <a:off x="9860587" y="3520472"/>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59" name="Oval 1658">
              <a:extLst>
                <a:ext uri="{FF2B5EF4-FFF2-40B4-BE49-F238E27FC236}">
                  <a16:creationId xmlns:a16="http://schemas.microsoft.com/office/drawing/2014/main" id="{2F4503D5-EFF2-FB4F-902C-3265A10D69C8}"/>
                </a:ext>
              </a:extLst>
            </p:cNvPr>
            <p:cNvSpPr/>
            <p:nvPr/>
          </p:nvSpPr>
          <p:spPr bwMode="auto">
            <a:xfrm>
              <a:off x="10188897" y="348758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0" name="Oval 1659">
              <a:extLst>
                <a:ext uri="{FF2B5EF4-FFF2-40B4-BE49-F238E27FC236}">
                  <a16:creationId xmlns:a16="http://schemas.microsoft.com/office/drawing/2014/main" id="{7936CE19-0FBE-5F4E-BE3D-68491A5481DE}"/>
                </a:ext>
              </a:extLst>
            </p:cNvPr>
            <p:cNvSpPr/>
            <p:nvPr/>
          </p:nvSpPr>
          <p:spPr bwMode="auto">
            <a:xfrm>
              <a:off x="10469996" y="353362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1" name="Oval 1660">
              <a:extLst>
                <a:ext uri="{FF2B5EF4-FFF2-40B4-BE49-F238E27FC236}">
                  <a16:creationId xmlns:a16="http://schemas.microsoft.com/office/drawing/2014/main" id="{654D18A2-FCBD-3C43-9946-1DB870404983}"/>
                </a:ext>
              </a:extLst>
            </p:cNvPr>
            <p:cNvSpPr/>
            <p:nvPr/>
          </p:nvSpPr>
          <p:spPr bwMode="auto">
            <a:xfrm>
              <a:off x="10422431"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2" name="Oval 1661">
              <a:extLst>
                <a:ext uri="{FF2B5EF4-FFF2-40B4-BE49-F238E27FC236}">
                  <a16:creationId xmlns:a16="http://schemas.microsoft.com/office/drawing/2014/main" id="{EF4579D5-38A8-754B-BA7B-835D38A0DA79}"/>
                </a:ext>
              </a:extLst>
            </p:cNvPr>
            <p:cNvSpPr/>
            <p:nvPr/>
          </p:nvSpPr>
          <p:spPr bwMode="auto">
            <a:xfrm>
              <a:off x="10650902" y="3244179"/>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3" name="Oval 1662">
              <a:extLst>
                <a:ext uri="{FF2B5EF4-FFF2-40B4-BE49-F238E27FC236}">
                  <a16:creationId xmlns:a16="http://schemas.microsoft.com/office/drawing/2014/main" id="{21B9B5D5-B08B-544B-AE69-6FC1F62A0E68}"/>
                </a:ext>
              </a:extLst>
            </p:cNvPr>
            <p:cNvSpPr/>
            <p:nvPr/>
          </p:nvSpPr>
          <p:spPr bwMode="auto">
            <a:xfrm>
              <a:off x="11213100" y="3332988"/>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4" name="Oval 1663">
              <a:extLst>
                <a:ext uri="{FF2B5EF4-FFF2-40B4-BE49-F238E27FC236}">
                  <a16:creationId xmlns:a16="http://schemas.microsoft.com/office/drawing/2014/main" id="{A75A3459-C224-4144-A7E7-1FD6436B6D6C}"/>
                </a:ext>
              </a:extLst>
            </p:cNvPr>
            <p:cNvSpPr/>
            <p:nvPr/>
          </p:nvSpPr>
          <p:spPr bwMode="auto">
            <a:xfrm>
              <a:off x="11167051" y="375258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5" name="Oval 1664">
              <a:extLst>
                <a:ext uri="{FF2B5EF4-FFF2-40B4-BE49-F238E27FC236}">
                  <a16:creationId xmlns:a16="http://schemas.microsoft.com/office/drawing/2014/main" id="{F281A2C2-328A-1947-B832-56C32EAEF74C}"/>
                </a:ext>
              </a:extLst>
            </p:cNvPr>
            <p:cNvSpPr/>
            <p:nvPr/>
          </p:nvSpPr>
          <p:spPr bwMode="auto">
            <a:xfrm>
              <a:off x="11350538" y="368351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6" name="Oval 1665">
              <a:extLst>
                <a:ext uri="{FF2B5EF4-FFF2-40B4-BE49-F238E27FC236}">
                  <a16:creationId xmlns:a16="http://schemas.microsoft.com/office/drawing/2014/main" id="{30D1661A-7804-0D47-979C-771D8D57A5B2}"/>
                </a:ext>
              </a:extLst>
            </p:cNvPr>
            <p:cNvSpPr/>
            <p:nvPr/>
          </p:nvSpPr>
          <p:spPr bwMode="auto">
            <a:xfrm>
              <a:off x="10888887" y="373943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7" name="Oval 1666">
              <a:extLst>
                <a:ext uri="{FF2B5EF4-FFF2-40B4-BE49-F238E27FC236}">
                  <a16:creationId xmlns:a16="http://schemas.microsoft.com/office/drawing/2014/main" id="{E82A4082-060F-A243-9A6A-8892D038E5AA}"/>
                </a:ext>
              </a:extLst>
            </p:cNvPr>
            <p:cNvSpPr/>
            <p:nvPr/>
          </p:nvSpPr>
          <p:spPr bwMode="auto">
            <a:xfrm>
              <a:off x="10938225" y="3612570"/>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8" name="Oval 1667">
              <a:extLst>
                <a:ext uri="{FF2B5EF4-FFF2-40B4-BE49-F238E27FC236}">
                  <a16:creationId xmlns:a16="http://schemas.microsoft.com/office/drawing/2014/main" id="{278F76CB-8C0F-0447-8CF3-F5210880F7CD}"/>
                </a:ext>
              </a:extLst>
            </p:cNvPr>
            <p:cNvSpPr/>
            <p:nvPr/>
          </p:nvSpPr>
          <p:spPr bwMode="auto">
            <a:xfrm>
              <a:off x="10758738" y="368493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69" name="Oval 1668">
              <a:extLst>
                <a:ext uri="{FF2B5EF4-FFF2-40B4-BE49-F238E27FC236}">
                  <a16:creationId xmlns:a16="http://schemas.microsoft.com/office/drawing/2014/main" id="{B5AD9EB4-5495-C04E-A710-02FC96F75EE9}"/>
                </a:ext>
              </a:extLst>
            </p:cNvPr>
            <p:cNvSpPr/>
            <p:nvPr/>
          </p:nvSpPr>
          <p:spPr bwMode="auto">
            <a:xfrm>
              <a:off x="10568673" y="3642173"/>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0" name="Oval 1669">
              <a:extLst>
                <a:ext uri="{FF2B5EF4-FFF2-40B4-BE49-F238E27FC236}">
                  <a16:creationId xmlns:a16="http://schemas.microsoft.com/office/drawing/2014/main" id="{0B3DB53C-3FD3-4E45-9D49-038048442F5F}"/>
                </a:ext>
              </a:extLst>
            </p:cNvPr>
            <p:cNvSpPr/>
            <p:nvPr/>
          </p:nvSpPr>
          <p:spPr bwMode="auto">
            <a:xfrm>
              <a:off x="10558805" y="3753297"/>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1" name="Oval 1670">
              <a:extLst>
                <a:ext uri="{FF2B5EF4-FFF2-40B4-BE49-F238E27FC236}">
                  <a16:creationId xmlns:a16="http://schemas.microsoft.com/office/drawing/2014/main" id="{F10BA8A7-B393-084B-BC41-30A6011455FD}"/>
                </a:ext>
              </a:extLst>
            </p:cNvPr>
            <p:cNvSpPr/>
            <p:nvPr/>
          </p:nvSpPr>
          <p:spPr bwMode="auto">
            <a:xfrm>
              <a:off x="10197973" y="3812502"/>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2" name="Oval 1671">
              <a:extLst>
                <a:ext uri="{FF2B5EF4-FFF2-40B4-BE49-F238E27FC236}">
                  <a16:creationId xmlns:a16="http://schemas.microsoft.com/office/drawing/2014/main" id="{01DBB385-8A53-0742-8A90-AB70ADA8D6A5}"/>
                </a:ext>
              </a:extLst>
            </p:cNvPr>
            <p:cNvSpPr/>
            <p:nvPr/>
          </p:nvSpPr>
          <p:spPr bwMode="auto">
            <a:xfrm>
              <a:off x="9011715" y="2941473"/>
              <a:ext cx="141623" cy="141623"/>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3" name="Oval 1672">
              <a:extLst>
                <a:ext uri="{FF2B5EF4-FFF2-40B4-BE49-F238E27FC236}">
                  <a16:creationId xmlns:a16="http://schemas.microsoft.com/office/drawing/2014/main" id="{691D3BB5-C0F7-0F40-9850-C763206CDEDF}"/>
                </a:ext>
              </a:extLst>
            </p:cNvPr>
            <p:cNvSpPr/>
            <p:nvPr/>
          </p:nvSpPr>
          <p:spPr bwMode="auto">
            <a:xfrm>
              <a:off x="10183028" y="314140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4" name="Oval 1673">
              <a:extLst>
                <a:ext uri="{FF2B5EF4-FFF2-40B4-BE49-F238E27FC236}">
                  <a16:creationId xmlns:a16="http://schemas.microsoft.com/office/drawing/2014/main" id="{BE562E6A-5422-AD4F-A8CB-2627E6DE9F45}"/>
                </a:ext>
              </a:extLst>
            </p:cNvPr>
            <p:cNvSpPr/>
            <p:nvPr/>
          </p:nvSpPr>
          <p:spPr bwMode="auto">
            <a:xfrm>
              <a:off x="10212631" y="3101936"/>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5" name="Oval 1674">
              <a:extLst>
                <a:ext uri="{FF2B5EF4-FFF2-40B4-BE49-F238E27FC236}">
                  <a16:creationId xmlns:a16="http://schemas.microsoft.com/office/drawing/2014/main" id="{0B74B1C6-44D9-664F-81E9-513DBFDCA9C6}"/>
                </a:ext>
              </a:extLst>
            </p:cNvPr>
            <p:cNvSpPr/>
            <p:nvPr/>
          </p:nvSpPr>
          <p:spPr bwMode="auto">
            <a:xfrm>
              <a:off x="6901395" y="1536912"/>
              <a:ext cx="109579" cy="109579"/>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sp>
          <p:nvSpPr>
            <p:cNvPr id="1676" name="Oval 1675">
              <a:extLst>
                <a:ext uri="{FF2B5EF4-FFF2-40B4-BE49-F238E27FC236}">
                  <a16:creationId xmlns:a16="http://schemas.microsoft.com/office/drawing/2014/main" id="{35191CD2-83C0-7D4B-B5D5-C75C43C278E0}"/>
                </a:ext>
              </a:extLst>
            </p:cNvPr>
            <p:cNvSpPr/>
            <p:nvPr/>
          </p:nvSpPr>
          <p:spPr bwMode="auto">
            <a:xfrm>
              <a:off x="10945594" y="4227344"/>
              <a:ext cx="91356" cy="91356"/>
            </a:xfrm>
            <a:prstGeom prst="ellipse">
              <a:avLst/>
            </a:prstGeom>
            <a:grpFill/>
            <a:ln>
              <a:solidFill>
                <a:schemeClr val="bg1"/>
              </a:solidFill>
              <a:headEnd type="none" w="med" len="med"/>
              <a:tailEnd type="none" w="med" len="med"/>
            </a:ln>
            <a:effectLst>
              <a:outerShdw blurRad="139700" sx="101000" sy="101000" algn="ctr" rotWithShape="0">
                <a:schemeClr val="bg1">
                  <a:alpha val="31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2040" err="1">
                <a:gradFill>
                  <a:gsLst>
                    <a:gs pos="0">
                      <a:srgbClr val="FFFFFF"/>
                    </a:gs>
                    <a:gs pos="100000">
                      <a:srgbClr val="FFFFFF"/>
                    </a:gs>
                  </a:gsLst>
                  <a:lin ang="5400000" scaled="0"/>
                </a:gradFill>
                <a:latin typeface="Segoe UI"/>
                <a:cs typeface="Segoe UI" pitchFamily="34" charset="0"/>
              </a:endParaRPr>
            </a:p>
          </p:txBody>
        </p:sp>
      </p:grpSp>
      <p:grpSp>
        <p:nvGrpSpPr>
          <p:cNvPr id="1677" name="Group 1676">
            <a:extLst>
              <a:ext uri="{FF2B5EF4-FFF2-40B4-BE49-F238E27FC236}">
                <a16:creationId xmlns:a16="http://schemas.microsoft.com/office/drawing/2014/main" id="{0CCB8CB9-F751-7F40-9FAA-5610C48EFF1E}"/>
              </a:ext>
            </a:extLst>
          </p:cNvPr>
          <p:cNvGrpSpPr/>
          <p:nvPr/>
        </p:nvGrpSpPr>
        <p:grpSpPr>
          <a:xfrm>
            <a:off x="3258582" y="4537151"/>
            <a:ext cx="1642878" cy="1499976"/>
            <a:chOff x="4963793" y="4708040"/>
            <a:chExt cx="1106701" cy="1470885"/>
          </a:xfrm>
        </p:grpSpPr>
        <p:sp>
          <p:nvSpPr>
            <p:cNvPr id="1678" name="Text Placeholder 9">
              <a:extLst>
                <a:ext uri="{FF2B5EF4-FFF2-40B4-BE49-F238E27FC236}">
                  <a16:creationId xmlns:a16="http://schemas.microsoft.com/office/drawing/2014/main" id="{B4F4CEDA-60F7-4C4D-800D-E855071AEE71}"/>
                </a:ext>
              </a:extLst>
            </p:cNvPr>
            <p:cNvSpPr txBox="1">
              <a:spLocks/>
            </p:cNvSpPr>
            <p:nvPr/>
          </p:nvSpPr>
          <p:spPr>
            <a:xfrm>
              <a:off x="4963793" y="4708040"/>
              <a:ext cx="1106701"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1.6M</a:t>
              </a:r>
            </a:p>
          </p:txBody>
        </p:sp>
        <p:sp>
          <p:nvSpPr>
            <p:cNvPr id="1679" name="Text Placeholder 9">
              <a:extLst>
                <a:ext uri="{FF2B5EF4-FFF2-40B4-BE49-F238E27FC236}">
                  <a16:creationId xmlns:a16="http://schemas.microsoft.com/office/drawing/2014/main" id="{9BF85106-8ADF-FD4F-AF94-EB65CED5779C}"/>
                </a:ext>
              </a:extLst>
            </p:cNvPr>
            <p:cNvSpPr txBox="1">
              <a:spLocks/>
            </p:cNvSpPr>
            <p:nvPr/>
          </p:nvSpPr>
          <p:spPr>
            <a:xfrm>
              <a:off x="5041974" y="5551061"/>
              <a:ext cx="950332" cy="627864"/>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Community</a:t>
              </a:r>
              <a:br>
                <a:rPr lang="en-US" sz="2040" kern="0">
                  <a:solidFill>
                    <a:schemeClr val="tx1"/>
                  </a:solidFill>
                  <a:cs typeface="Segoe UI Semilight" panose="020B0402040204020203" pitchFamily="34" charset="0"/>
                </a:rPr>
              </a:br>
              <a:r>
                <a:rPr lang="en-US" sz="2040" kern="0">
                  <a:solidFill>
                    <a:schemeClr val="tx1"/>
                  </a:solidFill>
                  <a:cs typeface="Segoe UI Semilight" panose="020B0402040204020203" pitchFamily="34" charset="0"/>
                </a:rPr>
                <a:t>Members</a:t>
              </a:r>
            </a:p>
          </p:txBody>
        </p:sp>
      </p:grpSp>
      <p:grpSp>
        <p:nvGrpSpPr>
          <p:cNvPr id="1680" name="Group 1679">
            <a:extLst>
              <a:ext uri="{FF2B5EF4-FFF2-40B4-BE49-F238E27FC236}">
                <a16:creationId xmlns:a16="http://schemas.microsoft.com/office/drawing/2014/main" id="{B06AE3BA-2777-0540-8F98-B3ED95585E72}"/>
              </a:ext>
            </a:extLst>
          </p:cNvPr>
          <p:cNvGrpSpPr/>
          <p:nvPr/>
        </p:nvGrpSpPr>
        <p:grpSpPr>
          <a:xfrm>
            <a:off x="5745920" y="4529064"/>
            <a:ext cx="3790157" cy="1523477"/>
            <a:chOff x="6896838" y="4646832"/>
            <a:chExt cx="2553182" cy="1493931"/>
          </a:xfrm>
        </p:grpSpPr>
        <p:sp>
          <p:nvSpPr>
            <p:cNvPr id="1681" name="Text Placeholder 9">
              <a:extLst>
                <a:ext uri="{FF2B5EF4-FFF2-40B4-BE49-F238E27FC236}">
                  <a16:creationId xmlns:a16="http://schemas.microsoft.com/office/drawing/2014/main" id="{D229658F-147E-3D47-B665-D49BDBA7E4ED}"/>
                </a:ext>
              </a:extLst>
            </p:cNvPr>
            <p:cNvSpPr txBox="1">
              <a:spLocks/>
            </p:cNvSpPr>
            <p:nvPr/>
          </p:nvSpPr>
          <p:spPr>
            <a:xfrm>
              <a:off x="6896838" y="5512899"/>
              <a:ext cx="2553182" cy="627864"/>
            </a:xfrm>
            <a:prstGeom prst="rect">
              <a:avLst/>
            </a:prstGeom>
          </p:spPr>
          <p:txBody>
            <a:bodyPr wrap="squar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Independent Power BI </a:t>
              </a:r>
            </a:p>
            <a:p>
              <a:pPr marL="0" indent="0" algn="ctr" defTabSz="932112">
                <a:lnSpc>
                  <a:spcPct val="100000"/>
                </a:lnSpc>
                <a:spcBef>
                  <a:spcPts val="0"/>
                </a:spcBef>
                <a:buClr>
                  <a:srgbClr val="FFFFFF"/>
                </a:buClr>
                <a:buNone/>
                <a:defRPr/>
              </a:pPr>
              <a:r>
                <a:rPr lang="en-US" sz="2040" kern="0">
                  <a:solidFill>
                    <a:schemeClr val="tx1"/>
                  </a:solidFill>
                  <a:cs typeface="Segoe UI Semilight" panose="020B0402040204020203" pitchFamily="34" charset="0"/>
                </a:rPr>
                <a:t>User Groups Worldwide</a:t>
              </a:r>
            </a:p>
          </p:txBody>
        </p:sp>
        <p:sp>
          <p:nvSpPr>
            <p:cNvPr id="1682" name="Text Placeholder 9">
              <a:extLst>
                <a:ext uri="{FF2B5EF4-FFF2-40B4-BE49-F238E27FC236}">
                  <a16:creationId xmlns:a16="http://schemas.microsoft.com/office/drawing/2014/main" id="{91C0D4EF-747F-984F-BE15-4CA4C1D402D4}"/>
                </a:ext>
              </a:extLst>
            </p:cNvPr>
            <p:cNvSpPr txBox="1">
              <a:spLocks/>
            </p:cNvSpPr>
            <p:nvPr/>
          </p:nvSpPr>
          <p:spPr>
            <a:xfrm>
              <a:off x="7559513" y="4646832"/>
              <a:ext cx="1227833" cy="923201"/>
            </a:xfrm>
            <a:prstGeom prst="rect">
              <a:avLst/>
            </a:prstGeom>
          </p:spPr>
          <p:txBody>
            <a:bodyPr wrap="none" lIns="0" tIns="0" rIns="0" bIns="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defTabSz="932112">
                <a:lnSpc>
                  <a:spcPct val="100000"/>
                </a:lnSpc>
                <a:buNone/>
                <a:defRPr/>
              </a:pPr>
              <a:r>
                <a:rPr lang="en-US" sz="5998" spc="-50">
                  <a:ln w="3175">
                    <a:noFill/>
                  </a:ln>
                  <a:solidFill>
                    <a:srgbClr val="F2C811"/>
                  </a:solidFill>
                  <a:latin typeface="Segoe UI Semibold"/>
                  <a:cs typeface="Segoe UI" pitchFamily="34" charset="0"/>
                </a:rPr>
                <a:t>300+</a:t>
              </a:r>
            </a:p>
          </p:txBody>
        </p:sp>
      </p:grpSp>
      <p:cxnSp>
        <p:nvCxnSpPr>
          <p:cNvPr id="1683" name="Straight Connector 1682">
            <a:extLst>
              <a:ext uri="{FF2B5EF4-FFF2-40B4-BE49-F238E27FC236}">
                <a16:creationId xmlns:a16="http://schemas.microsoft.com/office/drawing/2014/main" id="{73F00934-0750-C643-BAE8-21CE19B73429}"/>
              </a:ext>
            </a:extLst>
          </p:cNvPr>
          <p:cNvCxnSpPr>
            <a:cxnSpLocks/>
          </p:cNvCxnSpPr>
          <p:nvPr/>
        </p:nvCxnSpPr>
        <p:spPr>
          <a:xfrm flipH="1">
            <a:off x="5451897" y="4683504"/>
            <a:ext cx="406207" cy="137809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7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84"/>
                                        </p:tgtEl>
                                        <p:attrNameLst>
                                          <p:attrName>style.visibility</p:attrName>
                                        </p:attrNameLst>
                                      </p:cBhvr>
                                      <p:to>
                                        <p:strVal val="visible"/>
                                      </p:to>
                                    </p:set>
                                    <p:animEffect transition="in" filter="fade">
                                      <p:cBhvr>
                                        <p:cTn id="7" dur="500"/>
                                        <p:tgtEl>
                                          <p:spTgt spid="168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66"/>
                                        </p:tgtEl>
                                        <p:attrNameLst>
                                          <p:attrName>style.visibility</p:attrName>
                                        </p:attrNameLst>
                                      </p:cBhvr>
                                      <p:to>
                                        <p:strVal val="visible"/>
                                      </p:to>
                                    </p:set>
                                    <p:animEffect transition="in" filter="fade">
                                      <p:cBhvr>
                                        <p:cTn id="11" dur="500"/>
                                        <p:tgtEl>
                                          <p:spTgt spid="1466"/>
                                        </p:tgtEl>
                                      </p:cBhvr>
                                    </p:animEffect>
                                  </p:childTnLst>
                                </p:cTn>
                              </p:par>
                              <p:par>
                                <p:cTn id="12" presetID="10" presetClass="entr" presetSubtype="0" fill="hold" nodeType="withEffect">
                                  <p:stCondLst>
                                    <p:cond delay="0"/>
                                  </p:stCondLst>
                                  <p:childTnLst>
                                    <p:set>
                                      <p:cBhvr>
                                        <p:cTn id="13" dur="1" fill="hold">
                                          <p:stCondLst>
                                            <p:cond delay="0"/>
                                          </p:stCondLst>
                                        </p:cTn>
                                        <p:tgtEl>
                                          <p:spTgt spid="1677"/>
                                        </p:tgtEl>
                                        <p:attrNameLst>
                                          <p:attrName>style.visibility</p:attrName>
                                        </p:attrNameLst>
                                      </p:cBhvr>
                                      <p:to>
                                        <p:strVal val="visible"/>
                                      </p:to>
                                    </p:set>
                                    <p:animEffect transition="in" filter="fade">
                                      <p:cBhvr>
                                        <p:cTn id="14" dur="750"/>
                                        <p:tgtEl>
                                          <p:spTgt spid="1677"/>
                                        </p:tgtEl>
                                      </p:cBhvr>
                                    </p:animEffect>
                                  </p:childTnLst>
                                </p:cTn>
                              </p:par>
                              <p:par>
                                <p:cTn id="15" presetID="42" presetClass="path" presetSubtype="0" decel="100000" fill="hold" nodeType="withEffect">
                                  <p:stCondLst>
                                    <p:cond delay="0"/>
                                  </p:stCondLst>
                                  <p:childTnLst>
                                    <p:animMotion origin="layout" path="M -4.79167E-6 -1.11111E-6 L -4.79167E-6 0.03773 " pathEditMode="relative" rAng="0" ptsTypes="AA">
                                      <p:cBhvr>
                                        <p:cTn id="16" dur="750" spd="-100000" fill="hold"/>
                                        <p:tgtEl>
                                          <p:spTgt spid="1677"/>
                                        </p:tgtEl>
                                        <p:attrNameLst>
                                          <p:attrName>ppt_x</p:attrName>
                                          <p:attrName>ppt_y</p:attrName>
                                        </p:attrNameLst>
                                      </p:cBhvr>
                                      <p:rCtr x="0" y="1875"/>
                                    </p:animMotion>
                                  </p:childTnLst>
                                </p:cTn>
                              </p:par>
                              <p:par>
                                <p:cTn id="17" presetID="10" presetClass="entr" presetSubtype="0" fill="hold" nodeType="withEffect">
                                  <p:stCondLst>
                                    <p:cond delay="0"/>
                                  </p:stCondLst>
                                  <p:childTnLst>
                                    <p:set>
                                      <p:cBhvr>
                                        <p:cTn id="18" dur="1" fill="hold">
                                          <p:stCondLst>
                                            <p:cond delay="0"/>
                                          </p:stCondLst>
                                        </p:cTn>
                                        <p:tgtEl>
                                          <p:spTgt spid="1683"/>
                                        </p:tgtEl>
                                        <p:attrNameLst>
                                          <p:attrName>style.visibility</p:attrName>
                                        </p:attrNameLst>
                                      </p:cBhvr>
                                      <p:to>
                                        <p:strVal val="visible"/>
                                      </p:to>
                                    </p:set>
                                    <p:animEffect transition="in" filter="fade">
                                      <p:cBhvr>
                                        <p:cTn id="19" dur="750"/>
                                        <p:tgtEl>
                                          <p:spTgt spid="1683"/>
                                        </p:tgtEl>
                                      </p:cBhvr>
                                    </p:animEffect>
                                  </p:childTnLst>
                                </p:cTn>
                              </p:par>
                              <p:par>
                                <p:cTn id="20" presetID="10" presetClass="entr" presetSubtype="0" fill="hold" nodeType="withEffect">
                                  <p:stCondLst>
                                    <p:cond delay="0"/>
                                  </p:stCondLst>
                                  <p:childTnLst>
                                    <p:set>
                                      <p:cBhvr>
                                        <p:cTn id="21" dur="1" fill="hold">
                                          <p:stCondLst>
                                            <p:cond delay="0"/>
                                          </p:stCondLst>
                                        </p:cTn>
                                        <p:tgtEl>
                                          <p:spTgt spid="1680"/>
                                        </p:tgtEl>
                                        <p:attrNameLst>
                                          <p:attrName>style.visibility</p:attrName>
                                        </p:attrNameLst>
                                      </p:cBhvr>
                                      <p:to>
                                        <p:strVal val="visible"/>
                                      </p:to>
                                    </p:set>
                                    <p:animEffect transition="in" filter="fade">
                                      <p:cBhvr>
                                        <p:cTn id="22" dur="750"/>
                                        <p:tgtEl>
                                          <p:spTgt spid="1680"/>
                                        </p:tgtEl>
                                      </p:cBhvr>
                                    </p:animEffect>
                                  </p:childTnLst>
                                </p:cTn>
                              </p:par>
                              <p:par>
                                <p:cTn id="23" presetID="42" presetClass="path" presetSubtype="0" decel="100000" fill="hold" nodeType="withEffect">
                                  <p:stCondLst>
                                    <p:cond delay="0"/>
                                  </p:stCondLst>
                                  <p:childTnLst>
                                    <p:animMotion origin="layout" path="M -3.125E-6 4.44444E-6 L -3.125E-6 0.03773 " pathEditMode="relative" rAng="0" ptsTypes="AA">
                                      <p:cBhvr>
                                        <p:cTn id="24" dur="750" spd="-100000" fill="hold"/>
                                        <p:tgtEl>
                                          <p:spTgt spid="1680"/>
                                        </p:tgtEl>
                                        <p:attrNameLst>
                                          <p:attrName>ppt_x</p:attrName>
                                          <p:attrName>ppt_y</p:attrName>
                                        </p:attrNameLst>
                                      </p:cBhvr>
                                      <p:rCtr x="0" y="18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233424"/>
            <a:chOff x="5889037" y="1419924"/>
            <a:chExt cx="6141097" cy="4233964"/>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170504"/>
            </a:xfrm>
            <a:prstGeom prst="rect">
              <a:avLst/>
            </a:prstGeom>
            <a:noFill/>
          </p:spPr>
          <p:txBody>
            <a:bodyPr wrap="square">
              <a:spAutoFit/>
            </a:bodyPr>
            <a:lstStyle/>
            <a:p>
              <a:r>
                <a:rPr lang="en-US" sz="2800" dirty="0">
                  <a:solidFill>
                    <a:srgbClr val="171717"/>
                  </a:solidFill>
                  <a:latin typeface="+mj-lt"/>
                </a:rPr>
                <a:t>For new users to adopt the report it must be “functional”, “fast” and capable of finding new insights with the click of a button.</a:t>
              </a:r>
            </a:p>
            <a:p>
              <a:endParaRPr lang="en-US" sz="2800" dirty="0">
                <a:solidFill>
                  <a:srgbClr val="171717"/>
                </a:solidFill>
                <a:latin typeface="+mj-lt"/>
              </a:endParaRPr>
            </a:p>
            <a:p>
              <a:r>
                <a:rPr lang="en-US" sz="2000" dirty="0">
                  <a:solidFill>
                    <a:srgbClr val="171717"/>
                  </a:solidFill>
                </a:rPr>
                <a:t>Connecting to a shared dataset and leveraging design best practices, we’ll create an aesthetically pleasing and performant report experiences.</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173708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6D43C-C665-428F-BCAA-4ED3F3AF2A1A}"/>
              </a:ext>
            </a:extLst>
          </p:cNvPr>
          <p:cNvSpPr>
            <a:spLocks noGrp="1"/>
          </p:cNvSpPr>
          <p:nvPr>
            <p:ph type="title"/>
          </p:nvPr>
        </p:nvSpPr>
        <p:spPr/>
        <p:txBody>
          <a:bodyPr/>
          <a:lstStyle/>
          <a:p>
            <a:r>
              <a:rPr lang="en-US" dirty="0"/>
              <a:t>Report types</a:t>
            </a:r>
          </a:p>
        </p:txBody>
      </p:sp>
      <p:sp>
        <p:nvSpPr>
          <p:cNvPr id="20" name="Text Placeholder 19">
            <a:extLst>
              <a:ext uri="{FF2B5EF4-FFF2-40B4-BE49-F238E27FC236}">
                <a16:creationId xmlns:a16="http://schemas.microsoft.com/office/drawing/2014/main" id="{1A79FE5B-155C-45F7-80E8-3715CD7A2F70}"/>
              </a:ext>
            </a:extLst>
          </p:cNvPr>
          <p:cNvSpPr>
            <a:spLocks noGrp="1"/>
          </p:cNvSpPr>
          <p:nvPr>
            <p:ph type="body" sz="quarter" idx="10"/>
          </p:nvPr>
        </p:nvSpPr>
        <p:spPr>
          <a:xfrm>
            <a:off x="595840" y="1494644"/>
            <a:ext cx="5277437" cy="1067207"/>
          </a:xfrm>
        </p:spPr>
        <p:txBody>
          <a:bodyPr/>
          <a:lstStyle/>
          <a:p>
            <a:pPr marL="285721" indent="-285721" defTabSz="914309">
              <a:spcBef>
                <a:spcPts val="0"/>
              </a:spcBef>
              <a:buBlip>
                <a:blip r:embed="rId2"/>
              </a:buBlip>
            </a:pPr>
            <a:r>
              <a:rPr lang="en-US" sz="1800" dirty="0">
                <a:gradFill>
                  <a:gsLst>
                    <a:gs pos="1250">
                      <a:schemeClr val="tx1"/>
                    </a:gs>
                    <a:gs pos="100000">
                      <a:schemeClr val="tx1"/>
                    </a:gs>
                  </a:gsLst>
                  <a:lin ang="5400000" scaled="0"/>
                </a:gradFill>
                <a:latin typeface="+mn-lt"/>
                <a:cs typeface="Arial" panose="020B0604020202020204" pitchFamily="34" charset="0"/>
              </a:rPr>
              <a:t>Analytical</a:t>
            </a:r>
          </a:p>
          <a:p>
            <a:pPr lvl="1" defTabSz="914309">
              <a:spcBef>
                <a:spcPts val="0"/>
              </a:spcBef>
            </a:pPr>
            <a:r>
              <a:rPr lang="en-US" sz="1200" b="1" dirty="0">
                <a:gradFill>
                  <a:gsLst>
                    <a:gs pos="1250">
                      <a:schemeClr val="tx1"/>
                    </a:gs>
                    <a:gs pos="100000">
                      <a:schemeClr val="tx1"/>
                    </a:gs>
                  </a:gsLst>
                  <a:lin ang="5400000" scaled="0"/>
                </a:gradFill>
                <a:cs typeface="Arial" panose="020B0604020202020204" pitchFamily="34" charset="0"/>
              </a:rPr>
              <a:t>Description:</a:t>
            </a:r>
            <a:r>
              <a:rPr lang="en-US" sz="1200" dirty="0">
                <a:gradFill>
                  <a:gsLst>
                    <a:gs pos="1250">
                      <a:schemeClr val="tx1"/>
                    </a:gs>
                    <a:gs pos="100000">
                      <a:schemeClr val="tx1"/>
                    </a:gs>
                  </a:gsLst>
                  <a:lin ang="5400000" scaled="0"/>
                </a:gradFill>
                <a:cs typeface="Arial" panose="020B0604020202020204" pitchFamily="34" charset="0"/>
              </a:rPr>
              <a:t> Supports the strategic functions of senior management. Often a balance between simplicity and utility through key performance indicators and business measures displayed in a Dashboard or Scorecard report style.</a:t>
            </a: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a:p>
            <a:pPr lvl="1" defTabSz="914309">
              <a:spcBef>
                <a:spcPts val="0"/>
              </a:spcBef>
            </a:pPr>
            <a:endParaRPr lang="en-US" sz="168" dirty="0">
              <a:gradFill>
                <a:gsLst>
                  <a:gs pos="1250">
                    <a:schemeClr val="tx1"/>
                  </a:gs>
                  <a:gs pos="100000">
                    <a:schemeClr val="tx1"/>
                  </a:gs>
                </a:gsLst>
                <a:lin ang="5400000" scaled="0"/>
              </a:gradFill>
              <a:cs typeface="Arial" panose="020B0604020202020204" pitchFamily="34" charset="0"/>
            </a:endParaRPr>
          </a:p>
        </p:txBody>
      </p:sp>
      <p:pic>
        <p:nvPicPr>
          <p:cNvPr id="14" name="Picture Placeholder 13">
            <a:extLst>
              <a:ext uri="{FF2B5EF4-FFF2-40B4-BE49-F238E27FC236}">
                <a16:creationId xmlns:a16="http://schemas.microsoft.com/office/drawing/2014/main" id="{C6CE33D9-237F-4A82-9849-8BAB0631B3A5}"/>
              </a:ext>
              <a:ext uri="{C183D7F6-B498-43B3-948B-1728B52AA6E4}">
                <adec:decorative xmlns:adec="http://schemas.microsoft.com/office/drawing/2017/decorative" val="1"/>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a:ext>
            </a:extLst>
          </a:blip>
          <a:srcRect t="12354" b="12354"/>
          <a:stretch/>
        </p:blipFill>
        <p:spPr/>
      </p:pic>
      <p:sp>
        <p:nvSpPr>
          <p:cNvPr id="5" name="Text Placeholder 19">
            <a:extLst>
              <a:ext uri="{FF2B5EF4-FFF2-40B4-BE49-F238E27FC236}">
                <a16:creationId xmlns:a16="http://schemas.microsoft.com/office/drawing/2014/main" id="{05416239-C478-49DF-9C2D-28B9DC9535BB}"/>
              </a:ext>
            </a:extLst>
          </p:cNvPr>
          <p:cNvSpPr txBox="1">
            <a:spLocks/>
          </p:cNvSpPr>
          <p:nvPr/>
        </p:nvSpPr>
        <p:spPr>
          <a:xfrm>
            <a:off x="595840" y="4361208"/>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Ad hoc</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 </a:t>
            </a:r>
            <a:r>
              <a:rPr lang="en-US" sz="1200" dirty="0">
                <a:gradFill>
                  <a:gsLst>
                    <a:gs pos="1250">
                      <a:srgbClr val="000000"/>
                    </a:gs>
                    <a:gs pos="100000">
                      <a:srgbClr val="000000"/>
                    </a:gs>
                  </a:gsLst>
                  <a:lin ang="5400000" scaled="0"/>
                </a:gradFill>
                <a:latin typeface="Segoe UI"/>
                <a:cs typeface="Arial" panose="020B0604020202020204" pitchFamily="34" charset="0"/>
              </a:rPr>
              <a:t>Supports the flexibility of a one-time report, created in real-time for a particular purpose or business necessity. Often summarized in a PivotTable report style.</a:t>
            </a:r>
          </a:p>
        </p:txBody>
      </p:sp>
      <p:sp>
        <p:nvSpPr>
          <p:cNvPr id="3" name="Text Placeholder 19">
            <a:extLst>
              <a:ext uri="{FF2B5EF4-FFF2-40B4-BE49-F238E27FC236}">
                <a16:creationId xmlns:a16="http://schemas.microsoft.com/office/drawing/2014/main" id="{73604D3B-C70C-4FE5-94EE-DF965137597D}"/>
              </a:ext>
            </a:extLst>
          </p:cNvPr>
          <p:cNvSpPr txBox="1">
            <a:spLocks/>
          </p:cNvSpPr>
          <p:nvPr/>
        </p:nvSpPr>
        <p:spPr>
          <a:xfrm>
            <a:off x="595840" y="2953763"/>
            <a:ext cx="5277437" cy="830891"/>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248"/>
              </a:spcBef>
              <a:spcAft>
                <a:spcPts val="0"/>
              </a:spcAft>
              <a:buClr>
                <a:schemeClr val="tx1"/>
              </a:buClr>
              <a:buSzPct val="90000"/>
              <a:buFont typeface="Arial" panose="020B0604020202020204" pitchFamily="34" charset="0"/>
              <a:buNone/>
              <a:tabLst/>
              <a:defRPr sz="2856" b="0" kern="1200" spc="0" baseline="0">
                <a:gradFill flip="none" rotWithShape="1">
                  <a:gsLst>
                    <a:gs pos="82000">
                      <a:schemeClr val="tx1"/>
                    </a:gs>
                    <a:gs pos="0">
                      <a:schemeClr val="tx1"/>
                    </a:gs>
                  </a:gsLst>
                  <a:lin ang="2700000" scaled="1"/>
                  <a:tileRect/>
                </a:gradFill>
                <a:latin typeface="Segoe UI" panose="020B0502040204020203" pitchFamily="34" charset="0"/>
                <a:ea typeface="+mn-ea"/>
                <a:cs typeface="Segoe UI" panose="020B0502040204020203" pitchFamily="34" charset="0"/>
              </a:defRPr>
            </a:lvl1pPr>
            <a:lvl2pPr marL="260674"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2040" b="0" kern="1200" spc="0" baseline="0">
                <a:gradFill flip="none" rotWithShape="1">
                  <a:gsLst>
                    <a:gs pos="82000">
                      <a:schemeClr val="tx1"/>
                    </a:gs>
                    <a:gs pos="0">
                      <a:schemeClr val="tx1"/>
                    </a:gs>
                  </a:gsLst>
                  <a:lin ang="2700000" scaled="1"/>
                  <a:tileRect/>
                </a:gradFill>
                <a:latin typeface="+mn-lt"/>
                <a:ea typeface="+mn-ea"/>
                <a:cs typeface="+mn-cs"/>
              </a:defRPr>
            </a:lvl2pPr>
            <a:lvl3pPr marL="459822"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632" b="0" kern="1200" spc="0" baseline="0">
                <a:gradFill flip="none" rotWithShape="1">
                  <a:gsLst>
                    <a:gs pos="82000">
                      <a:schemeClr val="tx1"/>
                    </a:gs>
                    <a:gs pos="0">
                      <a:schemeClr val="tx1"/>
                    </a:gs>
                  </a:gsLst>
                  <a:lin ang="2700000" scaled="1"/>
                  <a:tileRect/>
                </a:gradFill>
                <a:latin typeface="+mn-lt"/>
                <a:ea typeface="+mn-ea"/>
                <a:cs typeface="+mn-cs"/>
              </a:defRPr>
            </a:lvl3pPr>
            <a:lvl4pPr marL="665446"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4pPr>
            <a:lvl5pPr marL="871071" marR="0" indent="0" algn="l" defTabSz="951304" rtl="0" eaLnBrk="1" fontAlgn="auto" latinLnBrk="0" hangingPunct="1">
              <a:lnSpc>
                <a:spcPct val="100000"/>
              </a:lnSpc>
              <a:spcBef>
                <a:spcPct val="20000"/>
              </a:spcBef>
              <a:spcAft>
                <a:spcPts val="0"/>
              </a:spcAft>
              <a:buClrTx/>
              <a:buSzPct val="90000"/>
              <a:buFont typeface="Arial" panose="020B0604020202020204" pitchFamily="34" charset="0"/>
              <a:buNone/>
              <a:tabLst/>
              <a:defRPr sz="1428" b="0"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85721" indent="-285721" defTabSz="914309">
              <a:spcBef>
                <a:spcPts val="0"/>
              </a:spcBef>
              <a:buClr>
                <a:srgbClr val="000000"/>
              </a:buClr>
              <a:buBlip>
                <a:blip r:embed="rId2"/>
              </a:buBlip>
            </a:pPr>
            <a:r>
              <a:rPr lang="en-US" sz="1800" dirty="0">
                <a:gradFill>
                  <a:gsLst>
                    <a:gs pos="1250">
                      <a:srgbClr val="000000"/>
                    </a:gs>
                    <a:gs pos="100000">
                      <a:srgbClr val="000000"/>
                    </a:gs>
                  </a:gsLst>
                  <a:lin ang="5400000" scaled="0"/>
                </a:gradFill>
                <a:latin typeface="Segoe UI"/>
                <a:cs typeface="Arial" panose="020B0604020202020204" pitchFamily="34" charset="0"/>
              </a:rPr>
              <a:t>Operational</a:t>
            </a:r>
          </a:p>
          <a:p>
            <a:pPr marL="260648" lvl="1" defTabSz="914309">
              <a:spcBef>
                <a:spcPts val="0"/>
              </a:spcBef>
            </a:pPr>
            <a:r>
              <a:rPr lang="en-US" sz="1200" b="1" dirty="0">
                <a:gradFill>
                  <a:gsLst>
                    <a:gs pos="1250">
                      <a:srgbClr val="000000"/>
                    </a:gs>
                    <a:gs pos="100000">
                      <a:srgbClr val="000000"/>
                    </a:gs>
                  </a:gsLst>
                  <a:lin ang="5400000" scaled="0"/>
                </a:gradFill>
                <a:latin typeface="Segoe UI"/>
                <a:cs typeface="Arial" panose="020B0604020202020204" pitchFamily="34" charset="0"/>
              </a:rPr>
              <a:t>Description:</a:t>
            </a:r>
            <a:r>
              <a:rPr lang="en-US" sz="1200" dirty="0">
                <a:gradFill>
                  <a:gsLst>
                    <a:gs pos="1250">
                      <a:srgbClr val="000000"/>
                    </a:gs>
                    <a:gs pos="100000">
                      <a:srgbClr val="000000"/>
                    </a:gs>
                  </a:gsLst>
                  <a:lin ang="5400000" scaled="0"/>
                </a:gradFill>
                <a:latin typeface="Segoe UI"/>
                <a:cs typeface="Arial" panose="020B0604020202020204" pitchFamily="34" charset="0"/>
              </a:rPr>
              <a:t> Supports an organizations day-to-day functions. Often a highly-formatted and consistent output displayed in a Tabular or List report style.</a:t>
            </a:r>
          </a:p>
        </p:txBody>
      </p:sp>
    </p:spTree>
    <p:extLst>
      <p:ext uri="{BB962C8B-B14F-4D97-AF65-F5344CB8AC3E}">
        <p14:creationId xmlns:p14="http://schemas.microsoft.com/office/powerpoint/2010/main" val="1701519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1000"/>
                                        <p:tgtEl>
                                          <p:spTgt spid="20">
                                            <p:txEl>
                                              <p:pRg st="0" end="0"/>
                                            </p:txEl>
                                          </p:spTgt>
                                        </p:tgtEl>
                                      </p:cBhvr>
                                    </p:animEffect>
                                    <p:anim calcmode="lin" valueType="num">
                                      <p:cBhvr>
                                        <p:cTn id="8" dur="1000" fill="hold"/>
                                        <p:tgtEl>
                                          <p:spTgt spid="2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0">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0">
                                            <p:txEl>
                                              <p:pRg st="1" end="1"/>
                                            </p:txEl>
                                          </p:spTgt>
                                        </p:tgtEl>
                                        <p:attrNameLst>
                                          <p:attrName>style.visibility</p:attrName>
                                        </p:attrNameLst>
                                      </p:cBhvr>
                                      <p:to>
                                        <p:strVal val="visible"/>
                                      </p:to>
                                    </p:set>
                                    <p:animEffect transition="in" filter="fade">
                                      <p:cBhvr>
                                        <p:cTn id="12" dur="1000"/>
                                        <p:tgtEl>
                                          <p:spTgt spid="20">
                                            <p:txEl>
                                              <p:pRg st="1" end="1"/>
                                            </p:txEl>
                                          </p:spTgt>
                                        </p:tgtEl>
                                      </p:cBhvr>
                                    </p:animEffect>
                                    <p:anim calcmode="lin" valueType="num">
                                      <p:cBhvr>
                                        <p:cTn id="13" dur="1000" fill="hold"/>
                                        <p:tgtEl>
                                          <p:spTgt spid="20">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20">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anim calcmode="lin" valueType="num">
                                      <p:cBhvr>
                                        <p:cTn id="20" dur="1000" fill="hold"/>
                                        <p:tgtEl>
                                          <p:spTgt spid="3"/>
                                        </p:tgtEl>
                                        <p:attrNameLst>
                                          <p:attrName>ppt_x</p:attrName>
                                        </p:attrNameLst>
                                      </p:cBhvr>
                                      <p:tavLst>
                                        <p:tav tm="0">
                                          <p:val>
                                            <p:strVal val="#ppt_x"/>
                                          </p:val>
                                        </p:tav>
                                        <p:tav tm="100000">
                                          <p:val>
                                            <p:strVal val="#ppt_x"/>
                                          </p:val>
                                        </p:tav>
                                      </p:tavLst>
                                    </p:anim>
                                    <p:anim calcmode="lin" valueType="num">
                                      <p:cBhvr>
                                        <p:cTn id="2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bldP spid="5" grpId="0"/>
      <p:bldP spid="3"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p:txBody>
          <a:bodyPr/>
          <a:lstStyle/>
          <a:p>
            <a:r>
              <a:rPr lang="en-US"/>
              <a:t>How does Power BI do it?</a:t>
            </a:r>
          </a:p>
        </p:txBody>
      </p:sp>
    </p:spTree>
    <p:extLst>
      <p:ext uri="{BB962C8B-B14F-4D97-AF65-F5344CB8AC3E}">
        <p14:creationId xmlns:p14="http://schemas.microsoft.com/office/powerpoint/2010/main" val="5419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Desktop</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grpSp>
        <p:nvGrpSpPr>
          <p:cNvPr id="5" name="Group 4">
            <a:extLst>
              <a:ext uri="{FF2B5EF4-FFF2-40B4-BE49-F238E27FC236}">
                <a16:creationId xmlns:a16="http://schemas.microsoft.com/office/drawing/2014/main" id="{5848C5F4-8DF8-44FC-9ADA-CF248B83CCAB}"/>
              </a:ext>
            </a:extLst>
          </p:cNvPr>
          <p:cNvGrpSpPr/>
          <p:nvPr/>
        </p:nvGrpSpPr>
        <p:grpSpPr>
          <a:xfrm>
            <a:off x="3520855" y="1651416"/>
            <a:ext cx="8238656" cy="4736315"/>
            <a:chOff x="2493436" y="577476"/>
            <a:chExt cx="7789717" cy="4814343"/>
          </a:xfrm>
          <a:solidFill>
            <a:schemeClr val="tx1"/>
          </a:solidFill>
        </p:grpSpPr>
        <p:pic>
          <p:nvPicPr>
            <p:cNvPr id="6" name="Picture 2" descr="Image of Power BI desktop report ">
              <a:extLst>
                <a:ext uri="{FF2B5EF4-FFF2-40B4-BE49-F238E27FC236}">
                  <a16:creationId xmlns:a16="http://schemas.microsoft.com/office/drawing/2014/main" id="{D91B113B-1DD0-46A9-9B97-D3E4104585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3436" y="577476"/>
              <a:ext cx="7789717" cy="4814343"/>
            </a:xfrm>
            <a:prstGeom prst="rect">
              <a:avLst/>
            </a:prstGeom>
            <a:grpFill/>
            <a:ln>
              <a:noFill/>
            </a:ln>
          </p:spPr>
        </p:pic>
        <p:pic>
          <p:nvPicPr>
            <p:cNvPr id="8" name="Picture 7">
              <a:extLst>
                <a:ext uri="{FF2B5EF4-FFF2-40B4-BE49-F238E27FC236}">
                  <a16:creationId xmlns:a16="http://schemas.microsoft.com/office/drawing/2014/main" id="{BEF224D6-56AE-4FD4-B3A1-D1A710A8CD57}"/>
                </a:ext>
              </a:extLst>
            </p:cNvPr>
            <p:cNvPicPr>
              <a:picLocks noChangeAspect="1"/>
            </p:cNvPicPr>
            <p:nvPr/>
          </p:nvPicPr>
          <p:blipFill rotWithShape="1">
            <a:blip r:embed="rId4"/>
            <a:srcRect b="21796"/>
            <a:stretch/>
          </p:blipFill>
          <p:spPr>
            <a:xfrm>
              <a:off x="9386466" y="1279375"/>
              <a:ext cx="776568" cy="3999028"/>
            </a:xfrm>
            <a:prstGeom prst="rect">
              <a:avLst/>
            </a:prstGeom>
            <a:grpFill/>
          </p:spPr>
        </p:pic>
      </p:grpSp>
      <p:pic>
        <p:nvPicPr>
          <p:cNvPr id="12" name="Graphic 11">
            <a:extLst>
              <a:ext uri="{FF2B5EF4-FFF2-40B4-BE49-F238E27FC236}">
                <a16:creationId xmlns:a16="http://schemas.microsoft.com/office/drawing/2014/main" id="{C16DA0F2-2160-41BD-9BA3-6CEDBB87AE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5908" y="419271"/>
            <a:ext cx="659787" cy="659787"/>
          </a:xfrm>
          <a:prstGeom prst="rect">
            <a:avLst/>
          </a:prstGeom>
        </p:spPr>
      </p:pic>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Familiar O365 like experience, th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owerPoint for data</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Create </a:t>
            </a:r>
            <a:r>
              <a:rPr lang="en-US" sz="1600" b="1" kern="0" dirty="0">
                <a:gradFill>
                  <a:gsLst>
                    <a:gs pos="0">
                      <a:srgbClr val="000000"/>
                    </a:gs>
                    <a:gs pos="100000">
                      <a:srgbClr val="000000"/>
                    </a:gs>
                  </a:gsLst>
                  <a:lin ang="5400000" scaled="1"/>
                </a:gradFill>
                <a:latin typeface="Segoe UI"/>
                <a:cs typeface="Segoe UI" pitchFamily="34" charset="0"/>
              </a:rPr>
              <a:t>interactive,</a:t>
            </a:r>
            <a:r>
              <a:rPr lang="en-US" sz="1600" kern="0" dirty="0">
                <a:gradFill>
                  <a:gsLst>
                    <a:gs pos="0">
                      <a:srgbClr val="000000"/>
                    </a:gs>
                    <a:gs pos="100000">
                      <a:srgbClr val="000000"/>
                    </a:gs>
                  </a:gsLst>
                  <a:lin ang="5400000" scaled="1"/>
                </a:gradFill>
                <a:latin typeface="Segoe UI"/>
                <a:cs typeface="Segoe UI" pitchFamily="34" charset="0"/>
              </a:rPr>
              <a:t> </a:t>
            </a:r>
            <a:r>
              <a:rPr lang="en-US" sz="1600" b="1" kern="0" dirty="0">
                <a:gradFill>
                  <a:gsLst>
                    <a:gs pos="0">
                      <a:srgbClr val="000000"/>
                    </a:gs>
                    <a:gs pos="100000">
                      <a:srgbClr val="000000"/>
                    </a:gs>
                  </a:gsLst>
                  <a:lin ang="5400000" scaled="1"/>
                </a:gradFill>
                <a:latin typeface="Segoe UI"/>
                <a:cs typeface="Segoe UI" pitchFamily="34" charset="0"/>
              </a:rPr>
              <a:t>immersive</a:t>
            </a:r>
            <a:r>
              <a:rPr lang="en-US" sz="1600" kern="0" dirty="0">
                <a:gradFill>
                  <a:gsLst>
                    <a:gs pos="0">
                      <a:srgbClr val="000000"/>
                    </a:gs>
                    <a:gs pos="100000">
                      <a:srgbClr val="000000"/>
                    </a:gs>
                  </a:gsLst>
                  <a:lin ang="5400000" scaled="1"/>
                </a:gradFill>
                <a:latin typeface="Segoe UI"/>
                <a:cs typeface="Segoe UI" pitchFamily="34" charset="0"/>
              </a:rPr>
              <a:t> reports and dashboards that provide </a:t>
            </a:r>
            <a:r>
              <a:rPr lang="en-US" sz="1600" b="1" kern="0" dirty="0">
                <a:gradFill>
                  <a:gsLst>
                    <a:gs pos="0">
                      <a:srgbClr val="000000"/>
                    </a:gs>
                    <a:gs pos="100000">
                      <a:srgbClr val="000000"/>
                    </a:gs>
                  </a:gsLst>
                  <a:lin ang="5400000" scaled="1"/>
                </a:gradFill>
                <a:latin typeface="Segoe UI"/>
                <a:cs typeface="Segoe UI" pitchFamily="34" charset="0"/>
              </a:rPr>
              <a:t>actionable insights</a:t>
            </a:r>
            <a:r>
              <a:rPr lang="en-US" sz="1600" kern="0" dirty="0">
                <a:gradFill>
                  <a:gsLst>
                    <a:gs pos="0">
                      <a:srgbClr val="000000"/>
                    </a:gs>
                    <a:gs pos="100000">
                      <a:srgbClr val="000000"/>
                    </a:gs>
                  </a:gsLst>
                  <a:lin ang="5400000" scaled="1"/>
                </a:gradFill>
                <a:latin typeface="Segoe UI"/>
                <a:cs typeface="Segoe UI" pitchFamily="34" charset="0"/>
              </a:rPr>
              <a:t> and drive business results</a:t>
            </a:r>
          </a:p>
        </p:txBody>
      </p:sp>
    </p:spTree>
    <p:extLst>
      <p:ext uri="{BB962C8B-B14F-4D97-AF65-F5344CB8AC3E}">
        <p14:creationId xmlns:p14="http://schemas.microsoft.com/office/powerpoint/2010/main" val="142183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Power BI Report Builder</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1"/>
            <a:ext cx="2545779" cy="221570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Create and distribute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highly format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multi-pag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pixel-perfect</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reports</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ea typeface="Segoe UI" pitchFamily="34" charset="0"/>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Use </a:t>
            </a:r>
            <a:r>
              <a:rPr lang="en-US" sz="1600" b="1" kern="0" dirty="0">
                <a:gradFill>
                  <a:gsLst>
                    <a:gs pos="0">
                      <a:srgbClr val="000000"/>
                    </a:gs>
                    <a:gs pos="100000">
                      <a:srgbClr val="000000"/>
                    </a:gs>
                  </a:gsLst>
                  <a:lin ang="5400000" scaled="1"/>
                </a:gradFill>
                <a:latin typeface="Segoe UI"/>
                <a:cs typeface="Segoe UI" pitchFamily="34" charset="0"/>
              </a:rPr>
              <a:t>parameters</a:t>
            </a:r>
            <a:r>
              <a:rPr lang="en-US" sz="1600" kern="0" dirty="0">
                <a:gradFill>
                  <a:gsLst>
                    <a:gs pos="0">
                      <a:srgbClr val="000000"/>
                    </a:gs>
                    <a:gs pos="100000">
                      <a:srgbClr val="000000"/>
                    </a:gs>
                  </a:gsLst>
                  <a:lin ang="5400000" scaled="1"/>
                </a:gradFill>
                <a:latin typeface="Segoe UI"/>
                <a:cs typeface="Segoe UI" pitchFamily="34" charset="0"/>
              </a:rPr>
              <a:t> to filter data for customized views</a:t>
            </a:r>
          </a:p>
          <a:p>
            <a:pPr defTabSz="932649"/>
            <a:endParaRPr lang="en-US" sz="1600" kern="0" dirty="0">
              <a:gradFill>
                <a:gsLst>
                  <a:gs pos="0">
                    <a:srgbClr val="000000"/>
                  </a:gs>
                  <a:gs pos="100000">
                    <a:srgbClr val="000000"/>
                  </a:gs>
                </a:gsLst>
                <a:lin ang="5400000" scaled="1"/>
              </a:gradFill>
              <a:latin typeface="Segoe UI"/>
              <a:cs typeface="Segoe UI" pitchFamily="34" charset="0"/>
            </a:endParaRPr>
          </a:p>
        </p:txBody>
      </p:sp>
      <p:grpSp>
        <p:nvGrpSpPr>
          <p:cNvPr id="2" name="Group 1">
            <a:extLst>
              <a:ext uri="{FF2B5EF4-FFF2-40B4-BE49-F238E27FC236}">
                <a16:creationId xmlns:a16="http://schemas.microsoft.com/office/drawing/2014/main" id="{0E0C7998-5A63-4650-961E-099987FFE401}"/>
              </a:ext>
            </a:extLst>
          </p:cNvPr>
          <p:cNvGrpSpPr/>
          <p:nvPr/>
        </p:nvGrpSpPr>
        <p:grpSpPr>
          <a:xfrm>
            <a:off x="3519991" y="1583510"/>
            <a:ext cx="7777334" cy="4898843"/>
            <a:chOff x="3520439" y="1583266"/>
            <a:chExt cx="7778327" cy="4899468"/>
          </a:xfrm>
        </p:grpSpPr>
        <p:pic>
          <p:nvPicPr>
            <p:cNvPr id="11" name="Picture 10">
              <a:extLst>
                <a:ext uri="{FF2B5EF4-FFF2-40B4-BE49-F238E27FC236}">
                  <a16:creationId xmlns:a16="http://schemas.microsoft.com/office/drawing/2014/main" id="{162DA8AA-7CE9-457F-B11B-4E1EC668ADE6}"/>
                </a:ext>
              </a:extLst>
            </p:cNvPr>
            <p:cNvPicPr>
              <a:picLocks noChangeAspect="1"/>
            </p:cNvPicPr>
            <p:nvPr/>
          </p:nvPicPr>
          <p:blipFill>
            <a:blip r:embed="rId3"/>
            <a:stretch>
              <a:fillRect/>
            </a:stretch>
          </p:blipFill>
          <p:spPr>
            <a:xfrm>
              <a:off x="3520439" y="1583266"/>
              <a:ext cx="7778327" cy="4899468"/>
            </a:xfrm>
            <a:prstGeom prst="rect">
              <a:avLst/>
            </a:prstGeom>
          </p:spPr>
        </p:pic>
        <p:pic>
          <p:nvPicPr>
            <p:cNvPr id="16" name="Picture 15">
              <a:extLst>
                <a:ext uri="{FF2B5EF4-FFF2-40B4-BE49-F238E27FC236}">
                  <a16:creationId xmlns:a16="http://schemas.microsoft.com/office/drawing/2014/main" id="{1FBA2ABA-98E2-4BFA-BE42-88B74B54DEC3}"/>
                </a:ext>
              </a:extLst>
            </p:cNvPr>
            <p:cNvPicPr>
              <a:picLocks noChangeAspect="1"/>
            </p:cNvPicPr>
            <p:nvPr/>
          </p:nvPicPr>
          <p:blipFill>
            <a:blip r:embed="rId4"/>
            <a:stretch>
              <a:fillRect/>
            </a:stretch>
          </p:blipFill>
          <p:spPr>
            <a:xfrm>
              <a:off x="7351611" y="3303809"/>
              <a:ext cx="2194556" cy="2915693"/>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8" name="Straight Connector 17">
              <a:extLst>
                <a:ext uri="{FF2B5EF4-FFF2-40B4-BE49-F238E27FC236}">
                  <a16:creationId xmlns:a16="http://schemas.microsoft.com/office/drawing/2014/main" id="{B6AB6D8C-AC47-4CDA-B5A9-74205E9A56C6}"/>
                </a:ext>
              </a:extLst>
            </p:cNvPr>
            <p:cNvCxnSpPr>
              <a:cxnSpLocks/>
            </p:cNvCxnSpPr>
            <p:nvPr/>
          </p:nvCxnSpPr>
          <p:spPr>
            <a:xfrm>
              <a:off x="4679950" y="4493683"/>
              <a:ext cx="2671661" cy="1725819"/>
            </a:xfrm>
            <a:prstGeom prst="line">
              <a:avLst/>
            </a:prstGeom>
            <a:ln>
              <a:solidFill>
                <a:srgbClr val="393941">
                  <a:alpha val="74902"/>
                </a:srgbClr>
              </a:solidFill>
              <a:headEnd type="none" w="lg" len="med"/>
              <a:tailEnd type="none" w="lg" len="med"/>
            </a:ln>
          </p:spPr>
          <p:style>
            <a:lnRef idx="3">
              <a:schemeClr val="accent1"/>
            </a:lnRef>
            <a:fillRef idx="0">
              <a:schemeClr val="accent1"/>
            </a:fillRef>
            <a:effectRef idx="2">
              <a:schemeClr val="accent1"/>
            </a:effectRef>
            <a:fontRef idx="minor">
              <a:schemeClr val="tx1"/>
            </a:fontRef>
          </p:style>
        </p:cxnSp>
      </p:grpSp>
      <p:pic>
        <p:nvPicPr>
          <p:cNvPr id="6" name="Graphic 5">
            <a:extLst>
              <a:ext uri="{FF2B5EF4-FFF2-40B4-BE49-F238E27FC236}">
                <a16:creationId xmlns:a16="http://schemas.microsoft.com/office/drawing/2014/main" id="{701B6522-0040-4512-9E39-7FD2F616B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9714" y="421017"/>
            <a:ext cx="658284" cy="658284"/>
          </a:xfrm>
          <a:prstGeom prst="rect">
            <a:avLst/>
          </a:prstGeom>
        </p:spPr>
      </p:pic>
    </p:spTree>
    <p:extLst>
      <p:ext uri="{BB962C8B-B14F-4D97-AF65-F5344CB8AC3E}">
        <p14:creationId xmlns:p14="http://schemas.microsoft.com/office/powerpoint/2010/main" val="256214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9" name="Picture Placeholder 6">
            <a:extLst>
              <a:ext uri="{FF2B5EF4-FFF2-40B4-BE49-F238E27FC236}">
                <a16:creationId xmlns:a16="http://schemas.microsoft.com/office/drawing/2014/main" id="{B36F095D-E0D3-4A8B-9C17-478696642137}"/>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3520855" y="1651416"/>
            <a:ext cx="8238656" cy="4269703"/>
          </a:xfrm>
          <a:prstGeom prst="rect">
            <a:avLst/>
          </a:prstGeom>
        </p:spPr>
      </p:pic>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769863"/>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87F736-29EE-468C-B240-2BAC6F4A50BA}"/>
              </a:ext>
            </a:extLst>
          </p:cNvPr>
          <p:cNvSpPr>
            <a:spLocks noGrp="1"/>
          </p:cNvSpPr>
          <p:nvPr>
            <p:ph type="title"/>
          </p:nvPr>
        </p:nvSpPr>
        <p:spPr>
          <a:xfrm>
            <a:off x="1151321" y="466688"/>
            <a:ext cx="10686692" cy="564955"/>
          </a:xfrm>
        </p:spPr>
        <p:txBody>
          <a:bodyPr/>
          <a:lstStyle/>
          <a:p>
            <a:r>
              <a:rPr lang="en-US" dirty="0"/>
              <a:t>Microsoft Excel</a:t>
            </a:r>
          </a:p>
        </p:txBody>
      </p:sp>
      <p:sp>
        <p:nvSpPr>
          <p:cNvPr id="3" name="Rectangle 2">
            <a:extLst>
              <a:ext uri="{FF2B5EF4-FFF2-40B4-BE49-F238E27FC236}">
                <a16:creationId xmlns:a16="http://schemas.microsoft.com/office/drawing/2014/main" id="{4518FEC4-EE5E-42F5-BBF1-45B68FC21070}"/>
              </a:ext>
              <a:ext uri="{C183D7F6-B498-43B3-948B-1728B52AA6E4}">
                <adec:decorative xmlns:adec="http://schemas.microsoft.com/office/drawing/2017/decorative" val="1"/>
              </a:ext>
            </a:extLst>
          </p:cNvPr>
          <p:cNvSpPr/>
          <p:nvPr/>
        </p:nvSpPr>
        <p:spPr bwMode="auto">
          <a:xfrm>
            <a:off x="596194" y="1436951"/>
            <a:ext cx="11300601" cy="5126971"/>
          </a:xfrm>
          <a:prstGeom prst="rect">
            <a:avLst/>
          </a:prstGeom>
          <a:solidFill>
            <a:schemeClr val="bg1"/>
          </a:solidFill>
          <a:ln>
            <a:noFill/>
            <a:headEnd type="none" w="med" len="med"/>
            <a:tailEnd type="none" w="med" len="med"/>
          </a:ln>
          <a:effectLst>
            <a:outerShdw blurRad="190500" dist="38100" dir="2700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3200" dirty="0">
              <a:gradFill>
                <a:gsLst>
                  <a:gs pos="0">
                    <a:srgbClr val="000000"/>
                  </a:gs>
                  <a:gs pos="100000">
                    <a:srgbClr val="000000"/>
                  </a:gs>
                </a:gsLst>
                <a:lin ang="5400000" scaled="1"/>
              </a:gradFill>
              <a:latin typeface="Segoe UI Semibold"/>
              <a:cs typeface="Segoe UI" pitchFamily="34" charset="0"/>
            </a:endParaRPr>
          </a:p>
        </p:txBody>
      </p:sp>
      <p:sp>
        <p:nvSpPr>
          <p:cNvPr id="14" name="TextBox 13">
            <a:extLst>
              <a:ext uri="{FF2B5EF4-FFF2-40B4-BE49-F238E27FC236}">
                <a16:creationId xmlns:a16="http://schemas.microsoft.com/office/drawing/2014/main" id="{43D15453-D511-4D31-A636-307D31AC24E1}"/>
              </a:ext>
            </a:extLst>
          </p:cNvPr>
          <p:cNvSpPr txBox="1"/>
          <p:nvPr/>
        </p:nvSpPr>
        <p:spPr>
          <a:xfrm>
            <a:off x="755800" y="1743160"/>
            <a:ext cx="2545779" cy="2708088"/>
          </a:xfrm>
          <a:prstGeom prst="rect">
            <a:avLst/>
          </a:prstGeom>
          <a:noFill/>
        </p:spPr>
        <p:txBody>
          <a:bodyPr wrap="square" lIns="0" tIns="0" rIns="0" bIns="0" rtlCol="0">
            <a:spAutoFit/>
          </a:bodyPr>
          <a:lstStyle/>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Power BI users can analyze their data in Excel by using a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live</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a:t>
            </a:r>
            <a:r>
              <a:rPr lang="en-US" sz="1600" b="1" kern="0" dirty="0">
                <a:gradFill>
                  <a:gsLst>
                    <a:gs pos="0">
                      <a:srgbClr val="000000"/>
                    </a:gs>
                    <a:gs pos="100000">
                      <a:srgbClr val="000000"/>
                    </a:gs>
                  </a:gsLst>
                  <a:lin ang="5400000" scaled="1"/>
                </a:gradFill>
                <a:latin typeface="Segoe UI"/>
                <a:ea typeface="Segoe UI" pitchFamily="34" charset="0"/>
                <a:cs typeface="Segoe UI" pitchFamily="34" charset="0"/>
              </a:rPr>
              <a:t>connected</a:t>
            </a:r>
            <a:r>
              <a:rPr lang="en-US" sz="1600" kern="0" dirty="0">
                <a:gradFill>
                  <a:gsLst>
                    <a:gs pos="0">
                      <a:srgbClr val="000000"/>
                    </a:gs>
                    <a:gs pos="100000">
                      <a:srgbClr val="000000"/>
                    </a:gs>
                  </a:gsLst>
                  <a:lin ang="5400000" scaled="1"/>
                </a:gradFill>
                <a:latin typeface="Segoe UI"/>
                <a:ea typeface="Segoe UI" pitchFamily="34" charset="0"/>
                <a:cs typeface="Segoe UI" pitchFamily="34" charset="0"/>
              </a:rPr>
              <a:t> experience</a:t>
            </a:r>
          </a:p>
          <a:p>
            <a:pPr marL="342866" indent="-342866" defTabSz="932649">
              <a:buFont typeface="Arial" panose="020B0604020202020204" pitchFamily="34" charset="0"/>
              <a:buChar char="•"/>
            </a:pPr>
            <a:endParaRPr lang="en-US" sz="1600" kern="0" dirty="0">
              <a:gradFill>
                <a:gsLst>
                  <a:gs pos="0">
                    <a:srgbClr val="000000"/>
                  </a:gs>
                  <a:gs pos="100000">
                    <a:srgbClr val="000000"/>
                  </a:gs>
                </a:gsLst>
                <a:lin ang="5400000" scaled="1"/>
              </a:gradFill>
              <a:latin typeface="Segoe UI"/>
              <a:cs typeface="Segoe UI" pitchFamily="34" charset="0"/>
            </a:endParaRPr>
          </a:p>
          <a:p>
            <a:pPr marL="342866" indent="-342866" defTabSz="932649">
              <a:buFont typeface="Arial" panose="020B0604020202020204" pitchFamily="34" charset="0"/>
              <a:buChar char="•"/>
            </a:pPr>
            <a:r>
              <a:rPr lang="en-US" sz="1600" kern="0" dirty="0">
                <a:gradFill>
                  <a:gsLst>
                    <a:gs pos="0">
                      <a:srgbClr val="000000"/>
                    </a:gs>
                    <a:gs pos="100000">
                      <a:srgbClr val="000000"/>
                    </a:gs>
                  </a:gsLst>
                  <a:lin ang="5400000" scaled="1"/>
                </a:gradFill>
                <a:latin typeface="Segoe UI"/>
                <a:cs typeface="Segoe UI" pitchFamily="34" charset="0"/>
              </a:rPr>
              <a:t>With a PivotTable you can quickly summarize your data, pivot the data to </a:t>
            </a:r>
            <a:r>
              <a:rPr lang="en-US" sz="1600" b="1" kern="0" dirty="0">
                <a:gradFill>
                  <a:gsLst>
                    <a:gs pos="0">
                      <a:srgbClr val="000000"/>
                    </a:gs>
                    <a:gs pos="100000">
                      <a:srgbClr val="000000"/>
                    </a:gs>
                  </a:gsLst>
                  <a:lin ang="5400000" scaled="1"/>
                </a:gradFill>
                <a:latin typeface="Segoe UI"/>
                <a:cs typeface="Segoe UI" pitchFamily="34" charset="0"/>
              </a:rPr>
              <a:t>view it from different angles</a:t>
            </a:r>
            <a:r>
              <a:rPr lang="en-US" sz="1600" kern="0" dirty="0">
                <a:gradFill>
                  <a:gsLst>
                    <a:gs pos="0">
                      <a:srgbClr val="000000"/>
                    </a:gs>
                    <a:gs pos="100000">
                      <a:srgbClr val="000000"/>
                    </a:gs>
                  </a:gsLst>
                  <a:lin ang="5400000" scaled="1"/>
                </a:gradFill>
                <a:latin typeface="Segoe UI"/>
                <a:cs typeface="Segoe UI" pitchFamily="34" charset="0"/>
              </a:rPr>
              <a:t> and analyze in specific detail</a:t>
            </a:r>
          </a:p>
        </p:txBody>
      </p:sp>
      <p:pic>
        <p:nvPicPr>
          <p:cNvPr id="2050" name="Picture 2">
            <a:extLst>
              <a:ext uri="{FF2B5EF4-FFF2-40B4-BE49-F238E27FC236}">
                <a16:creationId xmlns:a16="http://schemas.microsoft.com/office/drawing/2014/main" id="{91C65F51-CD09-4440-AE4A-93688D86B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370" y="475682"/>
            <a:ext cx="657141" cy="60952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atasets in Excel">
            <a:extLst>
              <a:ext uri="{FF2B5EF4-FFF2-40B4-BE49-F238E27FC236}">
                <a16:creationId xmlns:a16="http://schemas.microsoft.com/office/drawing/2014/main" id="{5F9566E8-F0E4-45BC-909E-30F3F382A4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854" y="1550158"/>
            <a:ext cx="7670053" cy="490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88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p:txBody>
          <a:bodyPr/>
          <a:lstStyle/>
          <a:p>
            <a:r>
              <a:rPr lang="en-US" dirty="0"/>
              <a:t>What does a *good report look like?</a:t>
            </a:r>
          </a:p>
        </p:txBody>
      </p:sp>
    </p:spTree>
    <p:extLst>
      <p:ext uri="{BB962C8B-B14F-4D97-AF65-F5344CB8AC3E}">
        <p14:creationId xmlns:p14="http://schemas.microsoft.com/office/powerpoint/2010/main" val="129248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8" name="Picture 7">
            <a:extLst>
              <a:ext uri="{FF2B5EF4-FFF2-40B4-BE49-F238E27FC236}">
                <a16:creationId xmlns:a16="http://schemas.microsoft.com/office/drawing/2014/main" id="{60B78E5A-3266-3A21-3166-A6A6A17181E8}"/>
              </a:ext>
            </a:extLst>
          </p:cNvPr>
          <p:cNvPicPr>
            <a:picLocks noChangeAspect="1"/>
          </p:cNvPicPr>
          <p:nvPr/>
        </p:nvPicPr>
        <p:blipFill>
          <a:blip r:embed="rId2"/>
          <a:stretch>
            <a:fillRect/>
          </a:stretch>
        </p:blipFill>
        <p:spPr>
          <a:xfrm>
            <a:off x="6533763" y="2250342"/>
            <a:ext cx="5503463" cy="3119490"/>
          </a:xfrm>
          <a:prstGeom prst="rect">
            <a:avLst/>
          </a:prstGeom>
        </p:spPr>
      </p:pic>
      <p:pic>
        <p:nvPicPr>
          <p:cNvPr id="12" name="Picture 11">
            <a:extLst>
              <a:ext uri="{FF2B5EF4-FFF2-40B4-BE49-F238E27FC236}">
                <a16:creationId xmlns:a16="http://schemas.microsoft.com/office/drawing/2014/main" id="{70610828-8D5B-EDE2-9F41-303FA5092B74}"/>
              </a:ext>
            </a:extLst>
          </p:cNvPr>
          <p:cNvPicPr>
            <a:picLocks noChangeAspect="1"/>
          </p:cNvPicPr>
          <p:nvPr/>
        </p:nvPicPr>
        <p:blipFill>
          <a:blip r:embed="rId3"/>
          <a:stretch>
            <a:fillRect/>
          </a:stretch>
        </p:blipFill>
        <p:spPr>
          <a:xfrm>
            <a:off x="492120" y="2245178"/>
            <a:ext cx="5597923" cy="3124653"/>
          </a:xfrm>
          <a:prstGeom prst="rect">
            <a:avLst/>
          </a:prstGeom>
        </p:spPr>
      </p:pic>
      <p:sp>
        <p:nvSpPr>
          <p:cNvPr id="14" name="Oval 13">
            <a:extLst>
              <a:ext uri="{FF2B5EF4-FFF2-40B4-BE49-F238E27FC236}">
                <a16:creationId xmlns:a16="http://schemas.microsoft.com/office/drawing/2014/main" id="{5B17D4CD-FC49-F24B-C059-862FF33106D3}"/>
              </a:ext>
            </a:extLst>
          </p:cNvPr>
          <p:cNvSpPr/>
          <p:nvPr/>
        </p:nvSpPr>
        <p:spPr bwMode="auto">
          <a:xfrm>
            <a:off x="5764630" y="2808515"/>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E2CD5A09-1189-0A50-8890-E54742B512A4}"/>
              </a:ext>
            </a:extLst>
          </p:cNvPr>
          <p:cNvSpPr/>
          <p:nvPr/>
        </p:nvSpPr>
        <p:spPr bwMode="auto">
          <a:xfrm>
            <a:off x="993965" y="4969329"/>
            <a:ext cx="650826" cy="628650"/>
          </a:xfrm>
          <a:prstGeom prst="ellipse">
            <a:avLst/>
          </a:prstGeom>
          <a:noFill/>
          <a:ln w="38100">
            <a:solidFill>
              <a:srgbClr val="FF0000"/>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16173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4" name="Picture 3">
            <a:extLst>
              <a:ext uri="{FF2B5EF4-FFF2-40B4-BE49-F238E27FC236}">
                <a16:creationId xmlns:a16="http://schemas.microsoft.com/office/drawing/2014/main" id="{27415982-6F54-9633-EC50-02F2CF52653A}"/>
              </a:ext>
            </a:extLst>
          </p:cNvPr>
          <p:cNvPicPr>
            <a:picLocks noChangeAspect="1"/>
          </p:cNvPicPr>
          <p:nvPr/>
        </p:nvPicPr>
        <p:blipFill>
          <a:blip r:embed="rId2"/>
          <a:stretch>
            <a:fillRect/>
          </a:stretch>
        </p:blipFill>
        <p:spPr>
          <a:xfrm>
            <a:off x="1616869" y="1528724"/>
            <a:ext cx="9201150" cy="4999499"/>
          </a:xfrm>
          <a:prstGeom prst="rect">
            <a:avLst/>
          </a:prstGeom>
        </p:spPr>
      </p:pic>
    </p:spTree>
    <p:extLst>
      <p:ext uri="{BB962C8B-B14F-4D97-AF65-F5344CB8AC3E}">
        <p14:creationId xmlns:p14="http://schemas.microsoft.com/office/powerpoint/2010/main" val="14394260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 name="文本框 8">
            <a:extLst>
              <a:ext uri="{FF2B5EF4-FFF2-40B4-BE49-F238E27FC236}">
                <a16:creationId xmlns:a16="http://schemas.microsoft.com/office/drawing/2014/main" id="{CBF48D9A-4A4D-440C-8998-EBA396A4975D}"/>
              </a:ext>
            </a:extLst>
          </p:cNvPr>
          <p:cNvSpPr txBox="1"/>
          <p:nvPr/>
        </p:nvSpPr>
        <p:spPr>
          <a:xfrm>
            <a:off x="3874941" y="130528"/>
            <a:ext cx="4685009" cy="764477"/>
          </a:xfrm>
          <a:prstGeom prst="rect">
            <a:avLst/>
          </a:prstGeom>
          <a:noFill/>
        </p:spPr>
        <p:txBody>
          <a:bodyPr wrap="square" lIns="93235" tIns="93235" rIns="93235" bIns="93235" rtlCol="0" anchor="ctr">
            <a:spAutoFit/>
          </a:bodyPr>
          <a:lstStyle/>
          <a:p>
            <a:pPr algn="ctr" defTabSz="932021" fontAlgn="base">
              <a:spcAft>
                <a:spcPct val="0"/>
              </a:spcAft>
              <a:defRPr/>
            </a:pPr>
            <a:r>
              <a:rPr lang="en-US" altLang="zh-CN" sz="3672" spc="-51">
                <a:ln w="3175">
                  <a:noFill/>
                </a:ln>
                <a:solidFill>
                  <a:srgbClr val="000000"/>
                </a:solidFill>
                <a:latin typeface="Segoe UI Semibold"/>
                <a:cs typeface="Segoe UI" pitchFamily="34" charset="0"/>
              </a:rPr>
              <a:t>Rapid innovation</a:t>
            </a:r>
          </a:p>
        </p:txBody>
      </p:sp>
      <p:sp>
        <p:nvSpPr>
          <p:cNvPr id="2" name="Rectangle 1">
            <a:extLst>
              <a:ext uri="{FF2B5EF4-FFF2-40B4-BE49-F238E27FC236}">
                <a16:creationId xmlns:a16="http://schemas.microsoft.com/office/drawing/2014/main" id="{4BB81B19-B17E-5E41-81CB-542F94D9D646}"/>
              </a:ext>
            </a:extLst>
          </p:cNvPr>
          <p:cNvSpPr/>
          <p:nvPr/>
        </p:nvSpPr>
        <p:spPr bwMode="auto">
          <a:xfrm>
            <a:off x="881"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6098BC5F-B8D5-914E-94CE-6EA909A86899}"/>
              </a:ext>
            </a:extLst>
          </p:cNvPr>
          <p:cNvSpPr/>
          <p:nvPr/>
        </p:nvSpPr>
        <p:spPr bwMode="auto">
          <a:xfrm flipH="1">
            <a:off x="10802159"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FD06D0D0-CC94-4294-854A-44A5F34BBC59}"/>
              </a:ext>
            </a:extLst>
          </p:cNvPr>
          <p:cNvGrpSpPr/>
          <p:nvPr/>
        </p:nvGrpSpPr>
        <p:grpSpPr>
          <a:xfrm>
            <a:off x="-32672006" y="870574"/>
            <a:ext cx="44976999" cy="6192714"/>
            <a:chOff x="-30410738" y="944194"/>
            <a:chExt cx="44104730" cy="6072615"/>
          </a:xfrm>
        </p:grpSpPr>
        <p:grpSp>
          <p:nvGrpSpPr>
            <p:cNvPr id="15" name="Group 14">
              <a:extLst>
                <a:ext uri="{FF2B5EF4-FFF2-40B4-BE49-F238E27FC236}">
                  <a16:creationId xmlns:a16="http://schemas.microsoft.com/office/drawing/2014/main" id="{33BA4603-93B7-4395-98F2-D22657B68763}"/>
                </a:ext>
              </a:extLst>
            </p:cNvPr>
            <p:cNvGrpSpPr/>
            <p:nvPr/>
          </p:nvGrpSpPr>
          <p:grpSpPr>
            <a:xfrm>
              <a:off x="-30410738" y="1242339"/>
              <a:ext cx="33835989" cy="5615316"/>
              <a:chOff x="-30410738" y="1242339"/>
              <a:chExt cx="33835989" cy="5615316"/>
            </a:xfrm>
          </p:grpSpPr>
          <p:sp>
            <p:nvSpPr>
              <p:cNvPr id="841" name="Rectangle 840">
                <a:extLst>
                  <a:ext uri="{FF2B5EF4-FFF2-40B4-BE49-F238E27FC236}">
                    <a16:creationId xmlns:a16="http://schemas.microsoft.com/office/drawing/2014/main" id="{931AA39E-F226-4B8A-B6B3-64236E6A7A5E}"/>
                  </a:ext>
                </a:extLst>
              </p:cNvPr>
              <p:cNvSpPr/>
              <p:nvPr/>
            </p:nvSpPr>
            <p:spPr bwMode="auto">
              <a:xfrm>
                <a:off x="-30410738" y="1242339"/>
                <a:ext cx="2296883" cy="527374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ribbon (preview)</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Title bar update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Keytips</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ccessibilit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mental refresh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s</a:t>
                </a: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FirstNonBlankValue</a:t>
                </a:r>
                <a:endParaRPr lang="en-US" sz="612">
                  <a:solidFill>
                    <a:schemeClr val="tx1"/>
                  </a:solidFill>
                  <a:latin typeface="Segoe UI" panose="020B0502040204020203" pitchFamily="34" charset="0"/>
                  <a:cs typeface="Segoe UI" panose="020B0502040204020203" pitchFamily="34" charset="0"/>
                </a:endParaRPr>
              </a:p>
              <a:p>
                <a:pPr marL="184558" lvl="2" indent="-61519" defTabSz="950661">
                  <a:buSzPct val="101000"/>
                  <a:buFont typeface="STIXGeneral-Regular" pitchFamily="2" charset="2"/>
                  <a:buChar char="⎯"/>
                  <a:defRPr/>
                </a:pPr>
                <a:r>
                  <a:rPr lang="en-US" sz="612" err="1">
                    <a:solidFill>
                      <a:schemeClr val="tx1"/>
                    </a:solidFill>
                    <a:latin typeface="Segoe UI" panose="020B0502040204020203" pitchFamily="34" charset="0"/>
                    <a:cs typeface="Segoe UI" panose="020B0502040204020203" pitchFamily="34" charset="0"/>
                  </a:rPr>
                  <a:t>LastNonBlankValue</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unnel and pyramid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EE Dashboard by 3AG Syste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rganization chart by MAQ Softwar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 </a:t>
                </a:r>
                <a:r>
                  <a:rPr lang="en-US" sz="714" err="1">
                    <a:solidFill>
                      <a:schemeClr val="tx1"/>
                    </a:solidFill>
                    <a:latin typeface="Segoe UI" panose="020B0502040204020203" pitchFamily="34" charset="0"/>
                    <a:cs typeface="Segoe UI" panose="020B0502040204020203" pitchFamily="34" charset="0"/>
                  </a:rPr>
                  <a:t>VIZpack</a:t>
                </a:r>
                <a:r>
                  <a:rPr lang="en-US" sz="714">
                    <a:solidFill>
                      <a:schemeClr val="tx1"/>
                    </a:solidFill>
                    <a:latin typeface="Segoe UI" panose="020B0502040204020203" pitchFamily="34" charset="0"/>
                    <a:cs typeface="Segoe UI" panose="020B0502040204020203" pitchFamily="34" charset="0"/>
                  </a:rPr>
                  <a:t> by PQ System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Histogram</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ndividuals and moving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Multi-group individua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X-bar and range control 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P-chart</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chart</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Zebra BI tables and char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spcAft>
                    <a:spcPts val="102"/>
                  </a:spcAft>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365 usage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FL analytics by P3</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Acterys</a:t>
                </a:r>
                <a:r>
                  <a:rPr lang="en-US" sz="714">
                    <a:solidFill>
                      <a:schemeClr val="tx1"/>
                    </a:solidFill>
                    <a:latin typeface="Segoe UI" panose="020B0502040204020203" pitchFamily="34" charset="0"/>
                    <a:cs typeface="Segoe UI" panose="020B0502040204020203" pitchFamily="34" charset="0"/>
                  </a:rPr>
                  <a:t> for </a:t>
                </a:r>
                <a:r>
                  <a:rPr lang="en-US" sz="714" err="1">
                    <a:solidFill>
                      <a:schemeClr val="tx1"/>
                    </a:solidFill>
                    <a:latin typeface="Segoe UI" panose="020B0502040204020203" pitchFamily="34" charset="0"/>
                    <a:cs typeface="Segoe UI" panose="020B0502040204020203" pitchFamily="34" charset="0"/>
                  </a:rPr>
                  <a:t>Quickbooks</a:t>
                </a:r>
                <a:r>
                  <a:rPr lang="en-US" sz="714">
                    <a:solidFill>
                      <a:schemeClr val="tx1"/>
                    </a:solidFill>
                    <a:latin typeface="Segoe UI" panose="020B0502040204020203" pitchFamily="34" charset="0"/>
                    <a:cs typeface="Segoe UI" panose="020B0502040204020203" pitchFamily="34" charset="0"/>
                  </a:rPr>
                  <a:t>, Xero &amp; </a:t>
                </a:r>
                <a:r>
                  <a:rPr lang="en-US" sz="714" err="1">
                    <a:solidFill>
                      <a:schemeClr val="tx1"/>
                    </a:solidFill>
                    <a:latin typeface="Segoe UI" panose="020B0502040204020203" pitchFamily="34" charset="0"/>
                    <a:cs typeface="Segoe UI" panose="020B0502040204020203" pitchFamily="34" charset="0"/>
                  </a:rPr>
                  <a:t>WorkflowMax</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on-admin support for 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trategy connector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HIR connector is now generally availabl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Factset</a:t>
                </a:r>
                <a:r>
                  <a:rPr lang="en-US" sz="714">
                    <a:solidFill>
                      <a:schemeClr val="tx1"/>
                    </a:solidFill>
                    <a:latin typeface="Segoe UI" panose="020B0502040204020203" pitchFamily="34" charset="0"/>
                    <a:cs typeface="Segoe UI" panose="020B0502040204020203" pitchFamily="34" charset="0"/>
                  </a:rPr>
                  <a: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BCO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Jamf</a:t>
                </a:r>
                <a:r>
                  <a:rPr lang="en-US" sz="714">
                    <a:solidFill>
                      <a:schemeClr val="tx1"/>
                    </a:solidFill>
                    <a:latin typeface="Segoe UI" panose="020B0502040204020203" pitchFamily="34" charset="0"/>
                    <a:cs typeface="Segoe UI" panose="020B0502040204020203" pitchFamily="34" charset="0"/>
                  </a:rPr>
                  <a:t> Pro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sana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report server January releas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Premium Capacity Metrics app with health cen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report usage metr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atured content in Power BI home</a:t>
                </a:r>
              </a:p>
            </p:txBody>
          </p:sp>
          <p:sp>
            <p:nvSpPr>
              <p:cNvPr id="847" name="Rectangle 846">
                <a:extLst>
                  <a:ext uri="{FF2B5EF4-FFF2-40B4-BE49-F238E27FC236}">
                    <a16:creationId xmlns:a16="http://schemas.microsoft.com/office/drawing/2014/main" id="{8CE52DE5-998C-4865-B2E9-DB1CE6EAD41E}"/>
                  </a:ext>
                </a:extLst>
              </p:cNvPr>
              <p:cNvSpPr/>
              <p:nvPr/>
            </p:nvSpPr>
            <p:spPr bwMode="auto">
              <a:xfrm>
                <a:off x="-27972753" y="1242339"/>
                <a:ext cx="2296883" cy="44433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ction types for butt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navig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through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olumn sort for tabl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al axis for lin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lter pane searc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decomposition tre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ars per level formatting op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behavior of data bar lengt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ribbon is now on by default</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DAX function: COALESC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connection opti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Enterprise support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multiple reference layer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table of cont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evOps dashboard by Data Maru</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TeamsPower</a:t>
                </a:r>
                <a:r>
                  <a:rPr lang="en-US" sz="714">
                    <a:solidFill>
                      <a:schemeClr val="tx1"/>
                    </a:solidFill>
                    <a:latin typeface="Segoe UI" panose="020B0502040204020203" pitchFamily="34" charset="0"/>
                    <a:cs typeface="Segoe UI" panose="020B0502040204020203" pitchFamily="34" charset="0"/>
                  </a:rPr>
                  <a:t> by </a:t>
                </a:r>
                <a:r>
                  <a:rPr lang="en-US" sz="714" err="1">
                    <a:solidFill>
                      <a:schemeClr val="tx1"/>
                    </a:solidFill>
                    <a:latin typeface="Segoe UI" panose="020B0502040204020203" pitchFamily="34" charset="0"/>
                    <a:cs typeface="Segoe UI" panose="020B0502040204020203" pitchFamily="34" charset="0"/>
                  </a:rPr>
                  <a:t>Encamina</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 is now generally availabl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Cognite</a:t>
                </a:r>
                <a:r>
                  <a:rPr lang="en-US" sz="714">
                    <a:solidFill>
                      <a:schemeClr val="tx1"/>
                    </a:solidFill>
                    <a:latin typeface="Segoe UI" panose="020B0502040204020203" pitchFamily="34" charset="0"/>
                    <a:cs typeface="Segoe UI" panose="020B0502040204020203" pitchFamily="34" charset="0"/>
                  </a:rPr>
                  <a:t> connector</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sing default system credentials for web prox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instructor-led administrator in a day training</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search experience for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mobile Interaction settings</a:t>
                </a:r>
              </a:p>
            </p:txBody>
          </p:sp>
          <p:sp>
            <p:nvSpPr>
              <p:cNvPr id="60" name="Rectangle 59">
                <a:extLst>
                  <a:ext uri="{FF2B5EF4-FFF2-40B4-BE49-F238E27FC236}">
                    <a16:creationId xmlns:a16="http://schemas.microsoft.com/office/drawing/2014/main" id="{04B0E66D-36C3-DC45-A1DD-4112C1F89CB8}"/>
                  </a:ext>
                </a:extLst>
              </p:cNvPr>
              <p:cNvSpPr/>
              <p:nvPr/>
            </p:nvSpPr>
            <p:spPr bwMode="auto">
              <a:xfrm>
                <a:off x="-25557249" y="1258022"/>
                <a:ext cx="2296884" cy="520231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t>
                </a: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preview)</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Q&amp;A visual</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Apps visual is now included by defaul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t>
                </a: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Variance T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ag Cloud</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Sagra</a:t>
                </a:r>
                <a:r>
                  <a:rPr lang="en-US" sz="714">
                    <a:solidFill>
                      <a:schemeClr val="tx1"/>
                    </a:solidFill>
                    <a:latin typeface="Segoe UI" panose="020B0502040204020203" pitchFamily="34" charset="0"/>
                    <a:cs typeface="Segoe UI" panose="020B0502040204020203" pitchFamily="34" charset="0"/>
                  </a:rPr>
                  <a:t> </a:t>
                </a:r>
                <a:r>
                  <a:rPr lang="en-US" sz="714" err="1">
                    <a:solidFill>
                      <a:schemeClr val="tx1"/>
                    </a:solidFill>
                    <a:latin typeface="Segoe UI" panose="020B0502040204020203" pitchFamily="34" charset="0"/>
                    <a:cs typeface="Segoe UI" panose="020B0502040204020203" pitchFamily="34" charset="0"/>
                  </a:rPr>
                  <a:t>Emigo</a:t>
                </a:r>
                <a:r>
                  <a:rPr lang="en-US" sz="714">
                    <a:solidFill>
                      <a:schemeClr val="tx1"/>
                    </a:solidFill>
                    <a:latin typeface="Segoe UI" panose="020B0502040204020203" pitchFamily="34" charset="0"/>
                    <a:cs typeface="Segoe UI" panose="020B0502040204020203" pitchFamily="34" charset="0"/>
                  </a:rPr>
                  <a:t>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Cost Management connector update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Workplace Analytics connector</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uery diagnos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filing enhancement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roject Web Ap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e format: .</a:t>
                </a:r>
                <a:r>
                  <a:rPr lang="en-US" sz="714" err="1">
                    <a:solidFill>
                      <a:schemeClr val="tx1"/>
                    </a:solidFill>
                    <a:latin typeface="Segoe UI" panose="020B0502040204020203" pitchFamily="34" charset="0"/>
                    <a:cs typeface="Segoe UI" panose="020B0502040204020203" pitchFamily="34" charset="0"/>
                  </a:rPr>
                  <a:t>pbid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for modeling oper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pp for Team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Premium Per Use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Power BI mobil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ptember update for On-premises data gatewa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set impact analys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flow certific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py a visual as an Imag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ustom navigation for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ortcuts in Android app</a:t>
                </a: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a:p>
                <a:pPr defTabSz="950661">
                  <a:spcBef>
                    <a:spcPts val="612"/>
                  </a:spcBef>
                  <a:spcAft>
                    <a:spcPts val="102"/>
                  </a:spcAft>
                  <a:defRPr/>
                </a:pPr>
                <a:endParaRPr lang="en-US" sz="714" b="1" cap="all">
                  <a:solidFill>
                    <a:schemeClr val="tx1"/>
                  </a:solidFill>
                  <a:latin typeface="Segoe UI"/>
                </a:endParaRPr>
              </a:p>
            </p:txBody>
          </p:sp>
          <p:sp>
            <p:nvSpPr>
              <p:cNvPr id="61" name="Rectangle 60">
                <a:extLst>
                  <a:ext uri="{FF2B5EF4-FFF2-40B4-BE49-F238E27FC236}">
                    <a16:creationId xmlns:a16="http://schemas.microsoft.com/office/drawing/2014/main" id="{7D5D4D83-5F98-4147-821A-DCD8E4762F04}"/>
                  </a:ext>
                </a:extLst>
              </p:cNvPr>
              <p:cNvSpPr/>
              <p:nvPr/>
            </p:nvSpPr>
            <p:spPr bwMode="auto">
              <a:xfrm>
                <a:off x="-23106271" y="1249812"/>
                <a:ext cx="2296884" cy="498791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mobile layout authoring</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phone emulator</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Updated visualization pan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 for overlaid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erarchical slicer is now generally availabl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New options for expand/collapse icons</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Icons now scale with font size</a:t>
                </a:r>
              </a:p>
              <a:p>
                <a:pPr marL="184558" lvl="2" indent="-61519" defTabSz="950661">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Ability to customize indentation for child items</a:t>
                </a:r>
              </a:p>
              <a:p>
                <a:pPr marL="184558" lvl="2" indent="-61519" defTabSz="950661">
                  <a:spcAft>
                    <a:spcPts val="102"/>
                  </a:spcAft>
                  <a:buSzPct val="101000"/>
                  <a:buFont typeface="STIXGeneral-Regular" pitchFamily="2" charset="2"/>
                  <a:buChar char="⎯"/>
                  <a:defRPr/>
                </a:pPr>
                <a:r>
                  <a:rPr lang="en-US" sz="612">
                    <a:solidFill>
                      <a:schemeClr val="tx1"/>
                    </a:solidFill>
                    <a:latin typeface="Segoe UI" panose="020B0502040204020203" pitchFamily="34" charset="0"/>
                    <a:cs typeface="Segoe UI" panose="020B0502040204020203" pitchFamily="34" charset="0"/>
                  </a:rPr>
                  <a:t>Supported with AI visuals</a:t>
                </a:r>
              </a:p>
              <a:p>
                <a:pPr marL="108469" lvl="1" indent="-108469" defTabSz="950661">
                  <a:spcBef>
                    <a:spcPts val="204"/>
                  </a:spcBef>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rn ribbon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LS is now supported for Featured Tables in Excel’s Data Types gallery</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I insights are now generally available</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 chart dot formatting op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dar chart by MAQ Software</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for Modern Visual Pl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Gantt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Cards with States by </a:t>
                </a:r>
                <a:r>
                  <a:rPr lang="en-US" sz="714" err="1">
                    <a:solidFill>
                      <a:schemeClr val="tx1"/>
                    </a:solidFill>
                    <a:latin typeface="Segoe UI" panose="020B0502040204020203" pitchFamily="34" charset="0"/>
                    <a:cs typeface="Segoe UI" panose="020B0502040204020203" pitchFamily="34" charset="0"/>
                  </a:rPr>
                  <a:t>OK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HR 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ber User Data Report</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odel 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lantir Foundry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connectivity for Snowflak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Power BI trainings</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rk mode for iO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mobile authoring</a:t>
                </a:r>
              </a:p>
              <a:p>
                <a:pPr defTabSz="950661">
                  <a:spcBef>
                    <a:spcPts val="612"/>
                  </a:spcBef>
                  <a:spcAft>
                    <a:spcPts val="102"/>
                  </a:spcAft>
                  <a:defRPr/>
                </a:pPr>
                <a:endParaRPr lang="en-US" sz="714" b="1">
                  <a:solidFill>
                    <a:schemeClr val="tx1"/>
                  </a:solidFill>
                  <a:latin typeface="Segoe UI"/>
                </a:endParaRPr>
              </a:p>
            </p:txBody>
          </p:sp>
          <p:sp>
            <p:nvSpPr>
              <p:cNvPr id="62" name="Rectangle 61">
                <a:extLst>
                  <a:ext uri="{FF2B5EF4-FFF2-40B4-BE49-F238E27FC236}">
                    <a16:creationId xmlns:a16="http://schemas.microsoft.com/office/drawing/2014/main" id="{39116787-FD6C-494B-80B2-B6AFC447E168}"/>
                  </a:ext>
                </a:extLst>
              </p:cNvPr>
              <p:cNvSpPr/>
              <p:nvPr/>
            </p:nvSpPr>
            <p:spPr bwMode="auto">
              <a:xfrm>
                <a:off x="-20642050" y="1245929"/>
                <a:ext cx="2296884" cy="48029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radient legen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bility to further customize slicer header tex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lative time filter is now generally available</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ments to Q&amp;A</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Maps visual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Multi-Axis Chart by xViz</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Excel financial fun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enabled for live connect is now generally availabl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Global option to disable automatic type detection</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YouTube Analytics by MAQ Softwar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unch external tools from Power BI Desktop (preview)</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k previews for Power BI in Microsoft Team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imely Premium capacity overload ale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ublic preview of Power BI deployment pipelin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mplate app for Power BI Premium Capacity Metric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fresh summary for Premium capacity admi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e view for Paginated Repo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 for Workspac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mobile authoring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breadcrumbs in Power BI 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nsitivity labels persist when a Power BI report is embedded in an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data protection G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abel inheritance upon creation of new conten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for Power BI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updates</a:t>
                </a:r>
              </a:p>
              <a:p>
                <a:pPr defTabSz="950661">
                  <a:spcBef>
                    <a:spcPts val="612"/>
                  </a:spcBef>
                  <a:spcAft>
                    <a:spcPts val="102"/>
                  </a:spcAft>
                  <a:defRPr/>
                </a:pPr>
                <a:endParaRPr lang="en-US" sz="714" b="1" cap="all">
                  <a:solidFill>
                    <a:schemeClr val="tx1"/>
                  </a:solidFill>
                  <a:latin typeface="Segoe UI"/>
                </a:endParaRPr>
              </a:p>
            </p:txBody>
          </p:sp>
          <p:sp>
            <p:nvSpPr>
              <p:cNvPr id="63" name="Rectangle 62">
                <a:extLst>
                  <a:ext uri="{FF2B5EF4-FFF2-40B4-BE49-F238E27FC236}">
                    <a16:creationId xmlns:a16="http://schemas.microsoft.com/office/drawing/2014/main" id="{E44CBA61-A7CF-3847-8BEC-51E96802D53C}"/>
                  </a:ext>
                </a:extLst>
              </p:cNvPr>
              <p:cNvSpPr/>
              <p:nvPr/>
            </p:nvSpPr>
            <p:spPr bwMode="auto">
              <a:xfrm>
                <a:off x="-18176563" y="1245929"/>
                <a:ext cx="2296884" cy="372409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pectives support for Personalize visual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tangular lasso select for data point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dynamic formatting support to more visual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 Query support for Q&amp;A (preview)</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near Gauge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Pie &amp; Donut by xViz</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atings visual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ggle switch by TME A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Pie PRO by Zoom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WISE RoadMa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ArcGIS Ma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ing Admin capabilities for AppSource visual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gile CRM Analytics for Dynamics 365</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CSV By Example (preview)</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herwell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on Anywher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cterys connector</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ple data lakes support for Dataflow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headers and navigation in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updates</a:t>
                </a:r>
              </a:p>
              <a:p>
                <a:pPr defTabSz="950661">
                  <a:spcBef>
                    <a:spcPts val="612"/>
                  </a:spcBef>
                  <a:spcAft>
                    <a:spcPts val="102"/>
                  </a:spcAft>
                  <a:defRPr/>
                </a:pPr>
                <a:endParaRPr lang="en-US" sz="714" b="1" cap="all">
                  <a:solidFill>
                    <a:schemeClr val="tx1"/>
                  </a:solidFill>
                  <a:latin typeface="Segoe UI"/>
                </a:endParaRPr>
              </a:p>
            </p:txBody>
          </p:sp>
          <p:sp>
            <p:nvSpPr>
              <p:cNvPr id="64" name="Rectangle 63">
                <a:extLst>
                  <a:ext uri="{FF2B5EF4-FFF2-40B4-BE49-F238E27FC236}">
                    <a16:creationId xmlns:a16="http://schemas.microsoft.com/office/drawing/2014/main" id="{46B7A2D6-06F7-9E46-B049-26D2789EF04A}"/>
                  </a:ext>
                </a:extLst>
              </p:cNvPr>
              <p:cNvSpPr/>
              <p:nvPr/>
            </p:nvSpPr>
            <p:spPr bwMode="auto">
              <a:xfrm>
                <a:off x="-15730716" y="1249814"/>
                <a:ext cx="2316524" cy="500264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narrativ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Q&amp;A now supports arithmetic operations</a:t>
                </a:r>
              </a:p>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additional chart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ed general visual option to maintain layer order </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for a workspace during publish</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otal labels for stacked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bile authoring enhancements</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mproved navigation tree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are from Power BI (iOS and Androi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inch and zoom</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 play a slideshow on startup (Windows)</a:t>
                </a:r>
              </a:p>
              <a:p>
                <a:pPr defTabSz="950661">
                  <a:spcBef>
                    <a:spcPts val="612"/>
                  </a:spcBef>
                  <a:spcAft>
                    <a:spcPts val="102"/>
                  </a:spcAft>
                  <a:defRPr/>
                </a:pPr>
                <a:r>
                  <a:rPr lang="en-US" sz="714" b="1" cap="all">
                    <a:solidFill>
                      <a:schemeClr val="tx1"/>
                    </a:solidFill>
                    <a:latin typeface="Segoe UI"/>
                  </a:rPr>
                  <a:t>SERVICE</a:t>
                </a:r>
              </a:p>
              <a:p>
                <a:pPr defTabSz="950661">
                  <a:spcBef>
                    <a:spcPts val="612"/>
                  </a:spcBef>
                  <a:spcAft>
                    <a:spcPts val="102"/>
                  </a:spcAft>
                  <a:defRPr/>
                </a:pPr>
                <a:r>
                  <a:rPr lang="en-US" sz="714" b="1" cap="all">
                    <a:solidFill>
                      <a:schemeClr val="tx1"/>
                    </a:solidFill>
                    <a:latin typeface="Segoe UI"/>
                  </a:rPr>
                  <a:t>New capabilities in lineage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cel inherits the Power BI dataset’s sensitivity label when using a PivotTable connec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alyze in Excel provides Excel file instead of .ODC</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ployment pipelines is now generally available</a:t>
                </a:r>
              </a:p>
              <a:p>
                <a:pPr defTabSz="950661">
                  <a:spcBef>
                    <a:spcPts val="612"/>
                  </a:spcBef>
                  <a:spcAft>
                    <a:spcPts val="102"/>
                  </a:spcAft>
                  <a:defRPr/>
                </a:pPr>
                <a:r>
                  <a:rPr lang="en-US" sz="714" b="1" cap="all">
                    <a:solidFill>
                      <a:schemeClr val="tx1"/>
                    </a:solidFill>
                    <a:latin typeface="Segoe UI"/>
                  </a:rPr>
                  <a:t>MODEL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Dataset Metada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formance improvements to aggregation expressions involving columns of currency data type</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DS connector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Databric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exagon PPM Smart AP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ther data connectivity updat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lage by </a:t>
                </a:r>
                <a:r>
                  <a:rPr lang="en-US" sz="714" err="1">
                    <a:solidFill>
                      <a:schemeClr val="tx1"/>
                    </a:solidFill>
                    <a:latin typeface="Segoe UI" panose="020B0502040204020203" pitchFamily="34" charset="0"/>
                    <a:cs typeface="Segoe UI" panose="020B0502040204020203" pitchFamily="34" charset="0"/>
                  </a:rPr>
                  <a:t>CloudScope</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vanced Trellis / Small Multiples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aterfall Chart by </a:t>
                </a:r>
                <a:r>
                  <a:rPr lang="en-US" sz="714" err="1">
                    <a:solidFill>
                      <a:schemeClr val="tx1"/>
                    </a:solidFill>
                    <a:latin typeface="Segoe UI" panose="020B0502040204020203" pitchFamily="34" charset="0"/>
                    <a:cs typeface="Segoe UI" panose="020B0502040204020203" pitchFamily="34" charset="0"/>
                  </a:rPr>
                  <a:t>xViz</a:t>
                </a:r>
                <a:endParaRPr lang="en-US"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ultichannel Attribution Dashboard</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Workplace Analytics Dashboard</a:t>
                </a:r>
              </a:p>
              <a:p>
                <a:pPr defTabSz="950661">
                  <a:spcBef>
                    <a:spcPts val="612"/>
                  </a:spcBef>
                  <a:spcAft>
                    <a:spcPts val="102"/>
                  </a:spcAft>
                  <a:defRPr/>
                </a:pPr>
                <a:endParaRPr lang="en-US" sz="714" b="1" cap="all">
                  <a:solidFill>
                    <a:schemeClr val="tx1"/>
                  </a:solidFill>
                  <a:latin typeface="Segoe UI"/>
                </a:endParaRPr>
              </a:p>
            </p:txBody>
          </p:sp>
          <p:sp>
            <p:nvSpPr>
              <p:cNvPr id="65" name="Rectangle 64">
                <a:extLst>
                  <a:ext uri="{FF2B5EF4-FFF2-40B4-BE49-F238E27FC236}">
                    <a16:creationId xmlns:a16="http://schemas.microsoft.com/office/drawing/2014/main" id="{3DD077FA-4D2F-594C-B442-61611401559F}"/>
                  </a:ext>
                </a:extLst>
              </p:cNvPr>
              <p:cNvSpPr/>
              <p:nvPr/>
            </p:nvSpPr>
            <p:spPr bwMode="auto">
              <a:xfrm>
                <a:off x="-13276934" y="1245929"/>
                <a:ext cx="2296884" cy="521514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anvas watermark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ersonalize visual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for Treemap</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Export data from Q&amp;A visual</a:t>
                </a:r>
              </a:p>
              <a:p>
                <a:pPr defTabSz="950661">
                  <a:spcBef>
                    <a:spcPts val="612"/>
                  </a:spcBef>
                  <a:spcAft>
                    <a:spcPts val="102"/>
                  </a:spcAft>
                  <a:defRPr/>
                </a:pPr>
                <a:r>
                  <a:rPr lang="en-US" sz="714" b="1" cap="all">
                    <a:solidFill>
                      <a:schemeClr val="tx1"/>
                    </a:solidFill>
                    <a:latin typeface="Segoe UI"/>
                  </a:rPr>
                  <a:t>MODELING</a:t>
                </a:r>
              </a:p>
              <a:p>
                <a:pPr defTabSz="950661">
                  <a:spcBef>
                    <a:spcPts val="612"/>
                  </a:spcBef>
                  <a:spcAft>
                    <a:spcPts val="102"/>
                  </a:spcAft>
                  <a:defRPr/>
                </a:pPr>
                <a:r>
                  <a:rPr lang="en-US" sz="714" b="1" cap="all">
                    <a:solidFill>
                      <a:schemeClr val="tx1"/>
                    </a:solidFill>
                    <a:latin typeface="Segoe UI"/>
                  </a:rPr>
                  <a:t>Performance improvements to IF and SWITCH functions</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M Query Parameter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Table Detection from Excel and JSON file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roader geographical support for Power Platform Dataflows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ariaDB now supports DirectQuer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d SharePoint Online List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Spigit, eWay-CRM)</a:t>
                </a:r>
              </a:p>
              <a:p>
                <a:pPr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Updates to the ‘new look’ experience and release plan</a:t>
                </a:r>
              </a:p>
              <a:p>
                <a:pPr defTabSz="950661">
                  <a:spcBef>
                    <a:spcPts val="612"/>
                  </a:spcBef>
                  <a:spcAft>
                    <a:spcPts val="102"/>
                  </a:spcAft>
                  <a:defRPr/>
                </a:pPr>
                <a:r>
                  <a:rPr lang="en-US" sz="714" b="1" cap="all">
                    <a:solidFill>
                      <a:schemeClr val="tx1"/>
                    </a:solidFill>
                    <a:latin typeface="Segoe UI"/>
                  </a:rPr>
                  <a:t>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for HoloLens 2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is now supported on the Windows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pport for notch display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tended admin capability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and Tables (version 4.3)</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oadMap by ADWISE (version v1.5.0)</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oomCharts (version 1.6)</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Bullet Chart by xViz</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implified install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ind template apps from the Power BI Desktop</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xport data source to PBIDS in Power BI Deskto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con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sktop splash screen dismiss</a:t>
                </a:r>
              </a:p>
            </p:txBody>
          </p:sp>
          <p:sp>
            <p:nvSpPr>
              <p:cNvPr id="53" name="Rectangle 52">
                <a:extLst>
                  <a:ext uri="{FF2B5EF4-FFF2-40B4-BE49-F238E27FC236}">
                    <a16:creationId xmlns:a16="http://schemas.microsoft.com/office/drawing/2014/main" id="{BD79901D-056C-D244-A729-655F50DFC47C}"/>
                  </a:ext>
                </a:extLst>
              </p:cNvPr>
              <p:cNvSpPr/>
              <p:nvPr/>
            </p:nvSpPr>
            <p:spPr bwMode="auto">
              <a:xfrm>
                <a:off x="-10871657" y="1245929"/>
                <a:ext cx="2296884" cy="360406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Model View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ly all filters is now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Visual Zoom Slid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oint rectangle select extended to Map visu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cate revocation check for web connec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aginated Reports Updat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rediting total labels for stacked visuals (Sept 2020)</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Anomaly Detection (Preview)</a:t>
                </a:r>
              </a:p>
              <a:p>
                <a:pPr marL="108469" lvl="1" indent="-108469" defTabSz="950661">
                  <a:buFont typeface="Arial" panose="020B0604020202020204" pitchFamily="34" charset="0"/>
                  <a:buChar char="•"/>
                  <a:defRPr/>
                </a:pPr>
                <a:r>
                  <a:rPr lang="pt-BR" sz="714">
                    <a:solidFill>
                      <a:schemeClr val="tx1"/>
                    </a:solidFill>
                    <a:latin typeface="Segoe UI" panose="020B0502040204020203" pitchFamily="34" charset="0"/>
                    <a:cs typeface="Segoe UI" panose="020B0502040204020203" pitchFamily="34" charset="0"/>
                  </a:rPr>
                  <a:t>Q&amp;A now supports partial matching data value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4.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Visual by </a:t>
                </a:r>
                <a:r>
                  <a:rPr lang="en-US" sz="714" err="1">
                    <a:solidFill>
                      <a:schemeClr val="tx1"/>
                    </a:solidFill>
                    <a:latin typeface="Segoe UI" panose="020B0502040204020203" pitchFamily="34" charset="0"/>
                    <a:cs typeface="Segoe UI" panose="020B0502040204020203" pitchFamily="34" charset="0"/>
                  </a:rPr>
                  <a:t>ZoomCharts</a:t>
                </a:r>
                <a:r>
                  <a:rPr lang="en-US" sz="714">
                    <a:solidFill>
                      <a:schemeClr val="tx1"/>
                    </a:solidFill>
                    <a:latin typeface="Segoe UI" panose="020B0502040204020203" pitchFamily="34" charset="0"/>
                    <a:cs typeface="Segoe UI" panose="020B0502040204020203" pitchFamily="34" charset="0"/>
                  </a:rPr>
                  <a:t>: Drill Down Map PRO</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xViz</a:t>
                </a:r>
                <a:r>
                  <a:rPr lang="en-US" sz="714">
                    <a:solidFill>
                      <a:schemeClr val="tx1"/>
                    </a:solidFill>
                    <a:latin typeface="Segoe UI" panose="020B0502040204020203" pitchFamily="34" charset="0"/>
                    <a:cs typeface="Segoe UI" panose="020B0502040204020203" pitchFamily="34" charset="0"/>
                  </a:rPr>
                  <a:t> Scatter/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Hive LLAP connector generally availab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connectors: </a:t>
                </a:r>
                <a:r>
                  <a:rPr lang="en-US" sz="714" err="1">
                    <a:solidFill>
                      <a:schemeClr val="tx1"/>
                    </a:solidFill>
                    <a:latin typeface="Segoe UI" panose="020B0502040204020203" pitchFamily="34" charset="0"/>
                    <a:cs typeface="Segoe UI" panose="020B0502040204020203" pitchFamily="34" charset="0"/>
                  </a:rPr>
                  <a:t>Actian</a:t>
                </a:r>
                <a:r>
                  <a:rPr lang="en-US" sz="714">
                    <a:solidFill>
                      <a:schemeClr val="tx1"/>
                    </a:solidFill>
                    <a:latin typeface="Segoe UI" panose="020B0502040204020203" pitchFamily="34" charset="0"/>
                    <a:cs typeface="Segoe UI" panose="020B0502040204020203" pitchFamily="34" charset="0"/>
                  </a:rPr>
                  <a:t>, Anaplan, Starburst Presto</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Automation and API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etch more data API 3.4</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nhanced testing of your developed custom visual</a:t>
                </a:r>
              </a:p>
              <a:p>
                <a:pPr defTabSz="950661">
                  <a:spcBef>
                    <a:spcPts val="612"/>
                  </a:spcBef>
                  <a:spcAft>
                    <a:spcPts val="102"/>
                  </a:spcAft>
                  <a:defRPr/>
                </a:pPr>
                <a:r>
                  <a:rPr lang="en-US" sz="714" b="1" cap="all">
                    <a:solidFill>
                      <a:schemeClr val="tx1"/>
                    </a:solidFill>
                    <a:latin typeface="Segoe UI"/>
                  </a:rPr>
                  <a:t>SERVICE AND MOBIL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ertified and Promoted reports and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he ‘new look’ of the Power BI service is live</a:t>
                </a:r>
              </a:p>
            </p:txBody>
          </p:sp>
          <p:sp>
            <p:nvSpPr>
              <p:cNvPr id="69" name="Rectangle 68">
                <a:extLst>
                  <a:ext uri="{FF2B5EF4-FFF2-40B4-BE49-F238E27FC236}">
                    <a16:creationId xmlns:a16="http://schemas.microsoft.com/office/drawing/2014/main" id="{3BD7A313-A35A-6E4E-A60B-A5F067D3D38B}"/>
                  </a:ext>
                </a:extLst>
              </p:cNvPr>
              <p:cNvSpPr/>
              <p:nvPr/>
            </p:nvSpPr>
            <p:spPr bwMode="auto">
              <a:xfrm>
                <a:off x="-6138209" y="1245929"/>
                <a:ext cx="2296884" cy="4932629"/>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DirectQuery</a:t>
                </a:r>
                <a:r>
                  <a:rPr lang="en-US" sz="714">
                    <a:solidFill>
                      <a:schemeClr val="tx1"/>
                    </a:solidFill>
                    <a:latin typeface="Segoe UI" panose="020B0502040204020203" pitchFamily="34" charset="0"/>
                    <a:cs typeface="Segoe UI" panose="020B0502040204020203" pitchFamily="34" charset="0"/>
                  </a:rPr>
                  <a:t> for PBI datasets and Azure Analysis Services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arch Ba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del View Updat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eld List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 gridlines and background color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lor pick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guides for aligning objects are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filter operations: “is empty” and “is not emp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ore granular control over certificate revocation check for web connections</a:t>
                </a:r>
              </a:p>
              <a:p>
                <a:pPr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Anomaly</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etection</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now</a:t>
                </a:r>
                <a:r>
                  <a:rPr lang="pt-BR" sz="714">
                    <a:solidFill>
                      <a:schemeClr val="tx1"/>
                    </a:solidFill>
                    <a:latin typeface="Segoe UI" panose="020B0502040204020203" pitchFamily="34" charset="0"/>
                    <a:cs typeface="Segoe UI" panose="020B0502040204020203" pitchFamily="34" charset="0"/>
                  </a:rPr>
                  <a:t> in </a:t>
                </a:r>
                <a:r>
                  <a:rPr lang="pt-BR" sz="714" err="1">
                    <a:solidFill>
                      <a:schemeClr val="tx1"/>
                    </a:solidFill>
                    <a:latin typeface="Segoe UI" panose="020B0502040204020203" pitchFamily="34" charset="0"/>
                    <a:cs typeface="Segoe UI" panose="020B0502040204020203" pitchFamily="34" charset="0"/>
                  </a:rPr>
                  <a:t>ribbon</a:t>
                </a:r>
                <a:endParaRPr lang="pt-BR"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pt-BR" sz="714" err="1">
                    <a:solidFill>
                      <a:schemeClr val="tx1"/>
                    </a:solidFill>
                    <a:latin typeface="Segoe UI" panose="020B0502040204020203" pitchFamily="34" charset="0"/>
                    <a:cs typeface="Segoe UI" panose="020B0502040204020203" pitchFamily="34" charset="0"/>
                  </a:rPr>
                  <a:t>Enhanced</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dataset</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metadata</a:t>
                </a:r>
                <a:r>
                  <a:rPr lang="pt-BR" sz="714">
                    <a:solidFill>
                      <a:schemeClr val="tx1"/>
                    </a:solidFill>
                    <a:latin typeface="Segoe UI" panose="020B0502040204020203" pitchFamily="34" charset="0"/>
                    <a:cs typeface="Segoe UI" panose="020B0502040204020203" pitchFamily="34" charset="0"/>
                  </a:rPr>
                  <a:t> </a:t>
                </a:r>
                <a:r>
                  <a:rPr lang="pt-BR" sz="714" err="1">
                    <a:solidFill>
                      <a:schemeClr val="tx1"/>
                    </a:solidFill>
                    <a:latin typeface="Segoe UI" panose="020B0502040204020203" pitchFamily="34" charset="0"/>
                    <a:cs typeface="Segoe UI" panose="020B0502040204020203" pitchFamily="34" charset="0"/>
                  </a:rPr>
                  <a:t>format</a:t>
                </a:r>
                <a:endParaRPr lang="pt-BR" sz="714">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Graphomate</a:t>
                </a:r>
                <a:r>
                  <a:rPr lang="en-US" sz="714">
                    <a:solidFill>
                      <a:schemeClr val="tx1"/>
                    </a:solidFill>
                    <a:latin typeface="Segoe UI" panose="020B0502040204020203" pitchFamily="34" charset="0"/>
                    <a:cs typeface="Segoe UI" panose="020B0502040204020203" pitchFamily="34" charset="0"/>
                  </a:rPr>
                  <a:t> matrix</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TaskCard</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RT KPI Lis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Column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Lipstick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ntrol Chart </a:t>
                </a:r>
                <a:r>
                  <a:rPr lang="en-US" sz="714" err="1">
                    <a:solidFill>
                      <a:schemeClr val="tx1"/>
                    </a:solidFill>
                    <a:latin typeface="Segoe UI" panose="020B0502040204020203" pitchFamily="34" charset="0"/>
                    <a:cs typeface="Segoe UI" panose="020B0502040204020203" pitchFamily="34" charset="0"/>
                  </a:rPr>
                  <a:t>Xm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ParaHTMLViewer</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erged Bar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Image and Bubbl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nimated Bar Race Char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xt Highlight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hielded HTML Viewer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Tables (version 4.5)</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Zebra BI Charts (version 4.5)</a:t>
                </a:r>
              </a:p>
              <a:p>
                <a:pPr marL="108469" lvl="1" indent="-108469" defTabSz="950661">
                  <a:buFont typeface="Arial" panose="020B0604020202020204" pitchFamily="34" charset="0"/>
                  <a:buChar char="•"/>
                  <a:defRPr/>
                </a:pPr>
                <a:r>
                  <a:rPr lang="en-US" sz="714" err="1">
                    <a:solidFill>
                      <a:schemeClr val="tx1"/>
                    </a:solidFill>
                    <a:latin typeface="Segoe UI" panose="020B0502040204020203" pitchFamily="34" charset="0"/>
                    <a:cs typeface="Segoe UI" panose="020B0502040204020203" pitchFamily="34" charset="0"/>
                  </a:rPr>
                  <a:t>ValQ</a:t>
                </a:r>
                <a:r>
                  <a:rPr lang="en-US" sz="714">
                    <a:solidFill>
                      <a:schemeClr val="tx1"/>
                    </a:solidFill>
                    <a:latin typeface="Segoe UI" panose="020B0502040204020203" pitchFamily="34" charset="0"/>
                    <a:cs typeface="Segoe UI" panose="020B0502040204020203" pitchFamily="34" charset="0"/>
                  </a:rPr>
                  <a:t> 2.0 Released with Connected and Collaborative Planning Feature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rill Down Combo PRO by </a:t>
                </a:r>
                <a:r>
                  <a:rPr lang="en-US" sz="714" err="1">
                    <a:solidFill>
                      <a:schemeClr val="tx1"/>
                    </a:solidFill>
                    <a:latin typeface="Segoe UI" panose="020B0502040204020203" pitchFamily="34" charset="0"/>
                    <a:cs typeface="Segoe UI" panose="020B0502040204020203" pitchFamily="34" charset="0"/>
                  </a:rPr>
                  <a:t>ZoomCharts</a:t>
                </a:r>
                <a:endParaRPr lang="en-US"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partners: Installing a preconfigured template app</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ales Analytics AI for Microsoft Business Centra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evelopers</a:t>
                </a:r>
              </a:p>
            </p:txBody>
          </p:sp>
          <p:sp>
            <p:nvSpPr>
              <p:cNvPr id="67" name="Rectangle 66">
                <a:extLst>
                  <a:ext uri="{FF2B5EF4-FFF2-40B4-BE49-F238E27FC236}">
                    <a16:creationId xmlns:a16="http://schemas.microsoft.com/office/drawing/2014/main" id="{41325DD3-76A9-8443-A042-09F2606195FE}"/>
                  </a:ext>
                </a:extLst>
              </p:cNvPr>
              <p:cNvSpPr/>
              <p:nvPr/>
            </p:nvSpPr>
            <p:spPr bwMode="auto">
              <a:xfrm>
                <a:off x="-8505412" y="1245929"/>
                <a:ext cx="2296884" cy="4789000"/>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irectQuery for Power BI datasets and Azure Analysis Servic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mall multiples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ata protection sensitivity labels in Power BI Desktop (pre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creased rectangle select data point limit</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election pane is now available in the mobile layout view</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utomatic page refresh for Analysis Services and Power BI datasets</a:t>
                </a:r>
              </a:p>
              <a:p>
                <a:pPr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aptiveCards by Paradigm B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France Map Drilldown by Data Khi</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Bar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Dumbbell Column Char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 BV</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dd Intelligent Narratives for BI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Overlapping Bar Chart by Acorn Hill</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trip Plot by Nova Silva</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Intelligent Narratives by Arria NL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Test Your Analytics Matur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pps on AppSourc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Gold suite</a:t>
                </a:r>
              </a:p>
              <a:p>
                <a:pPr defTabSz="950661">
                  <a:spcBef>
                    <a:spcPts val="612"/>
                  </a:spcBef>
                  <a:spcAft>
                    <a:spcPts val="102"/>
                  </a:spcAft>
                  <a:defRPr/>
                </a:pPr>
                <a:r>
                  <a:rPr lang="en-US" sz="714" b="1" cap="all">
                    <a:solidFill>
                      <a:schemeClr val="tx1"/>
                    </a:solidFill>
                    <a:latin typeface="Segoe UI"/>
                  </a:rPr>
                  <a:t>DATA PREPARATION</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Recent changes to Power Query and Dataflows</a:t>
                </a:r>
              </a:p>
              <a:p>
                <a:pPr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Microsoft Dataverse Connecto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Azure Time Series Insights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SurveyMonkey Update</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Cognite Update</a:t>
                </a:r>
              </a:p>
              <a:p>
                <a:pPr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Admin APIs and Service Principal authentication to make for better tenant metadata scann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Power BI Visuals Platform adds support for conditional formatting</a:t>
                </a:r>
              </a:p>
              <a:p>
                <a:pPr marL="108469" lvl="1" indent="-108469" defTabSz="950661">
                  <a:buFont typeface="Arial" panose="020B0604020202020204" pitchFamily="34" charset="0"/>
                  <a:buChar char="•"/>
                  <a:defRPr/>
                </a:pPr>
                <a:r>
                  <a:rPr lang="en-US" sz="714">
                    <a:solidFill>
                      <a:schemeClr val="tx1"/>
                    </a:solidFill>
                    <a:latin typeface="Segoe UI" panose="020B0502040204020203" pitchFamily="34" charset="0"/>
                    <a:cs typeface="Segoe UI" panose="020B0502040204020203" pitchFamily="34" charset="0"/>
                  </a:rPr>
                  <a:t>New look for Embedded scenarios</a:t>
                </a:r>
              </a:p>
            </p:txBody>
          </p:sp>
          <p:sp>
            <p:nvSpPr>
              <p:cNvPr id="71" name="Rectangle 70">
                <a:extLst>
                  <a:ext uri="{FF2B5EF4-FFF2-40B4-BE49-F238E27FC236}">
                    <a16:creationId xmlns:a16="http://schemas.microsoft.com/office/drawing/2014/main" id="{2A6BB8E2-98A5-F845-8BA2-0BD079DFE902}"/>
                  </a:ext>
                </a:extLst>
              </p:cNvPr>
              <p:cNvSpPr/>
              <p:nvPr/>
            </p:nvSpPr>
            <p:spPr bwMode="auto">
              <a:xfrm>
                <a:off x="-3775468" y="1245929"/>
                <a:ext cx="2296884" cy="503528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US" sz="714" b="1" cap="all">
                    <a:solidFill>
                      <a:schemeClr val="tx1"/>
                    </a:solidFill>
                    <a:latin typeface="Segoe UI"/>
                  </a:rPr>
                  <a:t>REPORTING</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dvanced Data Selection in Azure Maps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lor Picker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new Field List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ord-wrap in Small Multiples tit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Updates to background settings on Small Multiples (preview)</a:t>
                </a:r>
              </a:p>
              <a:p>
                <a:pPr marL="0" lvl="1" defTabSz="950661">
                  <a:spcBef>
                    <a:spcPts val="612"/>
                  </a:spcBef>
                  <a:spcAft>
                    <a:spcPts val="102"/>
                  </a:spcAft>
                  <a:defRPr/>
                </a:pPr>
                <a:r>
                  <a:rPr lang="en-US" sz="714" b="1" cap="all">
                    <a:solidFill>
                      <a:schemeClr val="tx1"/>
                    </a:solidFill>
                    <a:latin typeface="Segoe UI"/>
                  </a:rPr>
                  <a:t>ANALYTICS</a:t>
                </a:r>
              </a:p>
              <a:p>
                <a:pPr marL="108469" lvl="1" indent="-108469" defTabSz="950661">
                  <a:buFont typeface="Arial" panose="020B0604020202020204" pitchFamily="34" charset="0"/>
                  <a:buChar char="•"/>
                  <a:defRPr/>
                </a:pPr>
                <a:r>
                  <a:rPr lang="pt-BR" sz="612" err="1">
                    <a:solidFill>
                      <a:schemeClr val="tx1"/>
                    </a:solidFill>
                    <a:latin typeface="Segoe UI" panose="020B0502040204020203" pitchFamily="34" charset="0"/>
                    <a:cs typeface="Segoe UI" panose="020B0502040204020203" pitchFamily="34" charset="0"/>
                  </a:rPr>
                  <a:t>X</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axis</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onstant</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for </a:t>
                </a:r>
                <a:r>
                  <a:rPr lang="pt-BR" sz="612" err="1">
                    <a:solidFill>
                      <a:schemeClr val="tx1"/>
                    </a:solidFill>
                    <a:latin typeface="Segoe UI" panose="020B0502040204020203" pitchFamily="34" charset="0"/>
                    <a:cs typeface="Segoe UI" panose="020B0502040204020203" pitchFamily="34" charset="0"/>
                  </a:rPr>
                  <a:t>line</a:t>
                </a:r>
                <a:r>
                  <a:rPr lang="pt-BR" sz="612">
                    <a:solidFill>
                      <a:schemeClr val="tx1"/>
                    </a:solidFill>
                    <a:latin typeface="Segoe UI" panose="020B0502040204020203" pitchFamily="34" charset="0"/>
                    <a:cs typeface="Segoe UI" panose="020B0502040204020203" pitchFamily="34" charset="0"/>
                  </a:rPr>
                  <a:t> </a:t>
                </a:r>
                <a:r>
                  <a:rPr lang="pt-BR" sz="612" err="1">
                    <a:solidFill>
                      <a:schemeClr val="tx1"/>
                    </a:solidFill>
                    <a:latin typeface="Segoe UI" panose="020B0502040204020203" pitchFamily="34" charset="0"/>
                    <a:cs typeface="Segoe UI" panose="020B0502040204020203" pitchFamily="34" charset="0"/>
                  </a:rPr>
                  <a:t>charts</a:t>
                </a:r>
                <a:endParaRPr lang="pt-BR"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US" sz="714" b="1" cap="all">
                    <a:solidFill>
                      <a:schemeClr val="tx1"/>
                    </a:solidFill>
                    <a:latin typeface="Segoe UI"/>
                  </a:rPr>
                  <a:t>MODEL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odel View UI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F.EAG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ALCULATE filters are easier to use</a:t>
                </a:r>
              </a:p>
              <a:p>
                <a:pPr marL="0" lvl="1" defTabSz="950661">
                  <a:spcBef>
                    <a:spcPts val="612"/>
                  </a:spcBef>
                  <a:spcAft>
                    <a:spcPts val="102"/>
                  </a:spcAft>
                  <a:defRPr/>
                </a:pPr>
                <a:r>
                  <a:rPr lang="en-US" sz="714" b="1" cap="all">
                    <a:solidFill>
                      <a:schemeClr val="tx1"/>
                    </a:solidFill>
                    <a:latin typeface="Segoe UI"/>
                  </a:rPr>
                  <a:t>DATA CONNECTIVITY</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Kerberos-based SSO for Denod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ed Connectors</a:t>
                </a:r>
              </a:p>
              <a:p>
                <a:pPr marL="0" lvl="1" defTabSz="950661">
                  <a:spcBef>
                    <a:spcPts val="612"/>
                  </a:spcBef>
                  <a:spcAft>
                    <a:spcPts val="102"/>
                  </a:spcAft>
                  <a:defRPr/>
                </a:pPr>
                <a:r>
                  <a:rPr lang="en-US"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eatured content on Home Updat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View dataset details from workspace list 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ilter apps gallery to view only endorsed apps</a:t>
                </a:r>
              </a:p>
              <a:p>
                <a:pPr marL="0" lvl="1" defTabSz="950661">
                  <a:spcBef>
                    <a:spcPts val="612"/>
                  </a:spcBef>
                  <a:spcAft>
                    <a:spcPts val="102"/>
                  </a:spcAft>
                  <a:defRPr/>
                </a:pPr>
                <a:r>
                  <a:rPr lang="en-US"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RT KPI List by Nova Silva</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parison Char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mbo Bar PRO Visual</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ditor’s picks</a:t>
                </a:r>
              </a:p>
              <a:p>
                <a:pPr marL="0" lvl="1" defTabSz="950661">
                  <a:spcBef>
                    <a:spcPts val="612"/>
                  </a:spcBef>
                  <a:spcAft>
                    <a:spcPts val="102"/>
                  </a:spcAft>
                  <a:defRPr/>
                </a:pPr>
                <a:r>
                  <a:rPr lang="en-US"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ownload PBIX files for installed 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Popular Stocks with Power BI</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acebook Ads Overview Report – by </a:t>
                </a:r>
                <a:r>
                  <a:rPr lang="en-US" sz="612" err="1">
                    <a:solidFill>
                      <a:schemeClr val="tx1"/>
                    </a:solidFill>
                    <a:latin typeface="Segoe UI" panose="020B0502040204020203" pitchFamily="34" charset="0"/>
                    <a:cs typeface="Segoe UI" panose="020B0502040204020203" pitchFamily="34" charset="0"/>
                  </a:rPr>
                  <a:t>Windsor.ai</a:t>
                </a:r>
                <a:endParaRPr lang="en-US" sz="612">
                  <a:solidFill>
                    <a:schemeClr val="tx1"/>
                  </a:solidFill>
                  <a:latin typeface="Segoe UI" panose="020B0502040204020203" pitchFamily="34" charset="0"/>
                  <a:cs typeface="Segoe UI" panose="020B0502040204020203" pitchFamily="34" charset="0"/>
                </a:endParaRPr>
              </a:p>
              <a:p>
                <a:pPr marL="0" lvl="1" defTabSz="950661">
                  <a:spcBef>
                    <a:spcPts val="612"/>
                  </a:spcBef>
                  <a:spcAft>
                    <a:spcPts val="102"/>
                  </a:spcAft>
                  <a:defRPr/>
                </a:pPr>
                <a:r>
                  <a:rPr lang="en-US" sz="714" b="1" cap="all">
                    <a:solidFill>
                      <a:schemeClr val="tx1"/>
                    </a:solidFill>
                    <a:latin typeface="Segoe UI"/>
                  </a:rPr>
                  <a:t>EMBEDDE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new Power BI embedded analytics playground</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Generation 2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embedded analytics new Contoso demo</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Client API documentation</a:t>
                </a:r>
              </a:p>
              <a:p>
                <a:pPr marL="0" lvl="1" defTabSz="950661">
                  <a:spcBef>
                    <a:spcPts val="612"/>
                  </a:spcBef>
                  <a:spcAft>
                    <a:spcPts val="102"/>
                  </a:spcAft>
                  <a:defRPr/>
                </a:pPr>
                <a:r>
                  <a:rPr lang="en-US"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Windows 7 Deprec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ertificate revocation check controls now available in Desktop interfa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ternal Tools integration in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instructor led training – Advanced Data Modeling and data shap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sktop change log</a:t>
                </a:r>
              </a:p>
            </p:txBody>
          </p:sp>
          <p:sp>
            <p:nvSpPr>
              <p:cNvPr id="73" name="Rectangle 72">
                <a:extLst>
                  <a:ext uri="{FF2B5EF4-FFF2-40B4-BE49-F238E27FC236}">
                    <a16:creationId xmlns:a16="http://schemas.microsoft.com/office/drawing/2014/main" id="{DA375E91-93D5-2541-814B-DC8A790688C2}"/>
                  </a:ext>
                </a:extLst>
              </p:cNvPr>
              <p:cNvSpPr/>
              <p:nvPr/>
            </p:nvSpPr>
            <p:spPr bwMode="auto">
              <a:xfrm>
                <a:off x="-1417794" y="1245929"/>
                <a:ext cx="2296884" cy="4761645"/>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ower Automate for Power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mall multiples: padding controls and combo chart support</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and improved shap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nvert axis and continuous axis sorting</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714" err="1">
                    <a:solidFill>
                      <a:schemeClr val="tx1"/>
                    </a:solidFill>
                    <a:latin typeface="Segoe UI" panose="020B0502040204020203" pitchFamily="34" charset="0"/>
                    <a:cs typeface="Segoe UI" panose="020B0502040204020203" pitchFamily="34" charset="0"/>
                  </a:rPr>
                  <a:t>DirectQuery</a:t>
                </a:r>
                <a:r>
                  <a:rPr lang="en-CA" sz="714">
                    <a:solidFill>
                      <a:schemeClr val="tx1"/>
                    </a:solidFill>
                    <a:latin typeface="Segoe UI" panose="020B0502040204020203" pitchFamily="34" charset="0"/>
                    <a:cs typeface="Segoe UI" panose="020B0502040204020203" pitchFamily="34" charset="0"/>
                  </a:rPr>
                  <a:t> for Power BI datasets and Azure Analysis Servic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CROSSFILTER supports many-to-many relationship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Performance improvements to IF and SWITCH function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Bloomberg Data and Analytic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onnector: </a:t>
                </a:r>
                <a:r>
                  <a:rPr lang="en-CA" sz="714" err="1">
                    <a:solidFill>
                      <a:schemeClr val="tx1"/>
                    </a:solidFill>
                    <a:latin typeface="Segoe UI" panose="020B0502040204020203" pitchFamily="34" charset="0"/>
                    <a:cs typeface="Segoe UI" panose="020B0502040204020203" pitchFamily="34" charset="0"/>
                  </a:rPr>
                  <a:t>SoftOne</a:t>
                </a:r>
                <a:r>
                  <a:rPr lang="en-CA" sz="714">
                    <a:solidFill>
                      <a:schemeClr val="tx1"/>
                    </a:solidFill>
                    <a:latin typeface="Segoe UI" panose="020B0502040204020203" pitchFamily="34" charset="0"/>
                    <a:cs typeface="Segoe UI" panose="020B0502040204020203" pitchFamily="34" charset="0"/>
                  </a:rPr>
                  <a:t> BI</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Text/CSV By Example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Excel files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utomatic Table Detection from JSON files now generally available</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asy report sharing via link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Improving the Create on top of published dataset experien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capabilities in Deployment Pipeline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nhancements to Sensitivity Labe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nsitivity labels in Power BI embedded now generally availabl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ecuring the full data journey from Azure to Office</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dmin API to Set and Remove labels in Power BI</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icrosoft </a:t>
                </a:r>
                <a:r>
                  <a:rPr lang="en-CA" sz="714" err="1">
                    <a:solidFill>
                      <a:schemeClr val="tx1"/>
                    </a:solidFill>
                    <a:latin typeface="Segoe UI" panose="020B0502040204020203" pitchFamily="34" charset="0"/>
                    <a:cs typeface="Segoe UI" panose="020B0502040204020203" pitchFamily="34" charset="0"/>
                  </a:rPr>
                  <a:t>Charticulator</a:t>
                </a:r>
                <a:r>
                  <a:rPr lang="en-CA" sz="714">
                    <a:solidFill>
                      <a:schemeClr val="tx1"/>
                    </a:solidFill>
                    <a:latin typeface="Segoe UI" panose="020B0502040204020203" pitchFamily="34" charset="0"/>
                    <a:cs typeface="Segoe UI" panose="020B0502040204020203" pitchFamily="34" charset="0"/>
                  </a:rPr>
                  <a:t> visual</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Financial Reporting Matrix by </a:t>
                </a:r>
                <a:r>
                  <a:rPr lang="en-CA" sz="714" err="1">
                    <a:solidFill>
                      <a:schemeClr val="tx1"/>
                    </a:solidFill>
                    <a:latin typeface="Segoe UI" panose="020B0502040204020203" pitchFamily="34" charset="0"/>
                    <a:cs typeface="Segoe UI" panose="020B0502040204020203" pitchFamily="34" charset="0"/>
                  </a:rPr>
                  <a:t>Profitbase</a:t>
                </a:r>
                <a:endParaRPr lang="en-CA" sz="714">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Merged Bar Chart by Nova Silva</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API v3.6.0 is now available</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714">
                    <a:solidFill>
                      <a:schemeClr val="tx1"/>
                    </a:solidFill>
                    <a:latin typeface="Segoe UI" panose="020B0502040204020203" pitchFamily="34" charset="0"/>
                    <a:cs typeface="Segoe UI" panose="020B0502040204020203" pitchFamily="34" charset="0"/>
                  </a:rPr>
                  <a:t>Simplifying collection of diagnostic information</a:t>
                </a:r>
              </a:p>
            </p:txBody>
          </p:sp>
          <p:sp>
            <p:nvSpPr>
              <p:cNvPr id="75" name="Rectangle 74">
                <a:extLst>
                  <a:ext uri="{FF2B5EF4-FFF2-40B4-BE49-F238E27FC236}">
                    <a16:creationId xmlns:a16="http://schemas.microsoft.com/office/drawing/2014/main" id="{4B55DA2E-0D3F-EA48-88F4-945FC89FA890}"/>
                  </a:ext>
                </a:extLst>
              </p:cNvPr>
              <p:cNvSpPr/>
              <p:nvPr/>
            </p:nvSpPr>
            <p:spPr bwMode="auto">
              <a:xfrm>
                <a:off x="948451" y="1245929"/>
                <a:ext cx="2476800" cy="5611726"/>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rn visual tooltip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ll multiples: now on by default and updated roadmap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field lis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upport for removing the sensitivity label in Desktop</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mart Narratives and Anomaly detection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amp;A now supports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for Power BI datasets and Azure Analysis Servic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odel View Updates</a:t>
                </a: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EQuI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utomation Anywhe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mazon Redshift</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rtic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Deprecation: Microsoft Graph Security</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ly create reports from SharePoint lis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ports, apps and dataflows endorsement Generally availab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Quick Edit Paginated Reports from the 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ingle sign-on enabled for new on-premises data sources for paginated repor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ownstream inheritance for sensitivity label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Work side by side with other apps on your iPad or Android tablet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WISE roadmap v2.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Bubble chart by Akvel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ycle Plot by Nova Silv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Donut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Map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Pie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charts 2021.2</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matrix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Editor’s picks</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flows Snapshot Analysis</a:t>
                </a: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alog boxes support for Power BI custom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isplaying a warning icon for a custom visual</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e and Collaborate in Excel for the web connected to Power BI</a:t>
                </a:r>
              </a:p>
            </p:txBody>
          </p:sp>
        </p:grpSp>
        <p:sp>
          <p:nvSpPr>
            <p:cNvPr id="7" name="Rectangle 6">
              <a:extLst>
                <a:ext uri="{FF2B5EF4-FFF2-40B4-BE49-F238E27FC236}">
                  <a16:creationId xmlns:a16="http://schemas.microsoft.com/office/drawing/2014/main" id="{158141D4-B11E-40FA-B8CF-73477DF7FB1B}"/>
                </a:ext>
              </a:extLst>
            </p:cNvPr>
            <p:cNvSpPr/>
            <p:nvPr/>
          </p:nvSpPr>
          <p:spPr bwMode="auto">
            <a:xfrm>
              <a:off x="3514758" y="1250618"/>
              <a:ext cx="2476800" cy="5766191"/>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ginated reports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rea chart transparency slid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ner padding for continuous ax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responsiveness and conditional formatting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Q&amp;A improvement for inferred resul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Format strings now persisted when using </a:t>
              </a: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Power BI datasets and Azure Analysis Services Preview</a:t>
              </a:r>
            </a:p>
            <a:p>
              <a:pPr defTabSz="950661">
                <a:spcBef>
                  <a:spcPts val="612"/>
                </a:spcBef>
                <a:spcAft>
                  <a:spcPts val="102"/>
                </a:spcAft>
                <a:defRPr/>
              </a:pPr>
              <a:r>
                <a:rPr lang="en-CA" sz="714" b="1" cap="all">
                  <a:solidFill>
                    <a:schemeClr val="tx1"/>
                  </a:solidFill>
                  <a:latin typeface="Segoe UI"/>
                </a:rPr>
                <a:t>Data PREPARATI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support for Dataflow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lect all operation is now supported for Dynamic M Query Parameter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ssemble View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BQE Cor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SumTot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dob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naplan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Cognite</a:t>
              </a:r>
              <a:r>
                <a:rPr lang="en-CA" sz="612">
                  <a:solidFill>
                    <a:schemeClr val="tx1"/>
                  </a:solidFill>
                  <a:latin typeface="Segoe UI" panose="020B0502040204020203" pitchFamily="34" charset="0"/>
                  <a:cs typeface="Segoe UI" panose="020B0502040204020203" pitchFamily="34" charset="0"/>
                </a:rPr>
                <a:t> Data Fus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ynamics 365 Business Central</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FactSet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r>
                <a:rPr lang="en-CA" sz="612">
                  <a:solidFill>
                    <a:schemeClr val="tx1"/>
                  </a:solidFill>
                  <a:latin typeface="Segoe UI" panose="020B0502040204020203" pitchFamily="34" charset="0"/>
                  <a:cs typeface="Segoe UI" panose="020B0502040204020203" pitchFamily="34" charset="0"/>
                </a:rPr>
                <a: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tarburst Enterpris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ssel Insight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Workplace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Snowflake </a:t>
              </a:r>
            </a:p>
            <a:p>
              <a:pPr defTabSz="950661">
                <a:spcBef>
                  <a:spcPts val="612"/>
                </a:spcBef>
                <a:spcAft>
                  <a:spcPts val="102"/>
                </a:spcAft>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discoverabil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Request access to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for MIP sensitivity label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 to Set and Remove MIP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utomate deployments with new APIs and PowerShell sampl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age Dataflows in deployment pipelin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Admin APIs for deployment pipeline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ong-term usage and performance insigh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 new look for the Power BI Windows app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assing URL parameters to paginated reports</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Combo Bar PRO by </a:t>
              </a:r>
              <a:r>
                <a:rPr lang="en-CA" sz="612" err="1">
                  <a:solidFill>
                    <a:schemeClr val="tx1"/>
                  </a:solidFill>
                  <a:latin typeface="Segoe UI" panose="020B0502040204020203" pitchFamily="34" charset="0"/>
                  <a:cs typeface="Segoe UI" panose="020B0502040204020203" pitchFamily="34" charset="0"/>
                </a:rPr>
                <a:t>ZoomChart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umbbell Bar Chart by Nova Silva</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graphomate</a:t>
              </a:r>
              <a:r>
                <a:rPr lang="en-CA" sz="612">
                  <a:solidFill>
                    <a:schemeClr val="tx1"/>
                  </a:solidFill>
                  <a:latin typeface="Segoe UI" panose="020B0502040204020203" pitchFamily="34" charset="0"/>
                  <a:cs typeface="Segoe UI" panose="020B0502040204020203" pitchFamily="34" charset="0"/>
                </a:rPr>
                <a:t> bubbles 2021.2</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Tables 5.0</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Zebra BI Charts 5.0</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emplate app one-click update and republis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alesforce Analytics for Sales Managers</a:t>
              </a:r>
            </a:p>
          </p:txBody>
        </p:sp>
        <p:sp>
          <p:nvSpPr>
            <p:cNvPr id="9" name="Rectangle 8">
              <a:extLst>
                <a:ext uri="{FF2B5EF4-FFF2-40B4-BE49-F238E27FC236}">
                  <a16:creationId xmlns:a16="http://schemas.microsoft.com/office/drawing/2014/main" id="{04D71F7D-08A6-4626-AF80-2AFD6EE8956A}"/>
                </a:ext>
              </a:extLst>
            </p:cNvPr>
            <p:cNvSpPr/>
            <p:nvPr/>
          </p:nvSpPr>
          <p:spPr bwMode="auto">
            <a:xfrm>
              <a:off x="6081052" y="1241239"/>
              <a:ext cx="2476800" cy="4546178"/>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mall multiples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onditional formatting for more properti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s built-in visuals now include the Power Automate visual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s in Power BI Desktop Generally availab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Republish PBIX with option to not override label in destin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Inherit sensitivity label set to Excel files when importing data into Power BI</a:t>
              </a:r>
            </a:p>
            <a:p>
              <a:pPr defTabSz="950661">
                <a:spcBef>
                  <a:spcPts val="612"/>
                </a:spcBef>
                <a:spcAft>
                  <a:spcPts val="102"/>
                </a:spcAft>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Model View Generally available</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DirectQuery</a:t>
              </a:r>
              <a:r>
                <a:rPr lang="en-US" sz="612">
                  <a:solidFill>
                    <a:schemeClr val="tx1"/>
                  </a:solidFill>
                  <a:latin typeface="Segoe UI" panose="020B0502040204020203" pitchFamily="34" charset="0"/>
                  <a:cs typeface="Segoe UI" panose="020B0502040204020203" pitchFamily="34" charset="0"/>
                </a:rPr>
                <a:t> for Azure Analysis Services &amp; Power BI datasets Updates Preview</a:t>
              </a:r>
              <a:endParaRPr lang="en-CA"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ata connectivity</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mazon Athen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MariaDB</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treaming dataflow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andatory label policy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ustom help link for sensitivity label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atasets hub improvemen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Goals support in lineage 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canner API (Admin REST APIs) enhancements to include dataset tables, columns, measures, DAX expressions, and mashup queries </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Charticulator</a:t>
              </a:r>
              <a:r>
                <a:rPr lang="en-CA" sz="612">
                  <a:solidFill>
                    <a:schemeClr val="tx1"/>
                  </a:solidFill>
                  <a:latin typeface="Segoe UI" panose="020B0502040204020203" pitchFamily="34" charset="0"/>
                  <a:cs typeface="Segoe UI" panose="020B0502040204020203" pitchFamily="34" charset="0"/>
                </a:rPr>
                <a:t> (custom visual version 1.0.5)</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Multiple Sparklines</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Acterys</a:t>
              </a:r>
              <a:r>
                <a:rPr lang="en-CA" sz="612">
                  <a:solidFill>
                    <a:schemeClr val="tx1"/>
                  </a:solidFill>
                  <a:latin typeface="Segoe UI" panose="020B0502040204020203" pitchFamily="34" charset="0"/>
                  <a:cs typeface="Segoe UI" panose="020B0502040204020203" pitchFamily="34" charset="0"/>
                </a:rPr>
                <a:t> Reporting</a:t>
              </a:r>
            </a:p>
            <a:p>
              <a:pPr marL="108469" lvl="1" indent="-108469" defTabSz="950661">
                <a:buFont typeface="Arial" panose="020B0604020202020204" pitchFamily="34" charset="0"/>
                <a:buChar char="•"/>
                <a:defRPr/>
              </a:pPr>
              <a:r>
                <a:rPr lang="en-CA" sz="612" err="1">
                  <a:solidFill>
                    <a:schemeClr val="tx1"/>
                  </a:solidFill>
                  <a:latin typeface="Segoe UI" panose="020B0502040204020203" pitchFamily="34" charset="0"/>
                  <a:cs typeface="Segoe UI" panose="020B0502040204020203" pitchFamily="34" charset="0"/>
                </a:rPr>
                <a:t>PureViz</a:t>
              </a:r>
              <a:r>
                <a:rPr lang="en-CA" sz="612">
                  <a:solidFill>
                    <a:schemeClr val="tx1"/>
                  </a:solidFill>
                  <a:latin typeface="Segoe UI" panose="020B0502040204020203" pitchFamily="34" charset="0"/>
                  <a:cs typeface="Segoe UI" panose="020B0502040204020203" pitchFamily="34" charset="0"/>
                </a:rPr>
                <a:t> Infographic – from PowerPoint to Power BI</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ynamic radial bar chart by JTA</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rill Down Waterfall PRO</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trol Chart </a:t>
              </a:r>
              <a:r>
                <a:rPr lang="en-CA" sz="612" err="1">
                  <a:solidFill>
                    <a:schemeClr val="tx1"/>
                  </a:solidFill>
                  <a:latin typeface="Segoe UI" panose="020B0502040204020203" pitchFamily="34" charset="0"/>
                  <a:cs typeface="Segoe UI" panose="020B0502040204020203" pitchFamily="34" charset="0"/>
                </a:rPr>
                <a:t>XmR</a:t>
              </a:r>
              <a:r>
                <a:rPr lang="en-CA" sz="612">
                  <a:solidFill>
                    <a:schemeClr val="tx1"/>
                  </a:solidFill>
                  <a:latin typeface="Segoe UI" panose="020B0502040204020203" pitchFamily="34" charset="0"/>
                  <a:cs typeface="Segoe UI" panose="020B0502040204020203" pitchFamily="34" charset="0"/>
                </a:rPr>
                <a:t> by Nova Silva</a:t>
              </a:r>
            </a:p>
            <a:p>
              <a:pPr defTabSz="950661">
                <a:spcBef>
                  <a:spcPts val="612"/>
                </a:spcBef>
                <a:spcAft>
                  <a:spcPts val="102"/>
                </a:spcAft>
                <a:defRPr/>
              </a:pPr>
              <a:r>
                <a:rPr lang="en-CA" sz="714" b="1" cap="all">
                  <a:solidFill>
                    <a:schemeClr val="tx1"/>
                  </a:solidFill>
                  <a:latin typeface="Segoe UI"/>
                </a:rPr>
                <a:t>Templat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alyze your email marketing performance using Mailchimp and </a:t>
              </a:r>
              <a:r>
                <a:rPr lang="en-US" sz="612" err="1">
                  <a:solidFill>
                    <a:schemeClr val="tx1"/>
                  </a:solidFill>
                  <a:latin typeface="Segoe UI" panose="020B0502040204020203" pitchFamily="34" charset="0"/>
                  <a:cs typeface="Segoe UI" panose="020B0502040204020203" pitchFamily="34" charset="0"/>
                </a:rPr>
                <a:t>ActiveCampaign</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Other</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Desktop Installer Changes &amp; WebView2</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On-premises data gateway update</a:t>
              </a:r>
            </a:p>
          </p:txBody>
        </p:sp>
        <p:sp>
          <p:nvSpPr>
            <p:cNvPr id="11" name="Rectangle 10">
              <a:extLst>
                <a:ext uri="{FF2B5EF4-FFF2-40B4-BE49-F238E27FC236}">
                  <a16:creationId xmlns:a16="http://schemas.microsoft.com/office/drawing/2014/main" id="{DB1C582D-05D5-4EBF-9FB4-FAD8C1A098EC}"/>
                </a:ext>
              </a:extLst>
            </p:cNvPr>
            <p:cNvSpPr/>
            <p:nvPr/>
          </p:nvSpPr>
          <p:spPr bwMode="auto">
            <a:xfrm>
              <a:off x="8647333" y="1250618"/>
              <a:ext cx="2476800" cy="4001157"/>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Customize shape format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X-axis constant line improvemen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efault sensitivity label policy in Power BI desktop  preview</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haring Q&amp;A synonyms</a:t>
              </a:r>
            </a:p>
            <a:p>
              <a:pPr marL="108469" lvl="1" indent="-108469" defTabSz="950661">
                <a:buFont typeface="Arial" panose="020B0604020202020204" pitchFamily="34" charset="0"/>
                <a:buChar char="•"/>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way of expressing Date and </a:t>
              </a:r>
              <a:r>
                <a:rPr lang="en-US" sz="612" err="1">
                  <a:solidFill>
                    <a:schemeClr val="tx1"/>
                  </a:solidFill>
                  <a:latin typeface="Segoe UI" panose="020B0502040204020203" pitchFamily="34" charset="0"/>
                  <a:cs typeface="Segoe UI" panose="020B0502040204020203" pitchFamily="34" charset="0"/>
                </a:rPr>
                <a:t>DateTime</a:t>
              </a:r>
              <a:r>
                <a:rPr lang="en-US" sz="612">
                  <a:solidFill>
                    <a:schemeClr val="tx1"/>
                  </a:solidFill>
                  <a:latin typeface="Segoe UI" panose="020B0502040204020203" pitchFamily="34" charset="0"/>
                  <a:cs typeface="Segoe UI" panose="020B0502040204020203" pitchFamily="34" charset="0"/>
                </a:rPr>
                <a:t> value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valuation configuration setting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utomatic aggregations (preview)</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Connector: </a:t>
              </a:r>
              <a:r>
                <a:rPr lang="en-CA" sz="612" err="1">
                  <a:solidFill>
                    <a:schemeClr val="tx1"/>
                  </a:solidFill>
                  <a:latin typeface="Segoe UI" panose="020B0502040204020203" pitchFamily="34" charset="0"/>
                  <a:cs typeface="Segoe UI" panose="020B0502040204020203" pitchFamily="34" charset="0"/>
                </a:rPr>
                <a:t>Automy</a:t>
              </a:r>
              <a:r>
                <a:rPr lang="en-CA" sz="612">
                  <a:solidFill>
                    <a:schemeClr val="tx1"/>
                  </a:solidFill>
                  <a:latin typeface="Segoe UI" panose="020B0502040204020203" pitchFamily="34" charset="0"/>
                  <a:cs typeface="Segoe UI" panose="020B0502040204020203" pitchFamily="34" charset="0"/>
                </a:rPr>
                <a:t> Data Analytics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One Dataflow Connector</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Dremio</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Google </a:t>
              </a:r>
              <a:r>
                <a:rPr lang="en-CA" sz="612" err="1">
                  <a:solidFill>
                    <a:schemeClr val="tx1"/>
                  </a:solidFill>
                  <a:latin typeface="Segoe UI" panose="020B0502040204020203" pitchFamily="34" charset="0"/>
                  <a:cs typeface="Segoe UI" panose="020B0502040204020203" pitchFamily="34" charset="0"/>
                </a:rPr>
                <a:t>BigQuery</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Quickbase</a:t>
              </a:r>
              <a:endParaRPr lang="en-CA" sz="612">
                <a:solidFill>
                  <a:schemeClr val="tx1"/>
                </a:solidFill>
                <a:latin typeface="Segoe UI" panose="020B0502040204020203" pitchFamily="34" charset="0"/>
                <a:cs typeface="Segoe UI" panose="020B0502040204020203" pitchFamily="34" charset="0"/>
              </a:endParaRP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Sensitivity labels for paginated report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Leverage automatic aggregations to enhance performance over </a:t>
              </a:r>
              <a:r>
                <a:rPr lang="en-CA" sz="612" err="1">
                  <a:solidFill>
                    <a:schemeClr val="tx1"/>
                  </a:solidFill>
                  <a:latin typeface="Segoe UI" panose="020B0502040204020203" pitchFamily="34" charset="0"/>
                  <a:cs typeface="Segoe UI" panose="020B0502040204020203" pitchFamily="34" charset="0"/>
                </a:rPr>
                <a:t>DirectQuery</a:t>
              </a:r>
              <a:r>
                <a:rPr lang="en-CA" sz="612">
                  <a:solidFill>
                    <a:schemeClr val="tx1"/>
                  </a:solidFill>
                  <a:latin typeface="Segoe UI" panose="020B0502040204020203" pitchFamily="34" charset="0"/>
                  <a:cs typeface="Segoe UI" panose="020B0502040204020203" pitchFamily="34" charset="0"/>
                </a:rPr>
                <a:t> dataset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Power BI REST API support for DAX Queries preview</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Detailed historical activity information for Premium datasets preview</a:t>
              </a:r>
            </a:p>
            <a:p>
              <a:pPr defTabSz="950661">
                <a:spcBef>
                  <a:spcPts val="612"/>
                </a:spcBef>
                <a:spcAft>
                  <a:spcPts val="102"/>
                </a:spcAft>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New mobile report footer</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ower BI visuals’ store experien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imeline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Graph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BIpm</a:t>
              </a:r>
              <a:r>
                <a:rPr lang="en-US" sz="612">
                  <a:solidFill>
                    <a:schemeClr val="tx1"/>
                  </a:solidFill>
                  <a:latin typeface="Segoe UI" panose="020B0502040204020203" pitchFamily="34" charset="0"/>
                  <a:cs typeface="Segoe UI" panose="020B0502040204020203" pitchFamily="34" charset="0"/>
                </a:rPr>
                <a:t> custom visual by </a:t>
              </a:r>
              <a:r>
                <a:rPr lang="en-US" sz="612" err="1">
                  <a:solidFill>
                    <a:schemeClr val="tx1"/>
                  </a:solidFill>
                  <a:latin typeface="Segoe UI" panose="020B0502040204020203" pitchFamily="34" charset="0"/>
                  <a:cs typeface="Segoe UI" panose="020B0502040204020203" pitchFamily="34" charset="0"/>
                </a:rPr>
                <a:t>ProcessM</a:t>
              </a:r>
              <a:endParaRPr lang="en-US" sz="612">
                <a:solidFill>
                  <a:schemeClr val="tx1"/>
                </a:solidFill>
                <a:latin typeface="Segoe UI" panose="020B0502040204020203" pitchFamily="34" charset="0"/>
                <a:cs typeface="Segoe UI" panose="020B0502040204020203" pitchFamily="34" charset="0"/>
              </a:endParaRPr>
            </a:p>
            <a:p>
              <a:pPr defTabSz="950661">
                <a:spcBef>
                  <a:spcPts val="612"/>
                </a:spcBef>
                <a:spcAft>
                  <a:spcPts val="102"/>
                </a:spcAft>
                <a:defRPr/>
              </a:pPr>
              <a:r>
                <a:rPr lang="en-CA" sz="714" b="1" cap="all">
                  <a:solidFill>
                    <a:schemeClr val="tx1"/>
                  </a:solidFill>
                  <a:latin typeface="Segoe UI"/>
                </a:rPr>
                <a:t>Developer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Angular component</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REST API support for DAX queries preview</a:t>
              </a:r>
            </a:p>
          </p:txBody>
        </p:sp>
        <p:grpSp>
          <p:nvGrpSpPr>
            <p:cNvPr id="14" name="Group 13">
              <a:extLst>
                <a:ext uri="{FF2B5EF4-FFF2-40B4-BE49-F238E27FC236}">
                  <a16:creationId xmlns:a16="http://schemas.microsoft.com/office/drawing/2014/main" id="{D3F3F3C1-6D76-47A5-9162-E6709F30E895}"/>
                </a:ext>
              </a:extLst>
            </p:cNvPr>
            <p:cNvGrpSpPr/>
            <p:nvPr/>
          </p:nvGrpSpPr>
          <p:grpSpPr>
            <a:xfrm>
              <a:off x="-30400666" y="944194"/>
              <a:ext cx="44094658" cy="226604"/>
              <a:chOff x="-30400666" y="944194"/>
              <a:chExt cx="44094658" cy="226604"/>
            </a:xfrm>
          </p:grpSpPr>
          <p:sp>
            <p:nvSpPr>
              <p:cNvPr id="105" name="Rectangle 104">
                <a:extLst>
                  <a:ext uri="{FF2B5EF4-FFF2-40B4-BE49-F238E27FC236}">
                    <a16:creationId xmlns:a16="http://schemas.microsoft.com/office/drawing/2014/main" id="{4AEE8DD7-31D9-4C85-B122-F58498A09B68}"/>
                  </a:ext>
                </a:extLst>
              </p:cNvPr>
              <p:cNvSpPr/>
              <p:nvPr/>
            </p:nvSpPr>
            <p:spPr bwMode="auto">
              <a:xfrm>
                <a:off x="-27962681"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0</a:t>
                </a:r>
              </a:p>
            </p:txBody>
          </p:sp>
          <p:sp>
            <p:nvSpPr>
              <p:cNvPr id="162" name="Rectangle 161">
                <a:extLst>
                  <a:ext uri="{FF2B5EF4-FFF2-40B4-BE49-F238E27FC236}">
                    <a16:creationId xmlns:a16="http://schemas.microsoft.com/office/drawing/2014/main" id="{E1FFBD3A-60B7-4B4F-A884-669EDBE4AF01}"/>
                  </a:ext>
                </a:extLst>
              </p:cNvPr>
              <p:cNvSpPr/>
              <p:nvPr/>
            </p:nvSpPr>
            <p:spPr bwMode="auto">
              <a:xfrm>
                <a:off x="-30400666" y="944194"/>
                <a:ext cx="2276739"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February 2020</a:t>
                </a:r>
              </a:p>
            </p:txBody>
          </p:sp>
          <p:sp>
            <p:nvSpPr>
              <p:cNvPr id="54" name="Rectangle 53">
                <a:extLst>
                  <a:ext uri="{FF2B5EF4-FFF2-40B4-BE49-F238E27FC236}">
                    <a16:creationId xmlns:a16="http://schemas.microsoft.com/office/drawing/2014/main" id="{DBAB5804-94F1-2C4A-B242-C63807F82EA2}"/>
                  </a:ext>
                </a:extLst>
              </p:cNvPr>
              <p:cNvSpPr/>
              <p:nvPr/>
            </p:nvSpPr>
            <p:spPr bwMode="auto">
              <a:xfrm>
                <a:off x="-23087392" y="954357"/>
                <a:ext cx="2276740" cy="206294"/>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0</a:t>
                </a:r>
              </a:p>
            </p:txBody>
          </p:sp>
          <p:sp>
            <p:nvSpPr>
              <p:cNvPr id="55" name="Rectangle 54">
                <a:extLst>
                  <a:ext uri="{FF2B5EF4-FFF2-40B4-BE49-F238E27FC236}">
                    <a16:creationId xmlns:a16="http://schemas.microsoft.com/office/drawing/2014/main" id="{DE62AF53-63FD-C149-91E0-11CAFCEA48C5}"/>
                  </a:ext>
                </a:extLst>
              </p:cNvPr>
              <p:cNvSpPr/>
              <p:nvPr/>
            </p:nvSpPr>
            <p:spPr bwMode="auto">
              <a:xfrm>
                <a:off x="-20621905"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0</a:t>
                </a:r>
              </a:p>
            </p:txBody>
          </p:sp>
          <p:sp>
            <p:nvSpPr>
              <p:cNvPr id="56" name="Rectangle 55">
                <a:extLst>
                  <a:ext uri="{FF2B5EF4-FFF2-40B4-BE49-F238E27FC236}">
                    <a16:creationId xmlns:a16="http://schemas.microsoft.com/office/drawing/2014/main" id="{886D3022-0218-9948-876E-C7B887300F81}"/>
                  </a:ext>
                </a:extLst>
              </p:cNvPr>
              <p:cNvSpPr/>
              <p:nvPr/>
            </p:nvSpPr>
            <p:spPr bwMode="auto">
              <a:xfrm>
                <a:off x="-1569093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0</a:t>
                </a:r>
              </a:p>
            </p:txBody>
          </p:sp>
          <p:sp>
            <p:nvSpPr>
              <p:cNvPr id="57" name="Rectangle 56">
                <a:extLst>
                  <a:ext uri="{FF2B5EF4-FFF2-40B4-BE49-F238E27FC236}">
                    <a16:creationId xmlns:a16="http://schemas.microsoft.com/office/drawing/2014/main" id="{54D1D31B-AE60-814C-B9B9-993103228214}"/>
                  </a:ext>
                </a:extLst>
              </p:cNvPr>
              <p:cNvSpPr/>
              <p:nvPr/>
            </p:nvSpPr>
            <p:spPr bwMode="auto">
              <a:xfrm>
                <a:off x="-18156419"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0</a:t>
                </a:r>
              </a:p>
            </p:txBody>
          </p:sp>
          <p:sp>
            <p:nvSpPr>
              <p:cNvPr id="58" name="Rectangle 57">
                <a:extLst>
                  <a:ext uri="{FF2B5EF4-FFF2-40B4-BE49-F238E27FC236}">
                    <a16:creationId xmlns:a16="http://schemas.microsoft.com/office/drawing/2014/main" id="{E484B6D7-BD7B-7747-9111-660DAE617E6F}"/>
                  </a:ext>
                </a:extLst>
              </p:cNvPr>
              <p:cNvSpPr/>
              <p:nvPr/>
            </p:nvSpPr>
            <p:spPr bwMode="auto">
              <a:xfrm>
                <a:off x="-13276934"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October 2020</a:t>
                </a:r>
              </a:p>
            </p:txBody>
          </p:sp>
          <p:sp>
            <p:nvSpPr>
              <p:cNvPr id="59" name="Rectangle 58">
                <a:extLst>
                  <a:ext uri="{FF2B5EF4-FFF2-40B4-BE49-F238E27FC236}">
                    <a16:creationId xmlns:a16="http://schemas.microsoft.com/office/drawing/2014/main" id="{BA7BA0EC-18D6-FF40-89A7-EFD6B47EEB24}"/>
                  </a:ext>
                </a:extLst>
              </p:cNvPr>
              <p:cNvSpPr/>
              <p:nvPr/>
            </p:nvSpPr>
            <p:spPr bwMode="auto">
              <a:xfrm>
                <a:off x="-2555287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May 2020</a:t>
                </a:r>
              </a:p>
            </p:txBody>
          </p:sp>
          <p:sp>
            <p:nvSpPr>
              <p:cNvPr id="52" name="Rectangle 51">
                <a:extLst>
                  <a:ext uri="{FF2B5EF4-FFF2-40B4-BE49-F238E27FC236}">
                    <a16:creationId xmlns:a16="http://schemas.microsoft.com/office/drawing/2014/main" id="{F3FAE238-324C-0C4A-A7F3-B8D61954F052}"/>
                  </a:ext>
                </a:extLst>
              </p:cNvPr>
              <p:cNvSpPr/>
              <p:nvPr/>
            </p:nvSpPr>
            <p:spPr bwMode="auto">
              <a:xfrm>
                <a:off x="-10871657"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November 2020</a:t>
                </a:r>
              </a:p>
            </p:txBody>
          </p:sp>
          <p:sp>
            <p:nvSpPr>
              <p:cNvPr id="66" name="Rectangle 65">
                <a:extLst>
                  <a:ext uri="{FF2B5EF4-FFF2-40B4-BE49-F238E27FC236}">
                    <a16:creationId xmlns:a16="http://schemas.microsoft.com/office/drawing/2014/main" id="{61B6A964-6AAC-B34F-A50A-BE8F2535A3AC}"/>
                  </a:ext>
                </a:extLst>
              </p:cNvPr>
              <p:cNvSpPr/>
              <p:nvPr/>
            </p:nvSpPr>
            <p:spPr bwMode="auto">
              <a:xfrm>
                <a:off x="-8505408"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December 2020</a:t>
                </a:r>
              </a:p>
            </p:txBody>
          </p:sp>
          <p:sp>
            <p:nvSpPr>
              <p:cNvPr id="68" name="Rectangle 67">
                <a:extLst>
                  <a:ext uri="{FF2B5EF4-FFF2-40B4-BE49-F238E27FC236}">
                    <a16:creationId xmlns:a16="http://schemas.microsoft.com/office/drawing/2014/main" id="{E1EA3C4F-1284-7342-BB2B-6C1D9F231727}"/>
                  </a:ext>
                </a:extLst>
              </p:cNvPr>
              <p:cNvSpPr/>
              <p:nvPr/>
            </p:nvSpPr>
            <p:spPr bwMode="auto">
              <a:xfrm>
                <a:off x="-6138202"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anuary / February 2021</a:t>
                </a:r>
              </a:p>
            </p:txBody>
          </p:sp>
          <p:sp>
            <p:nvSpPr>
              <p:cNvPr id="70" name="Rectangle 69">
                <a:extLst>
                  <a:ext uri="{FF2B5EF4-FFF2-40B4-BE49-F238E27FC236}">
                    <a16:creationId xmlns:a16="http://schemas.microsoft.com/office/drawing/2014/main" id="{67ACB735-1FEB-F34F-A542-C582BAD01CB6}"/>
                  </a:ext>
                </a:extLst>
              </p:cNvPr>
              <p:cNvSpPr/>
              <p:nvPr/>
            </p:nvSpPr>
            <p:spPr bwMode="auto">
              <a:xfrm>
                <a:off x="-3775460"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rch 2021</a:t>
                </a:r>
              </a:p>
            </p:txBody>
          </p:sp>
          <p:sp>
            <p:nvSpPr>
              <p:cNvPr id="72" name="Rectangle 71">
                <a:extLst>
                  <a:ext uri="{FF2B5EF4-FFF2-40B4-BE49-F238E27FC236}">
                    <a16:creationId xmlns:a16="http://schemas.microsoft.com/office/drawing/2014/main" id="{3AFA981E-0B0D-4745-BAE1-1577139F84FF}"/>
                  </a:ext>
                </a:extLst>
              </p:cNvPr>
              <p:cNvSpPr/>
              <p:nvPr/>
            </p:nvSpPr>
            <p:spPr bwMode="auto">
              <a:xfrm>
                <a:off x="-1417783" y="949668"/>
                <a:ext cx="227674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pril 2021</a:t>
                </a:r>
              </a:p>
            </p:txBody>
          </p:sp>
          <p:sp>
            <p:nvSpPr>
              <p:cNvPr id="74" name="Rectangle 73">
                <a:extLst>
                  <a:ext uri="{FF2B5EF4-FFF2-40B4-BE49-F238E27FC236}">
                    <a16:creationId xmlns:a16="http://schemas.microsoft.com/office/drawing/2014/main" id="{C4B6EC91-6806-7549-9E90-AB41AE6B7B22}"/>
                  </a:ext>
                </a:extLst>
              </p:cNvPr>
              <p:cNvSpPr/>
              <p:nvPr/>
            </p:nvSpPr>
            <p:spPr bwMode="auto">
              <a:xfrm>
                <a:off x="948464" y="94966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May 2021</a:t>
                </a:r>
              </a:p>
            </p:txBody>
          </p:sp>
          <p:sp>
            <p:nvSpPr>
              <p:cNvPr id="6" name="Rectangle 5">
                <a:extLst>
                  <a:ext uri="{FF2B5EF4-FFF2-40B4-BE49-F238E27FC236}">
                    <a16:creationId xmlns:a16="http://schemas.microsoft.com/office/drawing/2014/main" id="{2BE93463-C915-40BE-B90F-340690583902}"/>
                  </a:ext>
                </a:extLst>
              </p:cNvPr>
              <p:cNvSpPr/>
              <p:nvPr/>
            </p:nvSpPr>
            <p:spPr bwMode="auto">
              <a:xfrm>
                <a:off x="3514771"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ne 2021</a:t>
                </a:r>
              </a:p>
            </p:txBody>
          </p:sp>
          <p:sp>
            <p:nvSpPr>
              <p:cNvPr id="8" name="Rectangle 7">
                <a:extLst>
                  <a:ext uri="{FF2B5EF4-FFF2-40B4-BE49-F238E27FC236}">
                    <a16:creationId xmlns:a16="http://schemas.microsoft.com/office/drawing/2014/main" id="{29AEAB1D-5E5F-45AC-8705-D6BA53AED095}"/>
                  </a:ext>
                </a:extLst>
              </p:cNvPr>
              <p:cNvSpPr/>
              <p:nvPr/>
            </p:nvSpPr>
            <p:spPr bwMode="auto">
              <a:xfrm>
                <a:off x="6081065" y="944978"/>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July 2021</a:t>
                </a:r>
              </a:p>
            </p:txBody>
          </p:sp>
          <p:sp>
            <p:nvSpPr>
              <p:cNvPr id="10" name="Rectangle 9">
                <a:extLst>
                  <a:ext uri="{FF2B5EF4-FFF2-40B4-BE49-F238E27FC236}">
                    <a16:creationId xmlns:a16="http://schemas.microsoft.com/office/drawing/2014/main" id="{48A77298-E3DC-4B1B-B93C-238007A91430}"/>
                  </a:ext>
                </a:extLst>
              </p:cNvPr>
              <p:cNvSpPr/>
              <p:nvPr/>
            </p:nvSpPr>
            <p:spPr bwMode="auto">
              <a:xfrm>
                <a:off x="8647346" y="954357"/>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August 2021</a:t>
                </a:r>
              </a:p>
            </p:txBody>
          </p:sp>
          <p:sp>
            <p:nvSpPr>
              <p:cNvPr id="12" name="Rectangle 11">
                <a:extLst>
                  <a:ext uri="{FF2B5EF4-FFF2-40B4-BE49-F238E27FC236}">
                    <a16:creationId xmlns:a16="http://schemas.microsoft.com/office/drawing/2014/main" id="{12C3E200-C619-4306-90EF-C7A52661C931}"/>
                  </a:ext>
                </a:extLst>
              </p:cNvPr>
              <p:cNvSpPr/>
              <p:nvPr/>
            </p:nvSpPr>
            <p:spPr bwMode="auto">
              <a:xfrm>
                <a:off x="11217192" y="955125"/>
                <a:ext cx="2476800" cy="215673"/>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70" tIns="149177" rIns="186470" bIns="149177" numCol="1" spcCol="0" rtlCol="0" fromWordArt="0" anchor="ctr" anchorCtr="0" forceAA="0" compatLnSpc="1">
                <a:prstTxWarp prst="textNoShape">
                  <a:avLst/>
                </a:prstTxWarp>
                <a:noAutofit/>
              </a:bodyPr>
              <a:lstStyle/>
              <a:p>
                <a:pPr algn="ctr" defTabSz="932325">
                  <a:defRPr/>
                </a:pPr>
                <a:r>
                  <a:rPr lang="en-US" sz="1071" b="1">
                    <a:solidFill>
                      <a:schemeClr val="tx1"/>
                    </a:solidFill>
                    <a:latin typeface="Segoe UI" panose="020B0502040204020203" pitchFamily="34" charset="0"/>
                    <a:cs typeface="Segoe UI" panose="020B0502040204020203" pitchFamily="34" charset="0"/>
                  </a:rPr>
                  <a:t>September 2021</a:t>
                </a:r>
              </a:p>
            </p:txBody>
          </p:sp>
        </p:grpSp>
        <p:sp>
          <p:nvSpPr>
            <p:cNvPr id="13" name="Rectangle 12">
              <a:extLst>
                <a:ext uri="{FF2B5EF4-FFF2-40B4-BE49-F238E27FC236}">
                  <a16:creationId xmlns:a16="http://schemas.microsoft.com/office/drawing/2014/main" id="{39ABE0ED-BD13-4FC4-869E-8EE86280DCEA}"/>
                </a:ext>
              </a:extLst>
            </p:cNvPr>
            <p:cNvSpPr/>
            <p:nvPr/>
          </p:nvSpPr>
          <p:spPr bwMode="auto">
            <a:xfrm>
              <a:off x="11217179" y="1251386"/>
              <a:ext cx="2476800" cy="4299123"/>
            </a:xfrm>
            <a:prstGeom prst="rect">
              <a:avLst/>
            </a:prstGeom>
            <a:noFill/>
            <a:ln>
              <a:noFill/>
              <a:headEnd type="none" w="med" len="med"/>
              <a:tailEnd type="none" w="med" len="med"/>
            </a:ln>
            <a:effectLst>
              <a:outerShdw dist="11430" dir="16200000" rotWithShape="0">
                <a:schemeClr val="bg1">
                  <a:lumMod val="75000"/>
                  <a:lumOff val="2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647" rIns="0" bIns="0" numCol="1" spcCol="0" rtlCol="0" fromWordArt="0" anchor="t" anchorCtr="0" forceAA="0" compatLnSpc="1">
              <a:prstTxWarp prst="textNoShape">
                <a:avLst/>
              </a:prstTxWarp>
              <a:spAutoFit/>
            </a:bodyPr>
            <a:lstStyle/>
            <a:p>
              <a:pPr defTabSz="950661">
                <a:spcBef>
                  <a:spcPts val="612"/>
                </a:spcBef>
                <a:spcAft>
                  <a:spcPts val="102"/>
                </a:spcAft>
                <a:defRPr/>
              </a:pPr>
              <a:r>
                <a:rPr lang="en-CA" sz="714" b="1" cap="all">
                  <a:solidFill>
                    <a:schemeClr val="tx1"/>
                  </a:solidFill>
                  <a:latin typeface="Segoe UI"/>
                </a:rPr>
                <a:t>Report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formatting options for butt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oggle total columns in waterfall cha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Line chart series label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nsitivity label support for Power BI template files</a:t>
              </a:r>
            </a:p>
            <a:p>
              <a:pPr defTabSz="950661">
                <a:spcBef>
                  <a:spcPts val="612"/>
                </a:spcBef>
                <a:spcAft>
                  <a:spcPts val="102"/>
                </a:spcAft>
                <a:defRPr/>
              </a:pPr>
              <a:r>
                <a:rPr lang="en-CA" sz="714" b="1" cap="all">
                  <a:solidFill>
                    <a:schemeClr val="tx1"/>
                  </a:solidFill>
                  <a:latin typeface="Segoe UI"/>
                </a:rPr>
                <a:t>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Insights preview</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deling</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hortcut expression for CALCULATE now supports aggregation function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parameter for XIRR func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Making it easier to format based on a user’s locale</a:t>
              </a:r>
            </a:p>
            <a:p>
              <a:pPr defTabSz="950661">
                <a:spcBef>
                  <a:spcPts val="612"/>
                </a:spcBef>
                <a:spcAft>
                  <a:spcPts val="102"/>
                </a:spcAft>
                <a:defRPr/>
              </a:pPr>
              <a:r>
                <a:rPr lang="en-CA" sz="714" b="1" cap="all">
                  <a:solidFill>
                    <a:schemeClr val="tx1"/>
                  </a:solidFill>
                  <a:latin typeface="Segoe UI"/>
                </a:rPr>
                <a:t>Data connectivity &amp; PREPARATION</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The Power BI Connector in Power Automate </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AssembleViews</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zure Databrick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Bloomberg Enterprise Data &amp; Analytics</a:t>
              </a: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a:t>
              </a:r>
              <a:r>
                <a:rPr lang="en-CA" sz="612" err="1">
                  <a:solidFill>
                    <a:schemeClr val="tx1"/>
                  </a:solidFill>
                  <a:latin typeface="Segoe UI" panose="020B0502040204020203" pitchFamily="34" charset="0"/>
                  <a:cs typeface="Segoe UI" panose="020B0502040204020203" pitchFamily="34" charset="0"/>
                </a:rPr>
                <a:t>Exasol</a:t>
              </a:r>
              <a:endParaRPr lang="en-CA"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CA" sz="612">
                  <a:solidFill>
                    <a:schemeClr val="tx1"/>
                  </a:solidFill>
                  <a:latin typeface="Segoe UI" panose="020B0502040204020203" pitchFamily="34" charset="0"/>
                  <a:cs typeface="Segoe UI" panose="020B0502040204020203" pitchFamily="34" charset="0"/>
                </a:rPr>
                <a:t>Connector Update: Vena</a:t>
              </a:r>
            </a:p>
            <a:p>
              <a:pPr marL="0" lvl="1" defTabSz="950661">
                <a:defRPr/>
              </a:pPr>
              <a:endParaRPr lang="en-CA"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Servic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automated status rule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Power BI Goals: improved filtering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PIs to determine who has access to what Power BI artifacts  preview</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Service Principal support for read-only Admin APIs </a:t>
              </a:r>
            </a:p>
            <a:p>
              <a:pPr marL="0" lvl="1" defTabSz="950661">
                <a:defRPr/>
              </a:pPr>
              <a:endParaRPr lang="en-US" sz="612">
                <a:solidFill>
                  <a:schemeClr val="tx1"/>
                </a:solidFill>
                <a:latin typeface="Segoe UI" panose="020B0502040204020203" pitchFamily="34" charset="0"/>
                <a:cs typeface="Segoe UI" panose="020B0502040204020203" pitchFamily="34" charset="0"/>
              </a:endParaRPr>
            </a:p>
            <a:p>
              <a:pPr marL="0" lvl="1" defTabSz="950661">
                <a:defRPr/>
              </a:pPr>
              <a:r>
                <a:rPr lang="en-CA" sz="714" b="1" cap="all">
                  <a:solidFill>
                    <a:schemeClr val="tx1"/>
                  </a:solidFill>
                  <a:latin typeface="Segoe UI"/>
                </a:rPr>
                <a:t>Mobile</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Goals now available in Power BI Mobile app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Explore content that’s relevant to you (Android and iO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ow you can request access to reports from your mobile app</a:t>
              </a:r>
            </a:p>
            <a:p>
              <a:pPr defTabSz="950661">
                <a:spcBef>
                  <a:spcPts val="612"/>
                </a:spcBef>
                <a:spcAft>
                  <a:spcPts val="102"/>
                </a:spcAft>
                <a:defRPr/>
              </a:pPr>
              <a:r>
                <a:rPr lang="en-CA" sz="714" b="1" cap="all">
                  <a:solidFill>
                    <a:schemeClr val="tx1"/>
                  </a:solidFill>
                  <a:latin typeface="Segoe UI"/>
                </a:rPr>
                <a:t>Visualizations</a:t>
              </a: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PAFnow</a:t>
              </a:r>
              <a:r>
                <a:rPr lang="en-US" sz="612">
                  <a:solidFill>
                    <a:schemeClr val="tx1"/>
                  </a:solidFill>
                  <a:latin typeface="Segoe UI" panose="020B0502040204020203" pitchFamily="34" charset="0"/>
                  <a:cs typeface="Segoe UI" panose="020B0502040204020203" pitchFamily="34" charset="0"/>
                </a:rPr>
                <a:t> Process Mining flowchart visual by Process Analytics Factory GMBH</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Drill Down Network PRO by </a:t>
              </a:r>
              <a:r>
                <a:rPr lang="en-US" sz="612" err="1">
                  <a:solidFill>
                    <a:schemeClr val="tx1"/>
                  </a:solidFill>
                  <a:latin typeface="Segoe UI" panose="020B0502040204020203" pitchFamily="34" charset="0"/>
                  <a:cs typeface="Segoe UI" panose="020B0502040204020203" pitchFamily="34" charset="0"/>
                </a:rPr>
                <a:t>ZoomCharts</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Annotated Bar by </a:t>
              </a:r>
              <a:r>
                <a:rPr lang="en-US" sz="612" err="1">
                  <a:solidFill>
                    <a:schemeClr val="tx1"/>
                  </a:solidFill>
                  <a:latin typeface="Segoe UI" panose="020B0502040204020203" pitchFamily="34" charset="0"/>
                  <a:cs typeface="Segoe UI" panose="020B0502040204020203" pitchFamily="34" charset="0"/>
                </a:rPr>
                <a:t>Queryon</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err="1">
                  <a:solidFill>
                    <a:schemeClr val="tx1"/>
                  </a:solidFill>
                  <a:latin typeface="Segoe UI" panose="020B0502040204020203" pitchFamily="34" charset="0"/>
                  <a:cs typeface="Segoe UI" panose="020B0502040204020203" pitchFamily="34" charset="0"/>
                </a:rPr>
                <a:t>Graphomate</a:t>
              </a:r>
              <a:r>
                <a:rPr lang="en-US" sz="612">
                  <a:solidFill>
                    <a:schemeClr val="tx1"/>
                  </a:solidFill>
                  <a:latin typeface="Segoe UI" panose="020B0502040204020203" pitchFamily="34" charset="0"/>
                  <a:cs typeface="Segoe UI" panose="020B0502040204020203" pitchFamily="34" charset="0"/>
                </a:rPr>
                <a:t> pictograms 2021.2 by </a:t>
              </a:r>
              <a:r>
                <a:rPr lang="en-US" sz="612" err="1">
                  <a:solidFill>
                    <a:schemeClr val="tx1"/>
                  </a:solidFill>
                  <a:latin typeface="Segoe UI" panose="020B0502040204020203" pitchFamily="34" charset="0"/>
                  <a:cs typeface="Segoe UI" panose="020B0502040204020203" pitchFamily="34" charset="0"/>
                </a:rPr>
                <a:t>Graphomate</a:t>
              </a:r>
              <a:endParaRPr lang="en-US" sz="612">
                <a:solidFill>
                  <a:schemeClr val="tx1"/>
                </a:solidFill>
                <a:latin typeface="Segoe UI" panose="020B0502040204020203" pitchFamily="34" charset="0"/>
                <a:cs typeface="Segoe UI" panose="020B0502040204020203" pitchFamily="34" charset="0"/>
              </a:endParaRP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isuals in AppSource</a:t>
              </a:r>
              <a:r>
                <a:rPr lang="en-CA" sz="612">
                  <a:solidFill>
                    <a:schemeClr val="tx1"/>
                  </a:solidFill>
                  <a:latin typeface="Segoe UI" panose="020B0502040204020203" pitchFamily="34" charset="0"/>
                  <a:cs typeface="Segoe UI" panose="020B0502040204020203" pitchFamily="34" charset="0"/>
                </a:rPr>
                <a:t>Analysis</a:t>
              </a:r>
            </a:p>
            <a:p>
              <a:pPr defTabSz="950661">
                <a:spcBef>
                  <a:spcPts val="612"/>
                </a:spcBef>
                <a:spcAft>
                  <a:spcPts val="102"/>
                </a:spcAft>
                <a:defRPr/>
              </a:pPr>
              <a:r>
                <a:rPr lang="en-CA" sz="714" b="1" cap="all">
                  <a:solidFill>
                    <a:schemeClr val="tx1"/>
                  </a:solidFill>
                  <a:latin typeface="Segoe UI"/>
                </a:rPr>
                <a:t>PAGINATED REPORTS</a:t>
              </a:r>
            </a:p>
            <a:p>
              <a:pPr marL="108469" lvl="1" indent="-108469" defTabSz="950661">
                <a:buFont typeface="Arial" panose="020B0604020202020204" pitchFamily="34" charset="0"/>
                <a:buChar char="•"/>
                <a:defRPr/>
              </a:pPr>
              <a:r>
                <a:rPr lang="en-US" sz="612">
                  <a:solidFill>
                    <a:schemeClr val="tx1"/>
                  </a:solidFill>
                  <a:latin typeface="Segoe UI" panose="020B0502040204020203" pitchFamily="34" charset="0"/>
                  <a:cs typeface="Segoe UI" panose="020B0502040204020203" pitchFamily="34" charset="0"/>
                </a:rPr>
                <a:t>New version of Power BI Report Builder</a:t>
              </a:r>
              <a:endParaRPr lang="en-CA" sz="612">
                <a:solidFill>
                  <a:schemeClr val="tx1"/>
                </a:solidFill>
                <a:latin typeface="Segoe UI" panose="020B0502040204020203" pitchFamily="34" charset="0"/>
                <a:cs typeface="Segoe UI" panose="020B0502040204020203" pitchFamily="34" charset="0"/>
              </a:endParaRPr>
            </a:p>
          </p:txBody>
        </p:sp>
      </p:grpSp>
      <p:sp>
        <p:nvSpPr>
          <p:cNvPr id="17" name="Rectangle 16">
            <a:extLst>
              <a:ext uri="{FF2B5EF4-FFF2-40B4-BE49-F238E27FC236}">
                <a16:creationId xmlns:a16="http://schemas.microsoft.com/office/drawing/2014/main" id="{65A6AA21-8959-4B3E-A452-51ED807B8E09}"/>
              </a:ext>
            </a:extLst>
          </p:cNvPr>
          <p:cNvSpPr/>
          <p:nvPr/>
        </p:nvSpPr>
        <p:spPr bwMode="auto">
          <a:xfrm>
            <a:off x="-15855" y="446"/>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083936C-C191-4B29-9C57-D1466A0315CB}"/>
              </a:ext>
            </a:extLst>
          </p:cNvPr>
          <p:cNvSpPr/>
          <p:nvPr/>
        </p:nvSpPr>
        <p:spPr bwMode="auto">
          <a:xfrm flipH="1">
            <a:off x="10802145" y="890"/>
            <a:ext cx="1631848" cy="6993632"/>
          </a:xfrm>
          <a:prstGeom prst="rect">
            <a:avLst/>
          </a:prstGeom>
          <a:gradFill>
            <a:gsLst>
              <a:gs pos="0">
                <a:schemeClr val="bg1"/>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19940944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45000" fill="hold"/>
                                        <p:tgtEl>
                                          <p:spTgt spid="16"/>
                                        </p:tgtEl>
                                        <p:attrNameLst>
                                          <p:attrName>ppt_x</p:attrName>
                                        </p:attrNameLst>
                                      </p:cBhvr>
                                      <p:tavLst>
                                        <p:tav tm="0">
                                          <p:val>
                                            <p:strVal val="1+#ppt_w/2"/>
                                          </p:val>
                                        </p:tav>
                                        <p:tav tm="100000">
                                          <p:val>
                                            <p:strVal val="#ppt_x"/>
                                          </p:val>
                                        </p:tav>
                                      </p:tavLst>
                                    </p:anim>
                                    <p:anim calcmode="lin" valueType="num">
                                      <p:cBhvr additive="base">
                                        <p:cTn id="8" dur="45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A9A2B9-40FD-CE1D-A44D-80C2DD20992B}"/>
              </a:ext>
            </a:extLst>
          </p:cNvPr>
          <p:cNvSpPr>
            <a:spLocks noGrp="1"/>
          </p:cNvSpPr>
          <p:nvPr>
            <p:ph type="title"/>
          </p:nvPr>
        </p:nvSpPr>
        <p:spPr/>
        <p:txBody>
          <a:bodyPr/>
          <a:lstStyle/>
          <a:p>
            <a:r>
              <a:rPr lang="en-US" dirty="0"/>
              <a:t>We know it when we see it…</a:t>
            </a:r>
          </a:p>
        </p:txBody>
      </p:sp>
      <p:pic>
        <p:nvPicPr>
          <p:cNvPr id="5" name="Picture 4">
            <a:extLst>
              <a:ext uri="{FF2B5EF4-FFF2-40B4-BE49-F238E27FC236}">
                <a16:creationId xmlns:a16="http://schemas.microsoft.com/office/drawing/2014/main" id="{C9E89DCD-D393-A7C6-ECA3-82064A37B25A}"/>
              </a:ext>
            </a:extLst>
          </p:cNvPr>
          <p:cNvPicPr>
            <a:picLocks noChangeAspect="1"/>
          </p:cNvPicPr>
          <p:nvPr/>
        </p:nvPicPr>
        <p:blipFill>
          <a:blip r:embed="rId2"/>
          <a:stretch>
            <a:fillRect/>
          </a:stretch>
        </p:blipFill>
        <p:spPr>
          <a:xfrm>
            <a:off x="1665176" y="1513727"/>
            <a:ext cx="9104535" cy="5244034"/>
          </a:xfrm>
          <a:prstGeom prst="rect">
            <a:avLst/>
          </a:prstGeom>
        </p:spPr>
      </p:pic>
    </p:spTree>
    <p:extLst>
      <p:ext uri="{BB962C8B-B14F-4D97-AF65-F5344CB8AC3E}">
        <p14:creationId xmlns:p14="http://schemas.microsoft.com/office/powerpoint/2010/main" val="1079864653"/>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udience and Report Type</a:t>
            </a:r>
          </a:p>
        </p:txBody>
      </p:sp>
      <p:grpSp>
        <p:nvGrpSpPr>
          <p:cNvPr id="2" name="Group 1">
            <a:extLst>
              <a:ext uri="{FF2B5EF4-FFF2-40B4-BE49-F238E27FC236}">
                <a16:creationId xmlns:a16="http://schemas.microsoft.com/office/drawing/2014/main" id="{5B532201-43FF-4499-B410-B421CF0139ED}"/>
              </a:ext>
            </a:extLst>
          </p:cNvPr>
          <p:cNvGrpSpPr/>
          <p:nvPr/>
        </p:nvGrpSpPr>
        <p:grpSpPr>
          <a:xfrm>
            <a:off x="598430" y="1505825"/>
            <a:ext cx="11238029" cy="4735891"/>
            <a:chOff x="598505" y="1505571"/>
            <a:chExt cx="11239464" cy="4736496"/>
          </a:xfrm>
        </p:grpSpPr>
        <p:sp>
          <p:nvSpPr>
            <p:cNvPr id="7" name="Text Placeholder 2">
              <a:extLst>
                <a:ext uri="{FF2B5EF4-FFF2-40B4-BE49-F238E27FC236}">
                  <a16:creationId xmlns:a16="http://schemas.microsoft.com/office/drawing/2014/main" id="{E0C0E3CB-03B5-4FF1-94F0-9F57F8E57E61}"/>
                </a:ext>
              </a:extLst>
            </p:cNvPr>
            <p:cNvSpPr txBox="1">
              <a:spLocks/>
            </p:cNvSpPr>
            <p:nvPr/>
          </p:nvSpPr>
          <p:spPr>
            <a:xfrm>
              <a:off x="598505" y="1821883"/>
              <a:ext cx="11239464" cy="442018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Audience</a:t>
              </a:r>
            </a:p>
            <a:p>
              <a:pPr lvl="1"/>
              <a:r>
                <a:rPr lang="en-US" dirty="0"/>
                <a:t>Executive</a:t>
              </a:r>
            </a:p>
            <a:p>
              <a:pPr lvl="1"/>
              <a:r>
                <a:rPr lang="en-US" dirty="0"/>
                <a:t>Analyst</a:t>
              </a:r>
            </a:p>
            <a:p>
              <a:pPr lvl="1"/>
              <a:r>
                <a:rPr lang="en-US" dirty="0"/>
                <a:t>Information worker</a:t>
              </a:r>
            </a:p>
            <a:p>
              <a:r>
                <a:rPr lang="en-US" dirty="0"/>
                <a:t>Report type</a:t>
              </a:r>
            </a:p>
            <a:p>
              <a:pPr lvl="1"/>
              <a:r>
                <a:rPr lang="en-US" dirty="0"/>
                <a:t>Dashboard</a:t>
              </a:r>
            </a:p>
            <a:p>
              <a:pPr lvl="1"/>
              <a:r>
                <a:rPr lang="en-US" dirty="0"/>
                <a:t>Analytical</a:t>
              </a:r>
            </a:p>
            <a:p>
              <a:pPr lvl="1"/>
              <a:r>
                <a:rPr lang="en-US" dirty="0"/>
                <a:t>Operational</a:t>
              </a:r>
            </a:p>
            <a:p>
              <a:pPr lvl="1"/>
              <a:r>
                <a:rPr lang="en-US" dirty="0"/>
                <a:t>Educational</a:t>
              </a:r>
            </a:p>
          </p:txBody>
        </p:sp>
        <p:pic>
          <p:nvPicPr>
            <p:cNvPr id="9" name="Picture 2">
              <a:extLst>
                <a:ext uri="{FF2B5EF4-FFF2-40B4-BE49-F238E27FC236}">
                  <a16:creationId xmlns:a16="http://schemas.microsoft.com/office/drawing/2014/main" id="{5D629D13-9627-4DF7-86BF-7BC23574D2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789" y="1505571"/>
              <a:ext cx="3976077" cy="4699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F0D88BC-9BF9-49CA-A5F8-BBADDEF4B5A5}"/>
                </a:ext>
              </a:extLst>
            </p:cNvPr>
            <p:cNvSpPr/>
            <p:nvPr/>
          </p:nvSpPr>
          <p:spPr bwMode="auto">
            <a:xfrm>
              <a:off x="4344845" y="2711307"/>
              <a:ext cx="3770114" cy="1143764"/>
            </a:xfrm>
            <a:prstGeom prst="rect">
              <a:avLst/>
            </a:prstGeom>
            <a:noFill/>
            <a:ln w="5715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ECC999B0-6168-6E70-CD9A-A32E4F2F0FEB}"/>
              </a:ext>
            </a:extLst>
          </p:cNvPr>
          <p:cNvSpPr txBox="1"/>
          <p:nvPr/>
        </p:nvSpPr>
        <p:spPr>
          <a:xfrm>
            <a:off x="8153810" y="1803090"/>
            <a:ext cx="4458366" cy="1246495"/>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b="1" dirty="0">
                <a:solidFill>
                  <a:srgbClr val="000000"/>
                </a:solidFill>
                <a:highlight>
                  <a:srgbClr val="F2C811"/>
                </a:highlight>
                <a:latin typeface="Nexa Heavy" panose="02000000000000000000" pitchFamily="2" charset="0"/>
                <a:cs typeface="Segoe UI Semibold" panose="020B0702040204020203" pitchFamily="34" charset="0"/>
              </a:rPr>
              <a:t>EMPATHIZ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WITH YOUR </a:t>
            </a:r>
            <a:r>
              <a:rPr lang="en-US" sz="2000" dirty="0">
                <a:solidFill>
                  <a:srgbClr val="000000"/>
                </a:solidFill>
                <a:latin typeface="Nexa Heavy" panose="02000000000000000000" pitchFamily="2" charset="0"/>
                <a:cs typeface="Segoe UI Semibold" panose="020B0702040204020203" pitchFamily="34" charset="0"/>
              </a:rPr>
              <a:t>AUDIENCE</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nduct research to develop an understanding of your users</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37217630"/>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quirements Gathering</a:t>
            </a:r>
          </a:p>
        </p:txBody>
      </p:sp>
      <p:sp>
        <p:nvSpPr>
          <p:cNvPr id="7" name="Text Placeholder 2">
            <a:extLst>
              <a:ext uri="{FF2B5EF4-FFF2-40B4-BE49-F238E27FC236}">
                <a16:creationId xmlns:a16="http://schemas.microsoft.com/office/drawing/2014/main" id="{4C3AEDD1-7AF0-4617-B9A5-3CB333EA9FC7}"/>
              </a:ext>
            </a:extLst>
          </p:cNvPr>
          <p:cNvSpPr txBox="1">
            <a:spLocks/>
          </p:cNvSpPr>
          <p:nvPr/>
        </p:nvSpPr>
        <p:spPr>
          <a:xfrm>
            <a:off x="595915" y="1464074"/>
            <a:ext cx="11239464" cy="53242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User interface (UI) requirements</a:t>
            </a:r>
          </a:p>
          <a:p>
            <a:pPr lvl="1"/>
            <a:r>
              <a:rPr lang="en-US" dirty="0"/>
              <a:t>Form factor (screen/device)</a:t>
            </a:r>
          </a:p>
          <a:p>
            <a:pPr lvl="1"/>
            <a:r>
              <a:rPr lang="en-US" dirty="0"/>
              <a:t>Input method (device)</a:t>
            </a:r>
          </a:p>
          <a:p>
            <a:pPr lvl="1"/>
            <a:r>
              <a:rPr lang="en-US" dirty="0"/>
              <a:t>Style and theme (branding)</a:t>
            </a:r>
          </a:p>
          <a:p>
            <a:pPr lvl="1"/>
            <a:r>
              <a:rPr lang="en-US" dirty="0"/>
              <a:t>Accessibility (physical disability)</a:t>
            </a:r>
          </a:p>
          <a:p>
            <a:r>
              <a:rPr lang="en-US" dirty="0"/>
              <a:t>User experience (UX) requirements</a:t>
            </a:r>
          </a:p>
          <a:p>
            <a:pPr lvl="1"/>
            <a:r>
              <a:rPr lang="en-US" dirty="0"/>
              <a:t>Interactions</a:t>
            </a:r>
          </a:p>
          <a:p>
            <a:pPr lvl="1"/>
            <a:r>
              <a:rPr lang="en-US" dirty="0"/>
              <a:t>Input/actions</a:t>
            </a:r>
          </a:p>
          <a:p>
            <a:pPr lvl="1"/>
            <a:r>
              <a:rPr lang="en-US" dirty="0"/>
              <a:t>Alerts</a:t>
            </a:r>
          </a:p>
          <a:p>
            <a:pPr lvl="1"/>
            <a:r>
              <a:rPr lang="en-US" dirty="0"/>
              <a:t>Links</a:t>
            </a:r>
          </a:p>
          <a:p>
            <a:pPr lvl="1"/>
            <a:r>
              <a:rPr lang="en-US" dirty="0"/>
              <a:t>Subscribing</a:t>
            </a:r>
          </a:p>
        </p:txBody>
      </p:sp>
      <p:sp>
        <p:nvSpPr>
          <p:cNvPr id="4" name="TextBox 3">
            <a:extLst>
              <a:ext uri="{FF2B5EF4-FFF2-40B4-BE49-F238E27FC236}">
                <a16:creationId xmlns:a16="http://schemas.microsoft.com/office/drawing/2014/main" id="{1798A255-6512-D0FC-2262-92E3FE6D66B0}"/>
              </a:ext>
            </a:extLst>
          </p:cNvPr>
          <p:cNvSpPr txBox="1"/>
          <p:nvPr/>
        </p:nvSpPr>
        <p:spPr>
          <a:xfrm>
            <a:off x="7982631" y="2092797"/>
            <a:ext cx="3439205" cy="1708160"/>
          </a:xfrm>
          <a:prstGeom prst="rect">
            <a:avLst/>
          </a:prstGeom>
          <a:noFill/>
        </p:spPr>
        <p:txBody>
          <a:bodyPr wrap="square">
            <a:spAutoFit/>
          </a:bodyPr>
          <a:lstStyle/>
          <a:p>
            <a:pPr algn="ctr" defTabSz="932649">
              <a:lnSpc>
                <a:spcPts val="1836"/>
              </a:lnSpc>
              <a:defRPr/>
            </a:pPr>
            <a:endParaRPr lang="en-US" sz="2000" dirty="0">
              <a:solidFill>
                <a:srgbClr val="000000"/>
              </a:solidFill>
              <a:latin typeface="Segoe UI Semibold" panose="020B0702040204020203" pitchFamily="34" charset="0"/>
              <a:cs typeface="Segoe UI Semibold" panose="020B0702040204020203" pitchFamily="34" charset="0"/>
            </a:endParaRPr>
          </a:p>
          <a:p>
            <a:pPr algn="ctr" defTabSz="932649">
              <a:lnSpc>
                <a:spcPts val="1836"/>
              </a:lnSpc>
              <a:defRPr/>
            </a:pPr>
            <a:r>
              <a:rPr lang="en-US" sz="2000" dirty="0">
                <a:solidFill>
                  <a:srgbClr val="FFFFFF"/>
                </a:solidFill>
                <a:highlight>
                  <a:srgbClr val="ED7D31"/>
                </a:highlight>
                <a:latin typeface="Nexa Heavy" panose="02000000000000000000" pitchFamily="2" charset="0"/>
                <a:cs typeface="Segoe UI Semibold" panose="020B0702040204020203" pitchFamily="34" charset="0"/>
              </a:rPr>
              <a:t>DEFINE</a:t>
            </a:r>
            <a:r>
              <a:rPr lang="en-US" sz="2000" dirty="0">
                <a:solidFill>
                  <a:srgbClr val="000000"/>
                </a:solidFill>
                <a:latin typeface="Segoe UI Semibold" panose="020B0702040204020203" pitchFamily="34" charset="0"/>
                <a:cs typeface="Segoe UI Semibold" panose="020B0702040204020203" pitchFamily="34" charset="0"/>
              </a:rPr>
              <a:t> </a:t>
            </a:r>
          </a:p>
          <a:p>
            <a:pPr algn="ctr" defTabSz="932649">
              <a:lnSpc>
                <a:spcPts val="1836"/>
              </a:lnSpc>
              <a:defRPr/>
            </a:pPr>
            <a:r>
              <a:rPr lang="en-US" sz="1600" dirty="0">
                <a:solidFill>
                  <a:srgbClr val="000000"/>
                </a:solidFill>
                <a:latin typeface="Segoe UI Semibold" panose="020B0702040204020203" pitchFamily="34" charset="0"/>
                <a:cs typeface="Segoe UI Semibold" panose="020B0702040204020203" pitchFamily="34" charset="0"/>
              </a:rPr>
              <a:t>THE </a:t>
            </a:r>
            <a:r>
              <a:rPr lang="en-US" sz="2000" dirty="0">
                <a:solidFill>
                  <a:srgbClr val="000000"/>
                </a:solidFill>
                <a:latin typeface="Nexa Heavy" panose="02000000000000000000" pitchFamily="2" charset="0"/>
                <a:cs typeface="Segoe UI Semibold" panose="020B0702040204020203" pitchFamily="34" charset="0"/>
              </a:rPr>
              <a:t>PLATFORM &amp; ENVIORMENT</a:t>
            </a:r>
          </a:p>
          <a:p>
            <a:pPr algn="ctr" defTabSz="932649">
              <a:lnSpc>
                <a:spcPts val="1836"/>
              </a:lnSpc>
              <a:defRPr/>
            </a:pPr>
            <a:r>
              <a:rPr lang="en-US" sz="1800" i="1" dirty="0">
                <a:latin typeface="Segoe UI Light" panose="020B0502040204020203" pitchFamily="34" charset="0"/>
                <a:cs typeface="Segoe UI Light" panose="020B0502040204020203" pitchFamily="34" charset="0"/>
              </a:rPr>
              <a:t>Combine all research and observe where your users’ problems &amp; needs will exist</a:t>
            </a:r>
            <a:endParaRPr lang="en-CA" sz="1800" i="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08292781"/>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654916"/>
            <a:ext cx="11237870" cy="2246256"/>
          </a:xfrm>
        </p:spPr>
        <p:txBody>
          <a:bodyPr/>
          <a:lstStyle/>
          <a:p>
            <a:r>
              <a:rPr lang="en-US" sz="3649" dirty="0">
                <a:ea typeface="Times New Roman" panose="02020603050405020304" pitchFamily="18" charset="0"/>
                <a:cs typeface="Segoe UI"/>
              </a:rPr>
              <a:t>Report design:</a:t>
            </a:r>
            <a:br>
              <a:rPr lang="en-US" sz="3649" dirty="0">
                <a:ea typeface="Times New Roman" panose="02020603050405020304" pitchFamily="18" charset="0"/>
                <a:cs typeface="Segoe UI"/>
              </a:rPr>
            </a:br>
            <a:r>
              <a:rPr lang="en-US" sz="3649" dirty="0">
                <a:latin typeface="+mn-lt"/>
                <a:ea typeface="Times New Roman" panose="02020603050405020304" pitchFamily="18" charset="0"/>
                <a:cs typeface="Segoe UI"/>
              </a:rPr>
              <a:t>Structure</a:t>
            </a:r>
            <a:br>
              <a:rPr lang="en-US" sz="3649" dirty="0">
                <a:latin typeface="+mn-lt"/>
                <a:ea typeface="Times New Roman" panose="02020603050405020304" pitchFamily="18" charset="0"/>
                <a:cs typeface="Segoe UI"/>
              </a:rPr>
            </a:br>
            <a:r>
              <a:rPr lang="en-US" sz="3649" dirty="0">
                <a:latin typeface="+mn-lt"/>
                <a:ea typeface="Times New Roman" panose="02020603050405020304" pitchFamily="18" charset="0"/>
                <a:cs typeface="Segoe UI"/>
              </a:rPr>
              <a:t>Tools</a:t>
            </a:r>
            <a:br>
              <a:rPr lang="en-US" sz="3649" dirty="0">
                <a:latin typeface="+mn-lt"/>
                <a:ea typeface="Times New Roman" panose="02020603050405020304" pitchFamily="18" charset="0"/>
                <a:cs typeface="Segoe UI"/>
              </a:rPr>
            </a:br>
            <a:r>
              <a:rPr lang="en-US" sz="3649" dirty="0">
                <a:latin typeface="+mn-lt"/>
                <a:ea typeface="Times New Roman" panose="02020603050405020304" pitchFamily="18" charset="0"/>
                <a:cs typeface="Segoe UI"/>
              </a:rPr>
              <a:t>Testing</a:t>
            </a:r>
            <a:endParaRPr lang="en-US" sz="4399" dirty="0">
              <a:cs typeface="Segoe UI"/>
            </a:endParaRPr>
          </a:p>
        </p:txBody>
      </p:sp>
    </p:spTree>
    <p:extLst>
      <p:ext uri="{BB962C8B-B14F-4D97-AF65-F5344CB8AC3E}">
        <p14:creationId xmlns:p14="http://schemas.microsoft.com/office/powerpoint/2010/main" val="334946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port Structure</a:t>
            </a:r>
          </a:p>
        </p:txBody>
      </p:sp>
      <p:sp>
        <p:nvSpPr>
          <p:cNvPr id="6" name="Text Placeholder 2">
            <a:extLst>
              <a:ext uri="{FF2B5EF4-FFF2-40B4-BE49-F238E27FC236}">
                <a16:creationId xmlns:a16="http://schemas.microsoft.com/office/drawing/2014/main" id="{D5957D0F-43EF-47AA-A9B7-AC33B7AF4E6C}"/>
              </a:ext>
            </a:extLst>
          </p:cNvPr>
          <p:cNvSpPr txBox="1">
            <a:spLocks/>
          </p:cNvSpPr>
          <p:nvPr/>
        </p:nvSpPr>
        <p:spPr>
          <a:xfrm>
            <a:off x="595915" y="1464074"/>
            <a:ext cx="11239464" cy="20092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Report pages – like worksheets in Excel</a:t>
            </a:r>
          </a:p>
          <a:p>
            <a:r>
              <a:rPr lang="en-US" dirty="0"/>
              <a:t>Report objects</a:t>
            </a:r>
          </a:p>
          <a:p>
            <a:pPr lvl="1"/>
            <a:r>
              <a:rPr lang="en-US" dirty="0"/>
              <a:t>Visuals – visualize data</a:t>
            </a:r>
          </a:p>
          <a:p>
            <a:pPr lvl="1"/>
            <a:r>
              <a:rPr lang="en-US" dirty="0"/>
              <a:t>Elements – not data, elements include text boxes, buttons, shapes, and images</a:t>
            </a:r>
          </a:p>
        </p:txBody>
      </p:sp>
      <p:pic>
        <p:nvPicPr>
          <p:cNvPr id="8" name="Picture 6">
            <a:extLst>
              <a:ext uri="{FF2B5EF4-FFF2-40B4-BE49-F238E27FC236}">
                <a16:creationId xmlns:a16="http://schemas.microsoft.com/office/drawing/2014/main" id="{A7CB0CA6-A08F-45F4-82B7-FF038CF41B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3018" y="3473278"/>
            <a:ext cx="8070439" cy="322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8301222"/>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Building Steps</a:t>
            </a:r>
          </a:p>
        </p:txBody>
      </p:sp>
      <p:sp>
        <p:nvSpPr>
          <p:cNvPr id="2" name="Text Placeholder 2">
            <a:extLst>
              <a:ext uri="{FF2B5EF4-FFF2-40B4-BE49-F238E27FC236}">
                <a16:creationId xmlns:a16="http://schemas.microsoft.com/office/drawing/2014/main" id="{7C1440B5-102A-2341-0CD4-C7052D186262}"/>
              </a:ext>
            </a:extLst>
          </p:cNvPr>
          <p:cNvSpPr txBox="1">
            <a:spLocks/>
          </p:cNvSpPr>
          <p:nvPr/>
        </p:nvSpPr>
        <p:spPr>
          <a:xfrm>
            <a:off x="595840" y="1464334"/>
            <a:ext cx="11238029" cy="532398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514299" indent="-514299">
              <a:buFont typeface="+mj-lt"/>
              <a:buAutoNum type="arabicPeriod"/>
            </a:pPr>
            <a:r>
              <a:rPr lang="en-US" dirty="0"/>
              <a:t>Create visuals</a:t>
            </a:r>
          </a:p>
          <a:p>
            <a:pPr marL="514299" indent="-514299">
              <a:buFont typeface="+mj-lt"/>
              <a:buAutoNum type="arabicPeriod"/>
            </a:pPr>
            <a:r>
              <a:rPr lang="en-US" dirty="0"/>
              <a:t>Add margins *</a:t>
            </a:r>
          </a:p>
          <a:p>
            <a:pPr marL="514299" indent="-514299">
              <a:buFont typeface="+mj-lt"/>
              <a:buAutoNum type="arabicPeriod"/>
            </a:pPr>
            <a:r>
              <a:rPr lang="en-US" dirty="0"/>
              <a:t>Redistribute to logical sections *</a:t>
            </a:r>
          </a:p>
          <a:p>
            <a:pPr marL="514299" indent="-514299">
              <a:buFont typeface="+mj-lt"/>
              <a:buAutoNum type="arabicPeriod"/>
            </a:pPr>
            <a:r>
              <a:rPr lang="en-US" dirty="0"/>
              <a:t>Modify visual selection</a:t>
            </a:r>
          </a:p>
          <a:p>
            <a:pPr marL="514299" indent="-514299">
              <a:buFont typeface="+mj-lt"/>
              <a:buAutoNum type="arabicPeriod"/>
            </a:pPr>
            <a:r>
              <a:rPr lang="en-US" dirty="0"/>
              <a:t>Formatting &amp; alignment</a:t>
            </a:r>
          </a:p>
          <a:p>
            <a:pPr marL="514299" indent="-514299">
              <a:buFont typeface="+mj-lt"/>
              <a:buAutoNum type="arabicPeriod"/>
            </a:pPr>
            <a:r>
              <a:rPr lang="en-US" dirty="0"/>
              <a:t>Background shapes *</a:t>
            </a:r>
          </a:p>
          <a:p>
            <a:pPr marL="514299" indent="-514299">
              <a:buFont typeface="+mj-lt"/>
              <a:buAutoNum type="arabicPeriod"/>
            </a:pPr>
            <a:r>
              <a:rPr lang="en-US" dirty="0"/>
              <a:t>Labeling *</a:t>
            </a:r>
          </a:p>
          <a:p>
            <a:pPr marL="514299" indent="-514299">
              <a:buFont typeface="+mj-lt"/>
              <a:buAutoNum type="arabicPeriod"/>
            </a:pPr>
            <a:endParaRPr lang="en-US" dirty="0"/>
          </a:p>
          <a:p>
            <a:pPr marL="0" indent="0">
              <a:buFont typeface="Wingdings" panose="05000000000000000000" pitchFamily="2" charset="2"/>
              <a:buNone/>
            </a:pPr>
            <a:r>
              <a:rPr lang="en-US" sz="2800" dirty="0"/>
              <a:t>* Can partially be handled using a background image</a:t>
            </a:r>
            <a:endParaRPr lang="en-DK" sz="2800" dirty="0"/>
          </a:p>
        </p:txBody>
      </p:sp>
    </p:spTree>
    <p:extLst>
      <p:ext uri="{BB962C8B-B14F-4D97-AF65-F5344CB8AC3E}">
        <p14:creationId xmlns:p14="http://schemas.microsoft.com/office/powerpoint/2010/main" val="229807602"/>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Layout</a:t>
            </a:r>
          </a:p>
        </p:txBody>
      </p:sp>
      <p:sp>
        <p:nvSpPr>
          <p:cNvPr id="4" name="Text Placeholder 2">
            <a:extLst>
              <a:ext uri="{FF2B5EF4-FFF2-40B4-BE49-F238E27FC236}">
                <a16:creationId xmlns:a16="http://schemas.microsoft.com/office/drawing/2014/main" id="{8EECFA92-CF8D-A089-715D-75DD10DC6A37}"/>
              </a:ext>
            </a:extLst>
          </p:cNvPr>
          <p:cNvSpPr txBox="1">
            <a:spLocks/>
          </p:cNvSpPr>
          <p:nvPr/>
        </p:nvSpPr>
        <p:spPr>
          <a:xfrm>
            <a:off x="595915" y="1464074"/>
            <a:ext cx="11239464" cy="2913490"/>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Placement – reading order (e.g., left to right)</a:t>
            </a:r>
          </a:p>
          <a:p>
            <a:r>
              <a:rPr lang="en-US" dirty="0"/>
              <a:t>Balance – stability and structure in design</a:t>
            </a:r>
          </a:p>
          <a:p>
            <a:r>
              <a:rPr lang="en-US" dirty="0"/>
              <a:t>Proximity – place related objects close to each other</a:t>
            </a:r>
          </a:p>
          <a:p>
            <a:r>
              <a:rPr lang="en-US" dirty="0"/>
              <a:t>Contrast – to highlight important content</a:t>
            </a:r>
          </a:p>
          <a:p>
            <a:r>
              <a:rPr lang="en-US" dirty="0"/>
              <a:t>Repetition – create association and consistency</a:t>
            </a:r>
          </a:p>
        </p:txBody>
      </p:sp>
      <p:pic>
        <p:nvPicPr>
          <p:cNvPr id="6" name="Picture 2" descr="Image shows an example of a report layout that has a key metrics section highlighted in a red box.">
            <a:extLst>
              <a:ext uri="{FF2B5EF4-FFF2-40B4-BE49-F238E27FC236}">
                <a16:creationId xmlns:a16="http://schemas.microsoft.com/office/drawing/2014/main" id="{CD411D05-CE00-E455-98F0-66AA9D0636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7444" y="4108102"/>
            <a:ext cx="7560000" cy="4250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369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Report Design Tools</a:t>
            </a:r>
          </a:p>
        </p:txBody>
      </p:sp>
      <p:sp>
        <p:nvSpPr>
          <p:cNvPr id="4" name="Text Placeholder 2">
            <a:extLst>
              <a:ext uri="{FF2B5EF4-FFF2-40B4-BE49-F238E27FC236}">
                <a16:creationId xmlns:a16="http://schemas.microsoft.com/office/drawing/2014/main" id="{836EB69B-7794-7F04-09D0-935915D0F407}"/>
              </a:ext>
            </a:extLst>
          </p:cNvPr>
          <p:cNvSpPr txBox="1">
            <a:spLocks/>
          </p:cNvSpPr>
          <p:nvPr/>
        </p:nvSpPr>
        <p:spPr>
          <a:xfrm>
            <a:off x="595915" y="1464074"/>
            <a:ext cx="11239464" cy="4520918"/>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Format commands (Format ribbon, help to arrange objects)</a:t>
            </a:r>
          </a:p>
          <a:p>
            <a:r>
              <a:rPr lang="en-US"/>
              <a:t>Selection pane (Layer order, Tab order)</a:t>
            </a:r>
          </a:p>
          <a:p>
            <a:r>
              <a:rPr lang="en-US"/>
              <a:t>Report layout options (View ribbon, gridlines, snap to grid, lock objects)</a:t>
            </a:r>
          </a:p>
          <a:p>
            <a:r>
              <a:rPr lang="en-US"/>
              <a:t>Page view (View ribbon, fit to page, fit to width, show actual size)</a:t>
            </a:r>
          </a:p>
          <a:p>
            <a:r>
              <a:rPr lang="en-US"/>
              <a:t>Undo/redo (CTRL+Z or CTRL +Y)</a:t>
            </a:r>
          </a:p>
          <a:p>
            <a:pPr marL="0" indent="0">
              <a:buFont typeface="Wingdings" panose="05000000000000000000" pitchFamily="2" charset="2"/>
              <a:buNone/>
            </a:pPr>
            <a:endParaRPr lang="en-US" b="1" dirty="0"/>
          </a:p>
        </p:txBody>
      </p:sp>
    </p:spTree>
    <p:extLst>
      <p:ext uri="{BB962C8B-B14F-4D97-AF65-F5344CB8AC3E}">
        <p14:creationId xmlns:p14="http://schemas.microsoft.com/office/powerpoint/2010/main" val="290926315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ing</a:t>
            </a:r>
          </a:p>
        </p:txBody>
      </p:sp>
      <p:pic>
        <p:nvPicPr>
          <p:cNvPr id="4" name="Picture 2" descr="Diagram of hierarchy of filter levels, Dataset (RLS) to Report to Page to Visual to Measure.">
            <a:extLst>
              <a:ext uri="{FF2B5EF4-FFF2-40B4-BE49-F238E27FC236}">
                <a16:creationId xmlns:a16="http://schemas.microsoft.com/office/drawing/2014/main" id="{EF5B23A0-2CB8-C002-5CC8-B681BD8D0B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978" y="2090237"/>
            <a:ext cx="6323930" cy="305293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A2F44B1A-37A7-56DE-6C71-0EA6D0948895}"/>
              </a:ext>
            </a:extLst>
          </p:cNvPr>
          <p:cNvSpPr txBox="1">
            <a:spLocks/>
          </p:cNvSpPr>
          <p:nvPr/>
        </p:nvSpPr>
        <p:spPr>
          <a:xfrm>
            <a:off x="595840" y="1464334"/>
            <a:ext cx="11238029" cy="4871609"/>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You can filter at five different levels</a:t>
            </a:r>
          </a:p>
          <a:p>
            <a:pPr lvl="1"/>
            <a:r>
              <a:rPr lang="en-US" dirty="0"/>
              <a:t>Dataset (RLS)</a:t>
            </a:r>
          </a:p>
          <a:p>
            <a:pPr lvl="1"/>
            <a:r>
              <a:rPr lang="en-US" dirty="0"/>
              <a:t>Report</a:t>
            </a:r>
          </a:p>
          <a:p>
            <a:pPr lvl="1"/>
            <a:r>
              <a:rPr lang="en-US" dirty="0"/>
              <a:t>Page</a:t>
            </a:r>
          </a:p>
          <a:p>
            <a:pPr lvl="1"/>
            <a:r>
              <a:rPr lang="en-US" dirty="0"/>
              <a:t>Visual</a:t>
            </a:r>
          </a:p>
          <a:p>
            <a:pPr lvl="1"/>
            <a:r>
              <a:rPr lang="en-US" dirty="0"/>
              <a:t>Measure (using DAX/Report-level measure)</a:t>
            </a:r>
          </a:p>
          <a:p>
            <a:r>
              <a:rPr lang="en-US" dirty="0"/>
              <a:t>Filter using</a:t>
            </a:r>
          </a:p>
          <a:p>
            <a:pPr lvl="1"/>
            <a:r>
              <a:rPr lang="en-US" dirty="0"/>
              <a:t>Filter pane	</a:t>
            </a:r>
          </a:p>
          <a:p>
            <a:pPr lvl="1"/>
            <a:r>
              <a:rPr lang="en-US" dirty="0"/>
              <a:t>Slicers</a:t>
            </a:r>
          </a:p>
          <a:p>
            <a:endParaRPr lang="en-US" dirty="0"/>
          </a:p>
        </p:txBody>
      </p:sp>
    </p:spTree>
    <p:extLst>
      <p:ext uri="{BB962C8B-B14F-4D97-AF65-F5344CB8AC3E}">
        <p14:creationId xmlns:p14="http://schemas.microsoft.com/office/powerpoint/2010/main" val="1765774517"/>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Advanced Filtering</a:t>
            </a:r>
          </a:p>
        </p:txBody>
      </p:sp>
      <p:sp>
        <p:nvSpPr>
          <p:cNvPr id="2" name="Text Placeholder 2">
            <a:extLst>
              <a:ext uri="{FF2B5EF4-FFF2-40B4-BE49-F238E27FC236}">
                <a16:creationId xmlns:a16="http://schemas.microsoft.com/office/drawing/2014/main" id="{190C4945-3DD8-3C73-DBC7-E42C097C5295}"/>
              </a:ext>
            </a:extLst>
          </p:cNvPr>
          <p:cNvSpPr txBox="1">
            <a:spLocks/>
          </p:cNvSpPr>
          <p:nvPr/>
        </p:nvSpPr>
        <p:spPr>
          <a:xfrm>
            <a:off x="595839" y="1464333"/>
            <a:ext cx="11839049" cy="4520918"/>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a:t>Visual interactions (use CTRL-click to filter multiple elements)</a:t>
            </a:r>
          </a:p>
          <a:p>
            <a:r>
              <a:rPr lang="en-US"/>
              <a:t>Drillthrough (to another page)</a:t>
            </a:r>
          </a:p>
          <a:p>
            <a:r>
              <a:rPr lang="en-US"/>
              <a:t>Report tooltip (receive filter from visual)</a:t>
            </a:r>
          </a:p>
          <a:p>
            <a:r>
              <a:rPr lang="en-US"/>
              <a:t>Bookmarks (create by author or consumer (personal bookmarks)</a:t>
            </a:r>
          </a:p>
          <a:p>
            <a:r>
              <a:rPr lang="en-US"/>
              <a:t>Report options (e.g., persistent filters, visual header, filter pane)</a:t>
            </a:r>
          </a:p>
          <a:p>
            <a:r>
              <a:rPr lang="en-US"/>
              <a:t>Query reduction options (disable cross filtering, add apply buttons)</a:t>
            </a:r>
            <a:endParaRPr lang="en-US" dirty="0"/>
          </a:p>
        </p:txBody>
      </p:sp>
    </p:spTree>
    <p:extLst>
      <p:ext uri="{BB962C8B-B14F-4D97-AF65-F5344CB8AC3E}">
        <p14:creationId xmlns:p14="http://schemas.microsoft.com/office/powerpoint/2010/main" val="372371881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2646" y="1194817"/>
            <a:ext cx="12431184"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1E84D47B-CAAB-4150-8848-B4671587EFD5}"/>
              </a:ext>
            </a:extLst>
          </p:cNvPr>
          <p:cNvSpPr txBox="1">
            <a:spLocks/>
          </p:cNvSpPr>
          <p:nvPr/>
        </p:nvSpPr>
        <p:spPr>
          <a:xfrm>
            <a:off x="275985" y="296638"/>
            <a:ext cx="11884506" cy="917184"/>
          </a:xfrm>
          <a:prstGeom prst="rect">
            <a:avLst/>
          </a:prstGeom>
        </p:spPr>
        <p:txBody>
          <a:bodyPr vert="horz" wrap="square" lIns="149156" tIns="93222" rIns="149156" bIns="93222"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112">
              <a:defRPr/>
            </a:pPr>
            <a:r>
              <a:rPr lang="en-US" sz="4080" spc="0" dirty="0">
                <a:solidFill>
                  <a:srgbClr val="FFC000"/>
                </a:solidFill>
              </a:rPr>
              <a:t>Enterprise Architecture</a:t>
            </a:r>
          </a:p>
        </p:txBody>
      </p:sp>
      <p:grpSp>
        <p:nvGrpSpPr>
          <p:cNvPr id="90" name="Group 89">
            <a:extLst>
              <a:ext uri="{FF2B5EF4-FFF2-40B4-BE49-F238E27FC236}">
                <a16:creationId xmlns:a16="http://schemas.microsoft.com/office/drawing/2014/main" id="{A02C1347-F432-4150-ADA2-3B80DD5777E4}"/>
              </a:ext>
            </a:extLst>
          </p:cNvPr>
          <p:cNvGrpSpPr/>
          <p:nvPr/>
        </p:nvGrpSpPr>
        <p:grpSpPr>
          <a:xfrm>
            <a:off x="2699642" y="1389112"/>
            <a:ext cx="9690351" cy="5308367"/>
            <a:chOff x="2111213" y="1388842"/>
            <a:chExt cx="9691588" cy="5309045"/>
          </a:xfrm>
        </p:grpSpPr>
        <p:grpSp>
          <p:nvGrpSpPr>
            <p:cNvPr id="50" name="Group 49">
              <a:extLst>
                <a:ext uri="{FF2B5EF4-FFF2-40B4-BE49-F238E27FC236}">
                  <a16:creationId xmlns:a16="http://schemas.microsoft.com/office/drawing/2014/main" id="{3E3B905B-0517-47A8-8474-796FD2A883E9}"/>
                </a:ext>
              </a:extLst>
            </p:cNvPr>
            <p:cNvGrpSpPr/>
            <p:nvPr/>
          </p:nvGrpSpPr>
          <p:grpSpPr>
            <a:xfrm>
              <a:off x="7032511" y="1459880"/>
              <a:ext cx="4770290" cy="5238007"/>
              <a:chOff x="7032626" y="1459591"/>
              <a:chExt cx="4770966" cy="5238750"/>
            </a:xfrm>
          </p:grpSpPr>
          <p:grpSp>
            <p:nvGrpSpPr>
              <p:cNvPr id="49" name="Group 48">
                <a:extLst>
                  <a:ext uri="{FF2B5EF4-FFF2-40B4-BE49-F238E27FC236}">
                    <a16:creationId xmlns:a16="http://schemas.microsoft.com/office/drawing/2014/main" id="{0424C2D8-727E-4D34-B969-B1F63298F899}"/>
                  </a:ext>
                </a:extLst>
              </p:cNvPr>
              <p:cNvGrpSpPr/>
              <p:nvPr/>
            </p:nvGrpSpPr>
            <p:grpSpPr>
              <a:xfrm>
                <a:off x="7032626" y="1459591"/>
                <a:ext cx="4770966" cy="5238750"/>
                <a:chOff x="7032626" y="1459591"/>
                <a:chExt cx="4770966" cy="5238750"/>
              </a:xfrm>
            </p:grpSpPr>
            <p:pic>
              <p:nvPicPr>
                <p:cNvPr id="44" name="Picture 2" descr="Graphical user interface, application, timeline&#10;&#10;Description automatically generated">
                  <a:extLst>
                    <a:ext uri="{FF2B5EF4-FFF2-40B4-BE49-F238E27FC236}">
                      <a16:creationId xmlns:a16="http://schemas.microsoft.com/office/drawing/2014/main" id="{84C6C524-68A9-4E14-B702-29542CEE2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2626" y="1459591"/>
                  <a:ext cx="4762500" cy="5238750"/>
                </a:xfrm>
                <a:prstGeom prst="rect">
                  <a:avLst/>
                </a:prstGeom>
                <a:noFill/>
              </p:spPr>
            </p:pic>
            <p:sp>
              <p:nvSpPr>
                <p:cNvPr id="46" name="Rectangle 45">
                  <a:extLst>
                    <a:ext uri="{FF2B5EF4-FFF2-40B4-BE49-F238E27FC236}">
                      <a16:creationId xmlns:a16="http://schemas.microsoft.com/office/drawing/2014/main" id="{AE386A15-8367-4AAE-933B-D2338FC1DA5F}"/>
                    </a:ext>
                  </a:extLst>
                </p:cNvPr>
                <p:cNvSpPr/>
                <p:nvPr/>
              </p:nvSpPr>
              <p:spPr bwMode="auto">
                <a:xfrm>
                  <a:off x="9206988" y="3596792"/>
                  <a:ext cx="2596604" cy="8170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Rectangle 44">
                <a:extLst>
                  <a:ext uri="{FF2B5EF4-FFF2-40B4-BE49-F238E27FC236}">
                    <a16:creationId xmlns:a16="http://schemas.microsoft.com/office/drawing/2014/main" id="{240391F7-E9BA-4CD2-B6BA-6011D0A8A85D}"/>
                  </a:ext>
                </a:extLst>
              </p:cNvPr>
              <p:cNvSpPr/>
              <p:nvPr/>
            </p:nvSpPr>
            <p:spPr bwMode="auto">
              <a:xfrm>
                <a:off x="8241788" y="1624189"/>
                <a:ext cx="2007114" cy="8607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7" name="Rectangle 46">
              <a:extLst>
                <a:ext uri="{FF2B5EF4-FFF2-40B4-BE49-F238E27FC236}">
                  <a16:creationId xmlns:a16="http://schemas.microsoft.com/office/drawing/2014/main" id="{F72BFC3D-B81F-4A47-A539-C612E0A68246}"/>
                </a:ext>
              </a:extLst>
            </p:cNvPr>
            <p:cNvSpPr/>
            <p:nvPr/>
          </p:nvSpPr>
          <p:spPr bwMode="auto">
            <a:xfrm>
              <a:off x="6790514" y="3603050"/>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671E296F-37E1-42F4-AA2B-C07E2C78281D}"/>
                </a:ext>
              </a:extLst>
            </p:cNvPr>
            <p:cNvGrpSpPr/>
            <p:nvPr/>
          </p:nvGrpSpPr>
          <p:grpSpPr>
            <a:xfrm>
              <a:off x="10242429" y="3595692"/>
              <a:ext cx="1033579" cy="862658"/>
              <a:chOff x="7844068" y="3809762"/>
              <a:chExt cx="1371600" cy="1144781"/>
            </a:xfrm>
          </p:grpSpPr>
          <p:grpSp>
            <p:nvGrpSpPr>
              <p:cNvPr id="14" name="Group 13">
                <a:extLst>
                  <a:ext uri="{FF2B5EF4-FFF2-40B4-BE49-F238E27FC236}">
                    <a16:creationId xmlns:a16="http://schemas.microsoft.com/office/drawing/2014/main" id="{EFBA5682-3143-44B3-A13D-8F5430E4B155}"/>
                  </a:ext>
                </a:extLst>
              </p:cNvPr>
              <p:cNvGrpSpPr/>
              <p:nvPr/>
            </p:nvGrpSpPr>
            <p:grpSpPr>
              <a:xfrm>
                <a:off x="8030905" y="3809762"/>
                <a:ext cx="997927" cy="823591"/>
                <a:chOff x="2645833" y="2870200"/>
                <a:chExt cx="1405467" cy="1159933"/>
              </a:xfrm>
            </p:grpSpPr>
            <p:sp>
              <p:nvSpPr>
                <p:cNvPr id="8" name="Rectangle 7">
                  <a:extLst>
                    <a:ext uri="{FF2B5EF4-FFF2-40B4-BE49-F238E27FC236}">
                      <a16:creationId xmlns:a16="http://schemas.microsoft.com/office/drawing/2014/main" id="{35671536-D6CA-42D2-8947-3041407A4A2C}"/>
                    </a:ext>
                  </a:extLst>
                </p:cNvPr>
                <p:cNvSpPr/>
                <p:nvPr/>
              </p:nvSpPr>
              <p:spPr bwMode="auto">
                <a:xfrm>
                  <a:off x="2645833" y="2870200"/>
                  <a:ext cx="1405467" cy="1159933"/>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FD0DF59-B18D-4AF7-B399-9FF3ADD320FE}"/>
                    </a:ext>
                  </a:extLst>
                </p:cNvPr>
                <p:cNvSpPr/>
                <p:nvPr/>
              </p:nvSpPr>
              <p:spPr bwMode="auto">
                <a:xfrm>
                  <a:off x="2798234" y="3387195"/>
                  <a:ext cx="321734" cy="639233"/>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41E2B655-FFC8-4F25-B800-9FF690A24487}"/>
                    </a:ext>
                  </a:extLst>
                </p:cNvPr>
                <p:cNvSpPr/>
                <p:nvPr/>
              </p:nvSpPr>
              <p:spPr bwMode="auto">
                <a:xfrm>
                  <a:off x="3187699" y="3543300"/>
                  <a:ext cx="321734" cy="48312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EF32839B-7C0D-4669-84E2-0878E8FD1514}"/>
                    </a:ext>
                  </a:extLst>
                </p:cNvPr>
                <p:cNvSpPr/>
                <p:nvPr/>
              </p:nvSpPr>
              <p:spPr bwMode="auto">
                <a:xfrm>
                  <a:off x="3577164" y="3107268"/>
                  <a:ext cx="321734" cy="91916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882D750-BE51-4549-B869-AB7240691A68}"/>
                  </a:ext>
                </a:extLst>
              </p:cNvPr>
              <p:cNvSpPr txBox="1"/>
              <p:nvPr/>
            </p:nvSpPr>
            <p:spPr>
              <a:xfrm>
                <a:off x="7844068" y="4704779"/>
                <a:ext cx="1371600" cy="249764"/>
              </a:xfrm>
              <a:prstGeom prst="rect">
                <a:avLst/>
              </a:prstGeom>
              <a:noFill/>
            </p:spPr>
            <p:txBody>
              <a:bodyPr wrap="square" lIns="0" tIns="0" rIns="0" bIns="0" rtlCol="0">
                <a:spAutoFit/>
              </a:bodyPr>
              <a:lstStyle/>
              <a:p>
                <a:pPr algn="ctr"/>
                <a:r>
                  <a:rPr lang="en-US" sz="1199" b="1"/>
                  <a:t>Report</a:t>
                </a:r>
              </a:p>
            </p:txBody>
          </p:sp>
        </p:grpSp>
        <p:grpSp>
          <p:nvGrpSpPr>
            <p:cNvPr id="40" name="Group 39">
              <a:extLst>
                <a:ext uri="{FF2B5EF4-FFF2-40B4-BE49-F238E27FC236}">
                  <a16:creationId xmlns:a16="http://schemas.microsoft.com/office/drawing/2014/main" id="{1789B7DF-9B50-469F-B8A1-673A042FBE87}"/>
                </a:ext>
              </a:extLst>
            </p:cNvPr>
            <p:cNvGrpSpPr/>
            <p:nvPr/>
          </p:nvGrpSpPr>
          <p:grpSpPr>
            <a:xfrm>
              <a:off x="8530996" y="1568015"/>
              <a:ext cx="1973687" cy="1068565"/>
              <a:chOff x="4986609" y="3711128"/>
              <a:chExt cx="1703389" cy="922225"/>
            </a:xfrm>
          </p:grpSpPr>
          <p:pic>
            <p:nvPicPr>
              <p:cNvPr id="4" name="Picture 2" descr="Icon&#10;&#10;Description automatically generated">
                <a:extLst>
                  <a:ext uri="{FF2B5EF4-FFF2-40B4-BE49-F238E27FC236}">
                    <a16:creationId xmlns:a16="http://schemas.microsoft.com/office/drawing/2014/main" id="{34318212-1D5A-4607-885B-2069D3E74273}"/>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35" name="TextBox 34">
                <a:extLst>
                  <a:ext uri="{FF2B5EF4-FFF2-40B4-BE49-F238E27FC236}">
                    <a16:creationId xmlns:a16="http://schemas.microsoft.com/office/drawing/2014/main" id="{5E18F239-4843-44C9-B43E-1EFCE09F1F38}"/>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sp>
          <p:nvSpPr>
            <p:cNvPr id="54" name="Rectangle 53">
              <a:extLst>
                <a:ext uri="{FF2B5EF4-FFF2-40B4-BE49-F238E27FC236}">
                  <a16:creationId xmlns:a16="http://schemas.microsoft.com/office/drawing/2014/main" id="{D34DFAB4-E676-4BCA-9454-05B3DCC513FF}"/>
                </a:ext>
              </a:extLst>
            </p:cNvPr>
            <p:cNvSpPr/>
            <p:nvPr/>
          </p:nvSpPr>
          <p:spPr bwMode="auto">
            <a:xfrm>
              <a:off x="7937852" y="4492531"/>
              <a:ext cx="855012" cy="10474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2" name="Group 41">
              <a:extLst>
                <a:ext uri="{FF2B5EF4-FFF2-40B4-BE49-F238E27FC236}">
                  <a16:creationId xmlns:a16="http://schemas.microsoft.com/office/drawing/2014/main" id="{18A2D266-7E13-47A8-95ED-AA155D90A233}"/>
                </a:ext>
              </a:extLst>
            </p:cNvPr>
            <p:cNvGrpSpPr/>
            <p:nvPr/>
          </p:nvGrpSpPr>
          <p:grpSpPr>
            <a:xfrm>
              <a:off x="7391407" y="3646594"/>
              <a:ext cx="1217341" cy="1055193"/>
              <a:chOff x="2640379" y="3694405"/>
              <a:chExt cx="1336554" cy="1158528"/>
            </a:xfrm>
          </p:grpSpPr>
          <p:pic>
            <p:nvPicPr>
              <p:cNvPr id="7" name="Picture 6" descr="Icon&#10;&#10;Description automatically generated">
                <a:extLst>
                  <a:ext uri="{FF2B5EF4-FFF2-40B4-BE49-F238E27FC236}">
                    <a16:creationId xmlns:a16="http://schemas.microsoft.com/office/drawing/2014/main" id="{7F06E1A9-0A28-4317-A6FA-7D4C9B48E363}"/>
                  </a:ext>
                </a:extLst>
              </p:cNvPr>
              <p:cNvPicPr>
                <a:picLocks noChangeAspect="1"/>
              </p:cNvPicPr>
              <p:nvPr/>
            </p:nvPicPr>
            <p:blipFill rotWithShape="1">
              <a:blip r:embed="rId5"/>
              <a:srcRect t="9307"/>
              <a:stretch/>
            </p:blipFill>
            <p:spPr>
              <a:xfrm>
                <a:off x="2640379" y="3694405"/>
                <a:ext cx="399710" cy="362510"/>
              </a:xfrm>
              <a:prstGeom prst="rect">
                <a:avLst/>
              </a:prstGeom>
            </p:spPr>
          </p:pic>
          <p:sp>
            <p:nvSpPr>
              <p:cNvPr id="33" name="TextBox 32">
                <a:extLst>
                  <a:ext uri="{FF2B5EF4-FFF2-40B4-BE49-F238E27FC236}">
                    <a16:creationId xmlns:a16="http://schemas.microsoft.com/office/drawing/2014/main" id="{E4F64060-06A3-4899-A4E4-F61B95CE46B3}"/>
                  </a:ext>
                </a:extLst>
              </p:cNvPr>
              <p:cNvSpPr txBox="1"/>
              <p:nvPr/>
            </p:nvSpPr>
            <p:spPr>
              <a:xfrm>
                <a:off x="2692600" y="4650324"/>
                <a:ext cx="1284333" cy="202609"/>
              </a:xfrm>
              <a:prstGeom prst="rect">
                <a:avLst/>
              </a:prstGeom>
              <a:noFill/>
            </p:spPr>
            <p:txBody>
              <a:bodyPr wrap="square" lIns="0" tIns="0" rIns="0" bIns="0" rtlCol="0">
                <a:spAutoFit/>
              </a:bodyPr>
              <a:lstStyle/>
              <a:p>
                <a:pPr algn="ctr"/>
                <a:r>
                  <a:rPr lang="en-US" sz="1199" b="1"/>
                  <a:t>Dataflow</a:t>
                </a:r>
              </a:p>
            </p:txBody>
          </p:sp>
        </p:grpSp>
        <p:sp>
          <p:nvSpPr>
            <p:cNvPr id="55" name="Isosceles Triangle 54">
              <a:extLst>
                <a:ext uri="{FF2B5EF4-FFF2-40B4-BE49-F238E27FC236}">
                  <a16:creationId xmlns:a16="http://schemas.microsoft.com/office/drawing/2014/main" id="{94533816-BC6B-4A4B-B6EE-47E9FC3412A4}"/>
                </a:ext>
              </a:extLst>
            </p:cNvPr>
            <p:cNvSpPr/>
            <p:nvPr/>
          </p:nvSpPr>
          <p:spPr bwMode="auto">
            <a:xfrm rot="5400000">
              <a:off x="8159141" y="2024727"/>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TextBox 55">
              <a:extLst>
                <a:ext uri="{FF2B5EF4-FFF2-40B4-BE49-F238E27FC236}">
                  <a16:creationId xmlns:a16="http://schemas.microsoft.com/office/drawing/2014/main" id="{FE4BE72A-7E76-4C53-8311-395AA519431E}"/>
                </a:ext>
              </a:extLst>
            </p:cNvPr>
            <p:cNvSpPr txBox="1"/>
            <p:nvPr/>
          </p:nvSpPr>
          <p:spPr>
            <a:xfrm>
              <a:off x="9721903" y="2848798"/>
              <a:ext cx="2072432" cy="250992"/>
            </a:xfrm>
            <a:prstGeom prst="rect">
              <a:avLst/>
            </a:prstGeom>
            <a:solidFill>
              <a:schemeClr val="bg1"/>
            </a:solidFill>
          </p:spPr>
          <p:txBody>
            <a:bodyPr wrap="square" lIns="0" tIns="0" rIns="0" bIns="0" rtlCol="0">
              <a:spAutoFit/>
            </a:bodyPr>
            <a:lstStyle/>
            <a:p>
              <a:pPr algn="ctr"/>
              <a:r>
                <a:rPr lang="en-US" sz="1599" b="1"/>
                <a:t>INTERACTS</a:t>
              </a:r>
            </a:p>
          </p:txBody>
        </p:sp>
        <p:sp>
          <p:nvSpPr>
            <p:cNvPr id="58" name="TextBox 57">
              <a:extLst>
                <a:ext uri="{FF2B5EF4-FFF2-40B4-BE49-F238E27FC236}">
                  <a16:creationId xmlns:a16="http://schemas.microsoft.com/office/drawing/2014/main" id="{A8C212E9-E63F-4D19-AA2C-DF4FB6F76F0E}"/>
                </a:ext>
              </a:extLst>
            </p:cNvPr>
            <p:cNvSpPr txBox="1"/>
            <p:nvPr/>
          </p:nvSpPr>
          <p:spPr>
            <a:xfrm>
              <a:off x="7406058" y="2848670"/>
              <a:ext cx="1003478" cy="250992"/>
            </a:xfrm>
            <a:prstGeom prst="rect">
              <a:avLst/>
            </a:prstGeom>
            <a:solidFill>
              <a:schemeClr val="bg1"/>
            </a:solidFill>
          </p:spPr>
          <p:txBody>
            <a:bodyPr wrap="square" lIns="0" tIns="0" rIns="0" bIns="0" rtlCol="0">
              <a:spAutoFit/>
            </a:bodyPr>
            <a:lstStyle/>
            <a:p>
              <a:pPr algn="ctr"/>
              <a:r>
                <a:rPr lang="en-US" sz="1599" b="1"/>
                <a:t>READS</a:t>
              </a:r>
            </a:p>
          </p:txBody>
        </p:sp>
        <p:graphicFrame>
          <p:nvGraphicFramePr>
            <p:cNvPr id="59" name="Object 58">
              <a:extLst>
                <a:ext uri="{FF2B5EF4-FFF2-40B4-BE49-F238E27FC236}">
                  <a16:creationId xmlns:a16="http://schemas.microsoft.com/office/drawing/2014/main" id="{DB77EB55-3EE6-4D54-8125-1363BF6F12FC}"/>
                </a:ext>
              </a:extLst>
            </p:cNvPr>
            <p:cNvGraphicFramePr>
              <a:graphicFrameLocks noChangeAspect="1"/>
            </p:cNvGraphicFramePr>
            <p:nvPr>
              <p:extLst>
                <p:ext uri="{D42A27DB-BD31-4B8C-83A1-F6EECF244321}">
                  <p14:modId xmlns:p14="http://schemas.microsoft.com/office/powerpoint/2010/main" val="1255699878"/>
                </p:ext>
              </p:extLst>
            </p:nvPr>
          </p:nvGraphicFramePr>
          <p:xfrm>
            <a:off x="8191149" y="1454542"/>
            <a:ext cx="315395" cy="362705"/>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59" name="Object 58">
                          <a:extLst>
                            <a:ext uri="{FF2B5EF4-FFF2-40B4-BE49-F238E27FC236}">
                              <a16:creationId xmlns:a16="http://schemas.microsoft.com/office/drawing/2014/main" id="{DB77EB55-3EE6-4D54-8125-1363BF6F12FC}"/>
                            </a:ext>
                          </a:extLst>
                        </p:cNvPr>
                        <p:cNvPicPr/>
                        <p:nvPr/>
                      </p:nvPicPr>
                      <p:blipFill>
                        <a:blip r:embed="rId7"/>
                        <a:stretch>
                          <a:fillRect/>
                        </a:stretch>
                      </p:blipFill>
                      <p:spPr>
                        <a:xfrm>
                          <a:off x="8191149" y="1454542"/>
                          <a:ext cx="315395" cy="362705"/>
                        </a:xfrm>
                        <a:prstGeom prst="rect">
                          <a:avLst/>
                        </a:prstGeom>
                      </p:spPr>
                    </p:pic>
                  </p:oleObj>
                </mc:Fallback>
              </mc:AlternateContent>
            </a:graphicData>
          </a:graphic>
        </p:graphicFrame>
        <p:graphicFrame>
          <p:nvGraphicFramePr>
            <p:cNvPr id="60" name="Object 59">
              <a:extLst>
                <a:ext uri="{FF2B5EF4-FFF2-40B4-BE49-F238E27FC236}">
                  <a16:creationId xmlns:a16="http://schemas.microsoft.com/office/drawing/2014/main" id="{75BA24B2-CE25-4A35-B1B2-676AC42B0CE1}"/>
                </a:ext>
              </a:extLst>
            </p:cNvPr>
            <p:cNvGraphicFramePr>
              <a:graphicFrameLocks noChangeAspect="1"/>
            </p:cNvGraphicFramePr>
            <p:nvPr>
              <p:extLst>
                <p:ext uri="{D42A27DB-BD31-4B8C-83A1-F6EECF244321}">
                  <p14:modId xmlns:p14="http://schemas.microsoft.com/office/powerpoint/2010/main" val="986640706"/>
                </p:ext>
              </p:extLst>
            </p:nvPr>
          </p:nvGraphicFramePr>
          <p:xfrm>
            <a:off x="10011770" y="3519788"/>
            <a:ext cx="315395" cy="362705"/>
          </p:xfrm>
          <a:graphic>
            <a:graphicData uri="http://schemas.openxmlformats.org/presentationml/2006/ole">
              <mc:AlternateContent xmlns:mc="http://schemas.openxmlformats.org/markup-compatibility/2006">
                <mc:Choice xmlns:v="urn:schemas-microsoft-com:vml" Requires="v">
                  <p:oleObj name="Bitmap Image" r:id="rId8" imgW="1397160" imgH="1606680" progId="Paint.Picture.1">
                    <p:embed/>
                  </p:oleObj>
                </mc:Choice>
                <mc:Fallback>
                  <p:oleObj name="Bitmap Image" r:id="rId8" imgW="1397160" imgH="1606680" progId="Paint.Picture.1">
                    <p:embed/>
                    <p:pic>
                      <p:nvPicPr>
                        <p:cNvPr id="60" name="Object 59">
                          <a:extLst>
                            <a:ext uri="{FF2B5EF4-FFF2-40B4-BE49-F238E27FC236}">
                              <a16:creationId xmlns:a16="http://schemas.microsoft.com/office/drawing/2014/main" id="{75BA24B2-CE25-4A35-B1B2-676AC42B0CE1}"/>
                            </a:ext>
                          </a:extLst>
                        </p:cNvPr>
                        <p:cNvPicPr/>
                        <p:nvPr/>
                      </p:nvPicPr>
                      <p:blipFill>
                        <a:blip r:embed="rId7"/>
                        <a:stretch>
                          <a:fillRect/>
                        </a:stretch>
                      </p:blipFill>
                      <p:spPr>
                        <a:xfrm>
                          <a:off x="10011770" y="3519788"/>
                          <a:ext cx="315395" cy="362705"/>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9203A5C4-B981-4536-B1A0-61D1A890F4A7}"/>
                </a:ext>
              </a:extLst>
            </p:cNvPr>
            <p:cNvSpPr/>
            <p:nvPr/>
          </p:nvSpPr>
          <p:spPr bwMode="auto">
            <a:xfrm>
              <a:off x="2111213" y="3480001"/>
              <a:ext cx="2469765" cy="8169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6" name="TextBox 75">
              <a:extLst>
                <a:ext uri="{FF2B5EF4-FFF2-40B4-BE49-F238E27FC236}">
                  <a16:creationId xmlns:a16="http://schemas.microsoft.com/office/drawing/2014/main" id="{B4A4E8D6-ADD6-47D0-93C3-9F2714FB2EA8}"/>
                </a:ext>
              </a:extLst>
            </p:cNvPr>
            <p:cNvSpPr txBox="1"/>
            <p:nvPr/>
          </p:nvSpPr>
          <p:spPr>
            <a:xfrm>
              <a:off x="4302638" y="3203532"/>
              <a:ext cx="2072432" cy="250992"/>
            </a:xfrm>
            <a:prstGeom prst="rect">
              <a:avLst/>
            </a:prstGeom>
            <a:solidFill>
              <a:schemeClr val="bg1"/>
            </a:solidFill>
          </p:spPr>
          <p:txBody>
            <a:bodyPr wrap="square" lIns="0" tIns="0" rIns="0" bIns="0" rtlCol="0">
              <a:spAutoFit/>
            </a:bodyPr>
            <a:lstStyle/>
            <a:p>
              <a:pPr algn="ctr"/>
              <a:r>
                <a:rPr lang="en-US" sz="1599" b="1"/>
                <a:t>INTERACTS</a:t>
              </a:r>
            </a:p>
          </p:txBody>
        </p:sp>
        <p:pic>
          <p:nvPicPr>
            <p:cNvPr id="6" name="Picture 5" descr="A picture containing shape&#10;&#10;Description automatically generated">
              <a:extLst>
                <a:ext uri="{FF2B5EF4-FFF2-40B4-BE49-F238E27FC236}">
                  <a16:creationId xmlns:a16="http://schemas.microsoft.com/office/drawing/2014/main" id="{6DF7B88C-46A3-4491-9C62-C41E9EAED971}"/>
                </a:ext>
              </a:extLst>
            </p:cNvPr>
            <p:cNvPicPr>
              <a:picLocks noChangeAspect="1"/>
            </p:cNvPicPr>
            <p:nvPr/>
          </p:nvPicPr>
          <p:blipFill rotWithShape="1">
            <a:blip r:embed="rId9"/>
            <a:srcRect l="43288" b="64024"/>
            <a:stretch/>
          </p:blipFill>
          <p:spPr>
            <a:xfrm flipH="1">
              <a:off x="7403035" y="2052717"/>
              <a:ext cx="496922" cy="399747"/>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478C1DA6-56C7-427D-8FCB-F1C052E37B06}"/>
                </a:ext>
              </a:extLst>
            </p:cNvPr>
            <p:cNvPicPr>
              <a:picLocks noChangeAspect="1"/>
            </p:cNvPicPr>
            <p:nvPr/>
          </p:nvPicPr>
          <p:blipFill rotWithShape="1">
            <a:blip r:embed="rId9"/>
            <a:srcRect l="29299" t="-1" r="-1" b="712"/>
            <a:stretch/>
          </p:blipFill>
          <p:spPr>
            <a:xfrm rot="10800000" flipV="1">
              <a:off x="4780787" y="2118299"/>
              <a:ext cx="687072" cy="1103251"/>
            </a:xfrm>
            <a:prstGeom prst="rect">
              <a:avLst/>
            </a:prstGeom>
          </p:spPr>
        </p:pic>
        <p:cxnSp>
          <p:nvCxnSpPr>
            <p:cNvPr id="15" name="Straight Connector 14">
              <a:extLst>
                <a:ext uri="{FF2B5EF4-FFF2-40B4-BE49-F238E27FC236}">
                  <a16:creationId xmlns:a16="http://schemas.microsoft.com/office/drawing/2014/main" id="{97052D40-8B65-4E90-AC6A-804CDE029073}"/>
                </a:ext>
              </a:extLst>
            </p:cNvPr>
            <p:cNvCxnSpPr/>
            <p:nvPr/>
          </p:nvCxnSpPr>
          <p:spPr>
            <a:xfrm>
              <a:off x="5364262" y="3488889"/>
              <a:ext cx="0" cy="330153"/>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Graphical user interface, application&#10;&#10;Description automatically generated with medium confidence">
              <a:extLst>
                <a:ext uri="{FF2B5EF4-FFF2-40B4-BE49-F238E27FC236}">
                  <a16:creationId xmlns:a16="http://schemas.microsoft.com/office/drawing/2014/main" id="{C1E84FA3-1259-4F14-8473-DAA0F26C70AF}"/>
                </a:ext>
              </a:extLst>
            </p:cNvPr>
            <p:cNvPicPr>
              <a:picLocks noChangeAspect="1"/>
            </p:cNvPicPr>
            <p:nvPr/>
          </p:nvPicPr>
          <p:blipFill rotWithShape="1">
            <a:blip r:embed="rId10"/>
            <a:srcRect l="51672" t="47087" r="29436" b="12584"/>
            <a:stretch/>
          </p:blipFill>
          <p:spPr>
            <a:xfrm>
              <a:off x="3651977" y="5446476"/>
              <a:ext cx="926216" cy="900358"/>
            </a:xfrm>
            <a:prstGeom prst="rect">
              <a:avLst/>
            </a:prstGeom>
          </p:spPr>
        </p:pic>
        <p:pic>
          <p:nvPicPr>
            <p:cNvPr id="19" name="Picture 18" descr="A picture containing shape&#10;&#10;Description automatically generated">
              <a:extLst>
                <a:ext uri="{FF2B5EF4-FFF2-40B4-BE49-F238E27FC236}">
                  <a16:creationId xmlns:a16="http://schemas.microsoft.com/office/drawing/2014/main" id="{42BC1BDE-2E7A-4D91-AF88-AC7EFBFE7ABE}"/>
                </a:ext>
              </a:extLst>
            </p:cNvPr>
            <p:cNvPicPr>
              <a:picLocks noChangeAspect="1"/>
            </p:cNvPicPr>
            <p:nvPr/>
          </p:nvPicPr>
          <p:blipFill rotWithShape="1">
            <a:blip r:embed="rId9"/>
            <a:srcRect l="29299" t="-1" r="-1" b="26481"/>
            <a:stretch/>
          </p:blipFill>
          <p:spPr>
            <a:xfrm rot="10800000" flipH="1" flipV="1">
              <a:off x="4268441" y="4154652"/>
              <a:ext cx="619505" cy="816919"/>
            </a:xfrm>
            <a:prstGeom prst="rect">
              <a:avLst/>
            </a:prstGeom>
          </p:spPr>
        </p:pic>
        <p:sp>
          <p:nvSpPr>
            <p:cNvPr id="74" name="Rectangle 73">
              <a:extLst>
                <a:ext uri="{FF2B5EF4-FFF2-40B4-BE49-F238E27FC236}">
                  <a16:creationId xmlns:a16="http://schemas.microsoft.com/office/drawing/2014/main" id="{150B0078-5137-4570-A14C-BAD727578D1D}"/>
                </a:ext>
              </a:extLst>
            </p:cNvPr>
            <p:cNvSpPr/>
            <p:nvPr/>
          </p:nvSpPr>
          <p:spPr bwMode="auto">
            <a:xfrm>
              <a:off x="4465572" y="530858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A0EE2B87-169B-4AE4-B58B-1A2F5375E888}"/>
                </a:ext>
              </a:extLst>
            </p:cNvPr>
            <p:cNvCxnSpPr>
              <a:cxnSpLocks/>
            </p:cNvCxnSpPr>
            <p:nvPr/>
          </p:nvCxnSpPr>
          <p:spPr>
            <a:xfrm>
              <a:off x="4363675" y="5339760"/>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F85365C-9877-49CB-8158-C6B3692A07BA}"/>
                </a:ext>
              </a:extLst>
            </p:cNvPr>
            <p:cNvSpPr txBox="1"/>
            <p:nvPr/>
          </p:nvSpPr>
          <p:spPr>
            <a:xfrm>
              <a:off x="3266423" y="5010919"/>
              <a:ext cx="2072432" cy="250992"/>
            </a:xfrm>
            <a:prstGeom prst="rect">
              <a:avLst/>
            </a:prstGeom>
            <a:solidFill>
              <a:schemeClr val="bg1"/>
            </a:solidFill>
          </p:spPr>
          <p:txBody>
            <a:bodyPr wrap="square" lIns="0" tIns="0" rIns="0" bIns="0" rtlCol="0">
              <a:spAutoFit/>
            </a:bodyPr>
            <a:lstStyle/>
            <a:p>
              <a:pPr algn="ctr"/>
              <a:r>
                <a:rPr lang="en-US" sz="1599" b="1"/>
                <a:t>USES</a:t>
              </a:r>
            </a:p>
          </p:txBody>
        </p:sp>
        <p:pic>
          <p:nvPicPr>
            <p:cNvPr id="6146" name="Picture 2" descr="Graphical user interface, icon&#10;&#10;Description automatically generated">
              <a:extLst>
                <a:ext uri="{FF2B5EF4-FFF2-40B4-BE49-F238E27FC236}">
                  <a16:creationId xmlns:a16="http://schemas.microsoft.com/office/drawing/2014/main" id="{35A50721-04BE-4566-A92E-F6DF11AE8A3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407" t="9809" r="20589" b="13429"/>
            <a:stretch/>
          </p:blipFill>
          <p:spPr bwMode="auto">
            <a:xfrm>
              <a:off x="4822974" y="3774402"/>
              <a:ext cx="985389" cy="884608"/>
            </a:xfrm>
            <a:prstGeom prst="rect">
              <a:avLst/>
            </a:prstGeom>
            <a:noFill/>
          </p:spPr>
        </p:pic>
        <p:pic>
          <p:nvPicPr>
            <p:cNvPr id="3" name="Picture 2" descr="Graphical user interface, application&#10;&#10;Description automatically generated with medium confidence">
              <a:extLst>
                <a:ext uri="{FF2B5EF4-FFF2-40B4-BE49-F238E27FC236}">
                  <a16:creationId xmlns:a16="http://schemas.microsoft.com/office/drawing/2014/main" id="{0050E62D-49BE-4E44-9794-B7A96DD01A46}"/>
                </a:ext>
              </a:extLst>
            </p:cNvPr>
            <p:cNvPicPr>
              <a:picLocks noChangeAspect="1"/>
            </p:cNvPicPr>
            <p:nvPr/>
          </p:nvPicPr>
          <p:blipFill rotWithShape="1">
            <a:blip r:embed="rId10"/>
            <a:srcRect l="51672" t="47087" r="29436" b="12584"/>
            <a:stretch/>
          </p:blipFill>
          <p:spPr>
            <a:xfrm>
              <a:off x="5565514" y="5535088"/>
              <a:ext cx="926216" cy="900358"/>
            </a:xfrm>
            <a:prstGeom prst="rect">
              <a:avLst/>
            </a:prstGeom>
          </p:spPr>
        </p:pic>
        <p:sp>
          <p:nvSpPr>
            <p:cNvPr id="5" name="Rectangle 4">
              <a:extLst>
                <a:ext uri="{FF2B5EF4-FFF2-40B4-BE49-F238E27FC236}">
                  <a16:creationId xmlns:a16="http://schemas.microsoft.com/office/drawing/2014/main" id="{1378C111-0CB6-4C2D-92DE-B942AE02704C}"/>
                </a:ext>
              </a:extLst>
            </p:cNvPr>
            <p:cNvSpPr/>
            <p:nvPr/>
          </p:nvSpPr>
          <p:spPr bwMode="auto">
            <a:xfrm>
              <a:off x="6389383" y="5359841"/>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10" descr="A picture containing shape&#10;&#10;Description automatically generated">
              <a:extLst>
                <a:ext uri="{FF2B5EF4-FFF2-40B4-BE49-F238E27FC236}">
                  <a16:creationId xmlns:a16="http://schemas.microsoft.com/office/drawing/2014/main" id="{145F2571-824E-43E4-841A-4EEDCB138FF5}"/>
                </a:ext>
              </a:extLst>
            </p:cNvPr>
            <p:cNvPicPr>
              <a:picLocks noChangeAspect="1"/>
            </p:cNvPicPr>
            <p:nvPr/>
          </p:nvPicPr>
          <p:blipFill rotWithShape="1">
            <a:blip r:embed="rId9"/>
            <a:srcRect l="29299" t="-1" r="-1" b="26481"/>
            <a:stretch/>
          </p:blipFill>
          <p:spPr>
            <a:xfrm rot="10800000" flipV="1">
              <a:off x="5725798" y="4241875"/>
              <a:ext cx="619505" cy="816919"/>
            </a:xfrm>
            <a:prstGeom prst="rect">
              <a:avLst/>
            </a:prstGeom>
          </p:spPr>
        </p:pic>
        <p:cxnSp>
          <p:nvCxnSpPr>
            <p:cNvPr id="16" name="Straight Connector 15">
              <a:extLst>
                <a:ext uri="{FF2B5EF4-FFF2-40B4-BE49-F238E27FC236}">
                  <a16:creationId xmlns:a16="http://schemas.microsoft.com/office/drawing/2014/main" id="{356C4BA8-3F0B-4D2C-B6E7-A6F48886A04C}"/>
                </a:ext>
              </a:extLst>
            </p:cNvPr>
            <p:cNvCxnSpPr>
              <a:cxnSpLocks/>
            </p:cNvCxnSpPr>
            <p:nvPr/>
          </p:nvCxnSpPr>
          <p:spPr>
            <a:xfrm>
              <a:off x="6231051" y="5418685"/>
              <a:ext cx="0" cy="182749"/>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EC1A8F5-8648-47CC-914D-8855D69170F9}"/>
                </a:ext>
              </a:extLst>
            </p:cNvPr>
            <p:cNvSpPr txBox="1"/>
            <p:nvPr/>
          </p:nvSpPr>
          <p:spPr>
            <a:xfrm>
              <a:off x="5133799" y="5089844"/>
              <a:ext cx="2072432" cy="250992"/>
            </a:xfrm>
            <a:prstGeom prst="rect">
              <a:avLst/>
            </a:prstGeom>
            <a:solidFill>
              <a:schemeClr val="bg1"/>
            </a:solidFill>
          </p:spPr>
          <p:txBody>
            <a:bodyPr wrap="square" lIns="0" tIns="0" rIns="0" bIns="0" rtlCol="0">
              <a:spAutoFit/>
            </a:bodyPr>
            <a:lstStyle/>
            <a:p>
              <a:pPr algn="ctr"/>
              <a:r>
                <a:rPr lang="en-US" sz="1599" b="1"/>
                <a:t>USES</a:t>
              </a:r>
            </a:p>
          </p:txBody>
        </p:sp>
        <p:cxnSp>
          <p:nvCxnSpPr>
            <p:cNvPr id="21" name="Straight Connector 20">
              <a:extLst>
                <a:ext uri="{FF2B5EF4-FFF2-40B4-BE49-F238E27FC236}">
                  <a16:creationId xmlns:a16="http://schemas.microsoft.com/office/drawing/2014/main" id="{95535692-B555-44D8-99DA-2EA5D9929F14}"/>
                </a:ext>
              </a:extLst>
            </p:cNvPr>
            <p:cNvCxnSpPr>
              <a:cxnSpLocks/>
            </p:cNvCxnSpPr>
            <p:nvPr/>
          </p:nvCxnSpPr>
          <p:spPr>
            <a:xfrm flipH="1">
              <a:off x="5792302" y="4078884"/>
              <a:ext cx="784528"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B9DDBE45-532C-449B-87E0-1665F1FF1AA9}"/>
                </a:ext>
              </a:extLst>
            </p:cNvPr>
            <p:cNvSpPr/>
            <p:nvPr/>
          </p:nvSpPr>
          <p:spPr bwMode="auto">
            <a:xfrm rot="5400000">
              <a:off x="7346457" y="4015804"/>
              <a:ext cx="76109" cy="119709"/>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249FA8ED-DAED-42A9-884B-ABEF937F79F4}"/>
                </a:ext>
              </a:extLst>
            </p:cNvPr>
            <p:cNvSpPr txBox="1"/>
            <p:nvPr/>
          </p:nvSpPr>
          <p:spPr>
            <a:xfrm>
              <a:off x="6447645" y="3954535"/>
              <a:ext cx="1003478" cy="250992"/>
            </a:xfrm>
            <a:prstGeom prst="rect">
              <a:avLst/>
            </a:prstGeom>
            <a:noFill/>
          </p:spPr>
          <p:txBody>
            <a:bodyPr wrap="square" lIns="0" tIns="0" rIns="0" bIns="0" rtlCol="0">
              <a:spAutoFit/>
            </a:bodyPr>
            <a:lstStyle/>
            <a:p>
              <a:pPr algn="ctr"/>
              <a:r>
                <a:rPr lang="en-US" sz="1599" b="1"/>
                <a:t>READS</a:t>
              </a:r>
            </a:p>
          </p:txBody>
        </p:sp>
        <p:grpSp>
          <p:nvGrpSpPr>
            <p:cNvPr id="41" name="Group 40">
              <a:extLst>
                <a:ext uri="{FF2B5EF4-FFF2-40B4-BE49-F238E27FC236}">
                  <a16:creationId xmlns:a16="http://schemas.microsoft.com/office/drawing/2014/main" id="{ED927F52-5A5F-4E65-8060-38A95CABCC46}"/>
                </a:ext>
              </a:extLst>
            </p:cNvPr>
            <p:cNvGrpSpPr/>
            <p:nvPr/>
          </p:nvGrpSpPr>
          <p:grpSpPr>
            <a:xfrm>
              <a:off x="5533537" y="1500946"/>
              <a:ext cx="2313533" cy="1182041"/>
              <a:chOff x="5533537" y="1500946"/>
              <a:chExt cx="2313533" cy="1182041"/>
            </a:xfrm>
          </p:grpSpPr>
          <p:grpSp>
            <p:nvGrpSpPr>
              <p:cNvPr id="2" name="Group 1">
                <a:extLst>
                  <a:ext uri="{FF2B5EF4-FFF2-40B4-BE49-F238E27FC236}">
                    <a16:creationId xmlns:a16="http://schemas.microsoft.com/office/drawing/2014/main" id="{0851200E-A199-45C2-8AC6-8AA0F6A7A709}"/>
                  </a:ext>
                </a:extLst>
              </p:cNvPr>
              <p:cNvGrpSpPr/>
              <p:nvPr/>
            </p:nvGrpSpPr>
            <p:grpSpPr>
              <a:xfrm>
                <a:off x="5533537" y="1500946"/>
                <a:ext cx="2313533" cy="1182041"/>
                <a:chOff x="3511463" y="1331186"/>
                <a:chExt cx="2313862" cy="1182209"/>
              </a:xfrm>
            </p:grpSpPr>
            <p:grpSp>
              <p:nvGrpSpPr>
                <p:cNvPr id="68" name="Group 67">
                  <a:extLst>
                    <a:ext uri="{FF2B5EF4-FFF2-40B4-BE49-F238E27FC236}">
                      <a16:creationId xmlns:a16="http://schemas.microsoft.com/office/drawing/2014/main" id="{9AD8E69D-3D50-4ABB-A985-552377635451}"/>
                    </a:ext>
                  </a:extLst>
                </p:cNvPr>
                <p:cNvGrpSpPr/>
                <p:nvPr/>
              </p:nvGrpSpPr>
              <p:grpSpPr>
                <a:xfrm>
                  <a:off x="3851358" y="1444678"/>
                  <a:ext cx="1973967" cy="1068717"/>
                  <a:chOff x="4986609" y="3711128"/>
                  <a:chExt cx="1703389" cy="922225"/>
                </a:xfrm>
              </p:grpSpPr>
              <p:pic>
                <p:nvPicPr>
                  <p:cNvPr id="69" name="Picture 2" descr="Icon&#10;&#10;Description automatically generated">
                    <a:extLst>
                      <a:ext uri="{FF2B5EF4-FFF2-40B4-BE49-F238E27FC236}">
                        <a16:creationId xmlns:a16="http://schemas.microsoft.com/office/drawing/2014/main" id="{B9533031-8BC3-478D-8168-4A155D5E4F8B}"/>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4986609" y="3711128"/>
                    <a:ext cx="1231628" cy="922225"/>
                  </a:xfrm>
                  <a:prstGeom prst="rect">
                    <a:avLst/>
                  </a:prstGeom>
                  <a:noFill/>
                </p:spPr>
              </p:pic>
              <p:sp>
                <p:nvSpPr>
                  <p:cNvPr id="70" name="TextBox 69">
                    <a:extLst>
                      <a:ext uri="{FF2B5EF4-FFF2-40B4-BE49-F238E27FC236}">
                        <a16:creationId xmlns:a16="http://schemas.microsoft.com/office/drawing/2014/main" id="{980CD6AB-5ABA-4F82-9B7B-9A126D0535D7}"/>
                      </a:ext>
                    </a:extLst>
                  </p:cNvPr>
                  <p:cNvSpPr txBox="1"/>
                  <p:nvPr/>
                </p:nvSpPr>
                <p:spPr>
                  <a:xfrm>
                    <a:off x="5689600" y="4347567"/>
                    <a:ext cx="1000398" cy="159266"/>
                  </a:xfrm>
                  <a:prstGeom prst="rect">
                    <a:avLst/>
                  </a:prstGeom>
                  <a:noFill/>
                </p:spPr>
                <p:txBody>
                  <a:bodyPr wrap="square" lIns="0" tIns="0" rIns="0" bIns="0" rtlCol="0">
                    <a:spAutoFit/>
                  </a:bodyPr>
                  <a:lstStyle/>
                  <a:p>
                    <a:r>
                      <a:rPr lang="en-US" sz="1199" b="1"/>
                      <a:t>Dataset</a:t>
                    </a:r>
                  </a:p>
                </p:txBody>
              </p:sp>
            </p:grpSp>
            <p:graphicFrame>
              <p:nvGraphicFramePr>
                <p:cNvPr id="78" name="Object 77">
                  <a:extLst>
                    <a:ext uri="{FF2B5EF4-FFF2-40B4-BE49-F238E27FC236}">
                      <a16:creationId xmlns:a16="http://schemas.microsoft.com/office/drawing/2014/main" id="{87661617-D78F-4B75-9DE9-682A4E114DF7}"/>
                    </a:ext>
                  </a:extLst>
                </p:cNvPr>
                <p:cNvGraphicFramePr>
                  <a:graphicFrameLocks noChangeAspect="1"/>
                </p:cNvGraphicFramePr>
                <p:nvPr/>
              </p:nvGraphicFramePr>
              <p:xfrm>
                <a:off x="3511463"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78" name="Object 77">
                              <a:extLst>
                                <a:ext uri="{FF2B5EF4-FFF2-40B4-BE49-F238E27FC236}">
                                  <a16:creationId xmlns:a16="http://schemas.microsoft.com/office/drawing/2014/main" id="{87661617-D78F-4B75-9DE9-682A4E114DF7}"/>
                                </a:ext>
                              </a:extLst>
                            </p:cNvPr>
                            <p:cNvPicPr/>
                            <p:nvPr/>
                          </p:nvPicPr>
                          <p:blipFill>
                            <a:blip r:embed="rId7"/>
                            <a:stretch>
                              <a:fillRect/>
                            </a:stretch>
                          </p:blipFill>
                          <p:spPr>
                            <a:xfrm>
                              <a:off x="3511463" y="1331186"/>
                              <a:ext cx="315440" cy="362756"/>
                            </a:xfrm>
                            <a:prstGeom prst="rect">
                              <a:avLst/>
                            </a:prstGeom>
                          </p:spPr>
                        </p:pic>
                      </p:oleObj>
                    </mc:Fallback>
                  </mc:AlternateContent>
                </a:graphicData>
              </a:graphic>
            </p:graphicFrame>
          </p:grpSp>
          <p:sp>
            <p:nvSpPr>
              <p:cNvPr id="30" name="TextBox 29">
                <a:extLst>
                  <a:ext uri="{FF2B5EF4-FFF2-40B4-BE49-F238E27FC236}">
                    <a16:creationId xmlns:a16="http://schemas.microsoft.com/office/drawing/2014/main" id="{2E4AD991-5E50-43B1-82F3-FCFFEEF44015}"/>
                  </a:ext>
                </a:extLst>
              </p:cNvPr>
              <p:cNvSpPr txBox="1"/>
              <p:nvPr/>
            </p:nvSpPr>
            <p:spPr>
              <a:xfrm>
                <a:off x="5570392" y="1885502"/>
                <a:ext cx="271395" cy="125562"/>
              </a:xfrm>
              <a:prstGeom prst="rect">
                <a:avLst/>
              </a:prstGeom>
              <a:noFill/>
            </p:spPr>
            <p:txBody>
              <a:bodyPr wrap="none" lIns="0" tIns="0" rIns="0" bIns="0" rtlCol="0">
                <a:spAutoFit/>
              </a:bodyPr>
              <a:lstStyle/>
              <a:p>
                <a:pPr algn="ctr"/>
                <a:r>
                  <a:rPr lang="en-US" sz="800" dirty="0"/>
                  <a:t>XMLA</a:t>
                </a:r>
              </a:p>
            </p:txBody>
          </p:sp>
        </p:grpSp>
        <p:cxnSp>
          <p:nvCxnSpPr>
            <p:cNvPr id="34" name="Straight Arrow Connector 33">
              <a:extLst>
                <a:ext uri="{FF2B5EF4-FFF2-40B4-BE49-F238E27FC236}">
                  <a16:creationId xmlns:a16="http://schemas.microsoft.com/office/drawing/2014/main" id="{231C7AB1-FF86-40B2-B369-C1B98261F10C}"/>
                </a:ext>
              </a:extLst>
            </p:cNvPr>
            <p:cNvCxnSpPr>
              <a:cxnSpLocks/>
            </p:cNvCxnSpPr>
            <p:nvPr/>
          </p:nvCxnSpPr>
          <p:spPr>
            <a:xfrm>
              <a:off x="4887946" y="2093076"/>
              <a:ext cx="651855" cy="0"/>
            </a:xfrm>
            <a:prstGeom prst="straightConnector1">
              <a:avLst/>
            </a:prstGeom>
            <a:ln w="2857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79" name="Group 78">
              <a:extLst>
                <a:ext uri="{FF2B5EF4-FFF2-40B4-BE49-F238E27FC236}">
                  <a16:creationId xmlns:a16="http://schemas.microsoft.com/office/drawing/2014/main" id="{B25710C8-4D32-43D1-9127-91D2F272C7F0}"/>
                </a:ext>
              </a:extLst>
            </p:cNvPr>
            <p:cNvGrpSpPr/>
            <p:nvPr/>
          </p:nvGrpSpPr>
          <p:grpSpPr>
            <a:xfrm>
              <a:off x="3013365" y="1388842"/>
              <a:ext cx="2273461" cy="1182041"/>
              <a:chOff x="5685193" y="1500946"/>
              <a:chExt cx="2273461" cy="1182041"/>
            </a:xfrm>
          </p:grpSpPr>
          <p:grpSp>
            <p:nvGrpSpPr>
              <p:cNvPr id="80" name="Group 79">
                <a:extLst>
                  <a:ext uri="{FF2B5EF4-FFF2-40B4-BE49-F238E27FC236}">
                    <a16:creationId xmlns:a16="http://schemas.microsoft.com/office/drawing/2014/main" id="{6284CB26-6A6B-43B6-B0B5-DF82B74DBE8A}"/>
                  </a:ext>
                </a:extLst>
              </p:cNvPr>
              <p:cNvGrpSpPr/>
              <p:nvPr/>
            </p:nvGrpSpPr>
            <p:grpSpPr>
              <a:xfrm>
                <a:off x="5685193" y="1500946"/>
                <a:ext cx="2273461" cy="1182041"/>
                <a:chOff x="3663137" y="1331186"/>
                <a:chExt cx="2273781" cy="1182209"/>
              </a:xfrm>
            </p:grpSpPr>
            <p:grpSp>
              <p:nvGrpSpPr>
                <p:cNvPr id="82" name="Group 81">
                  <a:extLst>
                    <a:ext uri="{FF2B5EF4-FFF2-40B4-BE49-F238E27FC236}">
                      <a16:creationId xmlns:a16="http://schemas.microsoft.com/office/drawing/2014/main" id="{9A2D76A3-D6E0-4552-A3FF-E3A643DEA3A3}"/>
                    </a:ext>
                  </a:extLst>
                </p:cNvPr>
                <p:cNvGrpSpPr/>
                <p:nvPr/>
              </p:nvGrpSpPr>
              <p:grpSpPr>
                <a:xfrm>
                  <a:off x="4003048" y="1444678"/>
                  <a:ext cx="1933870" cy="1068717"/>
                  <a:chOff x="5117485" y="3711128"/>
                  <a:chExt cx="1668783" cy="922225"/>
                </a:xfrm>
              </p:grpSpPr>
              <p:pic>
                <p:nvPicPr>
                  <p:cNvPr id="84" name="Picture 2" descr="Icon&#10;&#10;Description automatically generated">
                    <a:extLst>
                      <a:ext uri="{FF2B5EF4-FFF2-40B4-BE49-F238E27FC236}">
                        <a16:creationId xmlns:a16="http://schemas.microsoft.com/office/drawing/2014/main" id="{1D7C08FB-D061-4B36-B561-3187ECEB341E}"/>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5117485" y="3711128"/>
                    <a:ext cx="1231628" cy="922225"/>
                  </a:xfrm>
                  <a:prstGeom prst="rect">
                    <a:avLst/>
                  </a:prstGeom>
                  <a:noFill/>
                </p:spPr>
              </p:pic>
              <p:sp>
                <p:nvSpPr>
                  <p:cNvPr id="85" name="TextBox 84">
                    <a:extLst>
                      <a:ext uri="{FF2B5EF4-FFF2-40B4-BE49-F238E27FC236}">
                        <a16:creationId xmlns:a16="http://schemas.microsoft.com/office/drawing/2014/main" id="{F6D06464-7D59-480A-BCF0-EA45306E19E9}"/>
                      </a:ext>
                    </a:extLst>
                  </p:cNvPr>
                  <p:cNvSpPr txBox="1"/>
                  <p:nvPr/>
                </p:nvSpPr>
                <p:spPr>
                  <a:xfrm>
                    <a:off x="5785870" y="4366820"/>
                    <a:ext cx="1000398" cy="159266"/>
                  </a:xfrm>
                  <a:prstGeom prst="rect">
                    <a:avLst/>
                  </a:prstGeom>
                  <a:noFill/>
                </p:spPr>
                <p:txBody>
                  <a:bodyPr wrap="square" lIns="0" tIns="0" rIns="0" bIns="0" rtlCol="0">
                    <a:spAutoFit/>
                  </a:bodyPr>
                  <a:lstStyle/>
                  <a:p>
                    <a:r>
                      <a:rPr lang="en-US" sz="1199" b="1" dirty="0"/>
                      <a:t>Dataset</a:t>
                    </a:r>
                  </a:p>
                </p:txBody>
              </p:sp>
            </p:grpSp>
            <p:graphicFrame>
              <p:nvGraphicFramePr>
                <p:cNvPr id="83" name="Object 82">
                  <a:extLst>
                    <a:ext uri="{FF2B5EF4-FFF2-40B4-BE49-F238E27FC236}">
                      <a16:creationId xmlns:a16="http://schemas.microsoft.com/office/drawing/2014/main" id="{939368DB-50AD-49B0-ABAD-FDFADA5C2FBA}"/>
                    </a:ext>
                  </a:extLst>
                </p:cNvPr>
                <p:cNvGraphicFramePr>
                  <a:graphicFrameLocks noChangeAspect="1"/>
                </p:cNvGraphicFramePr>
                <p:nvPr>
                  <p:extLst>
                    <p:ext uri="{D42A27DB-BD31-4B8C-83A1-F6EECF244321}">
                      <p14:modId xmlns:p14="http://schemas.microsoft.com/office/powerpoint/2010/main" val="3464820433"/>
                    </p:ext>
                  </p:extLst>
                </p:nvPr>
              </p:nvGraphicFramePr>
              <p:xfrm>
                <a:off x="3663137" y="1331186"/>
                <a:ext cx="315440" cy="362756"/>
              </p:xfrm>
              <a:graphic>
                <a:graphicData uri="http://schemas.openxmlformats.org/presentationml/2006/ole">
                  <mc:AlternateContent xmlns:mc="http://schemas.openxmlformats.org/markup-compatibility/2006">
                    <mc:Choice xmlns:v="urn:schemas-microsoft-com:vml" Requires="v">
                      <p:oleObj name="Bitmap Image" r:id="rId6" imgW="1397160" imgH="1606680" progId="Paint.Picture.1">
                        <p:embed/>
                      </p:oleObj>
                    </mc:Choice>
                    <mc:Fallback>
                      <p:oleObj name="Bitmap Image" r:id="rId6" imgW="1397160" imgH="1606680" progId="Paint.Picture.1">
                        <p:embed/>
                        <p:pic>
                          <p:nvPicPr>
                            <p:cNvPr id="83" name="Object 82">
                              <a:extLst>
                                <a:ext uri="{FF2B5EF4-FFF2-40B4-BE49-F238E27FC236}">
                                  <a16:creationId xmlns:a16="http://schemas.microsoft.com/office/drawing/2014/main" id="{939368DB-50AD-49B0-ABAD-FDFADA5C2FBA}"/>
                                </a:ext>
                              </a:extLst>
                            </p:cNvPr>
                            <p:cNvPicPr/>
                            <p:nvPr/>
                          </p:nvPicPr>
                          <p:blipFill>
                            <a:blip r:embed="rId7"/>
                            <a:stretch>
                              <a:fillRect/>
                            </a:stretch>
                          </p:blipFill>
                          <p:spPr>
                            <a:xfrm>
                              <a:off x="3663137" y="1331186"/>
                              <a:ext cx="315440" cy="362756"/>
                            </a:xfrm>
                            <a:prstGeom prst="rect">
                              <a:avLst/>
                            </a:prstGeom>
                          </p:spPr>
                        </p:pic>
                      </p:oleObj>
                    </mc:Fallback>
                  </mc:AlternateContent>
                </a:graphicData>
              </a:graphic>
            </p:graphicFrame>
          </p:grpSp>
          <p:sp>
            <p:nvSpPr>
              <p:cNvPr id="81" name="TextBox 80">
                <a:extLst>
                  <a:ext uri="{FF2B5EF4-FFF2-40B4-BE49-F238E27FC236}">
                    <a16:creationId xmlns:a16="http://schemas.microsoft.com/office/drawing/2014/main" id="{7068EF77-9617-4C47-8FC8-1E5DBB2BB31F}"/>
                  </a:ext>
                </a:extLst>
              </p:cNvPr>
              <p:cNvSpPr txBox="1"/>
              <p:nvPr/>
            </p:nvSpPr>
            <p:spPr>
              <a:xfrm>
                <a:off x="5720305" y="1885061"/>
                <a:ext cx="271395" cy="125562"/>
              </a:xfrm>
              <a:prstGeom prst="rect">
                <a:avLst/>
              </a:prstGeom>
              <a:noFill/>
            </p:spPr>
            <p:txBody>
              <a:bodyPr wrap="none" lIns="0" tIns="0" rIns="0" bIns="0" rtlCol="0">
                <a:spAutoFit/>
              </a:bodyPr>
              <a:lstStyle/>
              <a:p>
                <a:pPr algn="ctr"/>
                <a:r>
                  <a:rPr lang="en-US" sz="800"/>
                  <a:t>XMLA</a:t>
                </a:r>
              </a:p>
            </p:txBody>
          </p:sp>
        </p:grpSp>
        <p:sp>
          <p:nvSpPr>
            <p:cNvPr id="57" name="Rectangle 56">
              <a:extLst>
                <a:ext uri="{FF2B5EF4-FFF2-40B4-BE49-F238E27FC236}">
                  <a16:creationId xmlns:a16="http://schemas.microsoft.com/office/drawing/2014/main" id="{B9F0E3D6-73F2-4028-9AE8-12E605D382C3}"/>
                </a:ext>
              </a:extLst>
            </p:cNvPr>
            <p:cNvSpPr/>
            <p:nvPr/>
          </p:nvSpPr>
          <p:spPr bwMode="auto">
            <a:xfrm>
              <a:off x="4358848" y="2502753"/>
              <a:ext cx="646042" cy="3004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91" name="TextBox 90">
            <a:extLst>
              <a:ext uri="{FF2B5EF4-FFF2-40B4-BE49-F238E27FC236}">
                <a16:creationId xmlns:a16="http://schemas.microsoft.com/office/drawing/2014/main" id="{BF232291-A2B1-440B-BB60-7EA4E52F60A6}"/>
              </a:ext>
              <a:ext uri="{C183D7F6-B498-43B3-948B-1728B52AA6E4}">
                <adec:decorative xmlns:adec="http://schemas.microsoft.com/office/drawing/2017/decorative" val="1"/>
              </a:ext>
            </a:extLst>
          </p:cNvPr>
          <p:cNvSpPr txBox="1"/>
          <p:nvPr/>
        </p:nvSpPr>
        <p:spPr>
          <a:xfrm>
            <a:off x="-4008" y="-1"/>
            <a:ext cx="1585727" cy="6994525"/>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93" name="Oval 92">
            <a:extLst>
              <a:ext uri="{FF2B5EF4-FFF2-40B4-BE49-F238E27FC236}">
                <a16:creationId xmlns:a16="http://schemas.microsoft.com/office/drawing/2014/main" id="{DFBA8A4F-3F61-471C-900A-B74E3E819664}"/>
              </a:ext>
              <a:ext uri="{C183D7F6-B498-43B3-948B-1728B52AA6E4}">
                <adec:decorative xmlns:adec="http://schemas.microsoft.com/office/drawing/2017/decorative" val="1"/>
              </a:ext>
            </a:extLst>
          </p:cNvPr>
          <p:cNvSpPr/>
          <p:nvPr/>
        </p:nvSpPr>
        <p:spPr bwMode="auto">
          <a:xfrm>
            <a:off x="269949" y="1993810"/>
            <a:ext cx="3006905" cy="300690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sp>
        <p:nvSpPr>
          <p:cNvPr id="61" name="TextBox 60">
            <a:extLst>
              <a:ext uri="{FF2B5EF4-FFF2-40B4-BE49-F238E27FC236}">
                <a16:creationId xmlns:a16="http://schemas.microsoft.com/office/drawing/2014/main" id="{FE7C3B3B-A85B-4DA2-8FED-DAD84A1EF3B6}"/>
              </a:ext>
            </a:extLst>
          </p:cNvPr>
          <p:cNvSpPr txBox="1"/>
          <p:nvPr/>
        </p:nvSpPr>
        <p:spPr>
          <a:xfrm>
            <a:off x="897118" y="2567242"/>
            <a:ext cx="3537210" cy="2031325"/>
          </a:xfrm>
          <a:prstGeom prst="rect">
            <a:avLst/>
          </a:prstGeom>
          <a:noFill/>
        </p:spPr>
        <p:txBody>
          <a:bodyPr wrap="square">
            <a:spAutoFit/>
          </a:bodyPr>
          <a:lstStyle/>
          <a:p>
            <a:r>
              <a:rPr lang="en-US" dirty="0">
                <a:solidFill>
                  <a:srgbClr val="000000"/>
                </a:solidFill>
                <a:latin typeface="Segoe UI" panose="020B0502040204020203" pitchFamily="34" charset="0"/>
              </a:rPr>
              <a:t>Composite models</a:t>
            </a:r>
          </a:p>
          <a:p>
            <a:pPr lvl="0"/>
            <a:r>
              <a:rPr lang="en-US" dirty="0">
                <a:solidFill>
                  <a:srgbClr val="000000"/>
                </a:solidFill>
                <a:latin typeface="Segoe UI" panose="020B0502040204020203" pitchFamily="34" charset="0"/>
              </a:rPr>
              <a:t>Shared datasets</a:t>
            </a:r>
          </a:p>
          <a:p>
            <a:r>
              <a:rPr lang="en-US" dirty="0">
                <a:solidFill>
                  <a:srgbClr val="000000"/>
                </a:solidFill>
                <a:latin typeface="Segoe UI" panose="020B0502040204020203" pitchFamily="34" charset="0"/>
              </a:rPr>
              <a:t>Linked tables</a:t>
            </a:r>
          </a:p>
          <a:p>
            <a:r>
              <a:rPr lang="en-US" dirty="0">
                <a:solidFill>
                  <a:srgbClr val="000000"/>
                </a:solidFill>
                <a:latin typeface="Segoe UI" panose="020B0502040204020203" pitchFamily="34" charset="0"/>
              </a:rPr>
              <a:t>Office integrations</a:t>
            </a:r>
          </a:p>
          <a:p>
            <a:r>
              <a:rPr lang="en-US" dirty="0">
                <a:solidFill>
                  <a:srgbClr val="000000"/>
                </a:solidFill>
                <a:latin typeface="Segoe UI" panose="020B0502040204020203" pitchFamily="34" charset="0"/>
              </a:rPr>
              <a:t>Azure integrations</a:t>
            </a:r>
          </a:p>
          <a:p>
            <a:r>
              <a:rPr lang="en-US" dirty="0">
                <a:solidFill>
                  <a:srgbClr val="000000"/>
                </a:solidFill>
                <a:latin typeface="Segoe UI" panose="020B0502040204020203" pitchFamily="34" charset="0"/>
              </a:rPr>
              <a:t>Dynamics integrations</a:t>
            </a:r>
          </a:p>
          <a:p>
            <a:r>
              <a:rPr lang="en-US" dirty="0">
                <a:solidFill>
                  <a:srgbClr val="000000"/>
                </a:solidFill>
                <a:latin typeface="Segoe UI" panose="020B0502040204020203" pitchFamily="34" charset="0"/>
              </a:rPr>
              <a:t>  ...</a:t>
            </a:r>
          </a:p>
        </p:txBody>
      </p:sp>
      <p:pic>
        <p:nvPicPr>
          <p:cNvPr id="26" name="Picture 25" descr="A picture containing shape&#10;&#10;Description automatically generated">
            <a:extLst>
              <a:ext uri="{FF2B5EF4-FFF2-40B4-BE49-F238E27FC236}">
                <a16:creationId xmlns:a16="http://schemas.microsoft.com/office/drawing/2014/main" id="{57888D25-86BF-1FB9-65BC-A536E03AAF6B}"/>
              </a:ext>
            </a:extLst>
          </p:cNvPr>
          <p:cNvPicPr>
            <a:picLocks noChangeAspect="1"/>
          </p:cNvPicPr>
          <p:nvPr/>
        </p:nvPicPr>
        <p:blipFill rotWithShape="1">
          <a:blip r:embed="rId9"/>
          <a:srcRect l="29299" t="-1" r="-1" b="26481"/>
          <a:stretch/>
        </p:blipFill>
        <p:spPr>
          <a:xfrm rot="5400000">
            <a:off x="4928172" y="3284715"/>
            <a:ext cx="619426" cy="816815"/>
          </a:xfrm>
          <a:prstGeom prst="rect">
            <a:avLst/>
          </a:prstGeom>
        </p:spPr>
      </p:pic>
      <p:pic>
        <p:nvPicPr>
          <p:cNvPr id="53" name="Picture 52" descr="A picture containing shape&#10;&#10;Description automatically generated">
            <a:extLst>
              <a:ext uri="{FF2B5EF4-FFF2-40B4-BE49-F238E27FC236}">
                <a16:creationId xmlns:a16="http://schemas.microsoft.com/office/drawing/2014/main" id="{8565F088-CC5F-DFB5-32AE-26EC3339D28C}"/>
              </a:ext>
            </a:extLst>
          </p:cNvPr>
          <p:cNvPicPr>
            <a:picLocks noChangeAspect="1"/>
          </p:cNvPicPr>
          <p:nvPr/>
        </p:nvPicPr>
        <p:blipFill rotWithShape="1">
          <a:blip r:embed="rId9"/>
          <a:srcRect l="29299" t="-1" r="-1" b="55308"/>
          <a:stretch/>
        </p:blipFill>
        <p:spPr>
          <a:xfrm rot="16200000" flipH="1">
            <a:off x="3392941" y="3778880"/>
            <a:ext cx="619426" cy="463117"/>
          </a:xfrm>
          <a:prstGeom prst="rect">
            <a:avLst/>
          </a:prstGeom>
        </p:spPr>
      </p:pic>
      <p:pic>
        <p:nvPicPr>
          <p:cNvPr id="31" name="Graphic 30">
            <a:extLst>
              <a:ext uri="{FF2B5EF4-FFF2-40B4-BE49-F238E27FC236}">
                <a16:creationId xmlns:a16="http://schemas.microsoft.com/office/drawing/2014/main" id="{0719BB6D-48EC-1033-4908-7C7D8ECA38A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67507" y="3069032"/>
            <a:ext cx="972913" cy="810761"/>
          </a:xfrm>
          <a:prstGeom prst="rect">
            <a:avLst/>
          </a:prstGeom>
        </p:spPr>
      </p:pic>
      <p:sp>
        <p:nvSpPr>
          <p:cNvPr id="36" name="TextBox 35">
            <a:extLst>
              <a:ext uri="{FF2B5EF4-FFF2-40B4-BE49-F238E27FC236}">
                <a16:creationId xmlns:a16="http://schemas.microsoft.com/office/drawing/2014/main" id="{C8F5599B-785E-4D66-4E43-842D79084B77}"/>
              </a:ext>
            </a:extLst>
          </p:cNvPr>
          <p:cNvSpPr txBox="1"/>
          <p:nvPr/>
        </p:nvSpPr>
        <p:spPr>
          <a:xfrm>
            <a:off x="4088921" y="3930613"/>
            <a:ext cx="1159001" cy="184515"/>
          </a:xfrm>
          <a:prstGeom prst="rect">
            <a:avLst/>
          </a:prstGeom>
          <a:noFill/>
        </p:spPr>
        <p:txBody>
          <a:bodyPr wrap="square" lIns="0" tIns="0" rIns="0" bIns="0" rtlCol="0">
            <a:spAutoFit/>
          </a:bodyPr>
          <a:lstStyle/>
          <a:p>
            <a:r>
              <a:rPr lang="en-US" sz="1199" b="1" dirty="0"/>
              <a:t>Datamart</a:t>
            </a:r>
          </a:p>
        </p:txBody>
      </p:sp>
      <p:pic>
        <p:nvPicPr>
          <p:cNvPr id="48" name="Picture 2" descr="Icon&#10;&#10;Description automatically generated">
            <a:extLst>
              <a:ext uri="{FF2B5EF4-FFF2-40B4-BE49-F238E27FC236}">
                <a16:creationId xmlns:a16="http://schemas.microsoft.com/office/drawing/2014/main" id="{2AB9B250-4B78-DCF8-A4BC-2C6A24A73E8C}"/>
              </a:ext>
            </a:extLst>
          </p:cNvPr>
          <p:cNvPicPr>
            <a:picLocks noChangeAspect="1" noChangeArrowheads="1"/>
          </p:cNvPicPr>
          <p:nvPr/>
        </p:nvPicPr>
        <p:blipFill rotWithShape="1">
          <a:blip r:embed="rId4">
            <a:biLevel thresh="75000"/>
            <a:extLst>
              <a:ext uri="{28A0092B-C50C-407E-A947-70E740481C1C}">
                <a14:useLocalDpi xmlns:a14="http://schemas.microsoft.com/office/drawing/2010/main" val="0"/>
              </a:ext>
            </a:extLst>
          </a:blip>
          <a:srcRect l="15179" r="14947"/>
          <a:stretch/>
        </p:blipFill>
        <p:spPr bwMode="auto">
          <a:xfrm>
            <a:off x="3436526" y="4390523"/>
            <a:ext cx="735981" cy="551089"/>
          </a:xfrm>
          <a:prstGeom prst="rect">
            <a:avLst/>
          </a:prstGeom>
          <a:noFill/>
        </p:spPr>
      </p:pic>
      <p:pic>
        <p:nvPicPr>
          <p:cNvPr id="64" name="Picture 63" descr="A picture containing shape&#10;&#10;Description automatically generated">
            <a:extLst>
              <a:ext uri="{FF2B5EF4-FFF2-40B4-BE49-F238E27FC236}">
                <a16:creationId xmlns:a16="http://schemas.microsoft.com/office/drawing/2014/main" id="{B153BEF5-B2C2-7032-9213-EF1F0E1452B0}"/>
              </a:ext>
            </a:extLst>
          </p:cNvPr>
          <p:cNvPicPr>
            <a:picLocks noChangeAspect="1"/>
          </p:cNvPicPr>
          <p:nvPr/>
        </p:nvPicPr>
        <p:blipFill rotWithShape="1">
          <a:blip r:embed="rId9"/>
          <a:srcRect l="29299" t="-1" r="-1" b="39433"/>
          <a:stretch/>
        </p:blipFill>
        <p:spPr>
          <a:xfrm rot="10800000" flipV="1">
            <a:off x="3934427" y="4785633"/>
            <a:ext cx="619426" cy="672915"/>
          </a:xfrm>
          <a:prstGeom prst="rect">
            <a:avLst/>
          </a:prstGeom>
        </p:spPr>
      </p:pic>
      <p:sp>
        <p:nvSpPr>
          <p:cNvPr id="67" name="TextBox 66">
            <a:extLst>
              <a:ext uri="{FF2B5EF4-FFF2-40B4-BE49-F238E27FC236}">
                <a16:creationId xmlns:a16="http://schemas.microsoft.com/office/drawing/2014/main" id="{B8D7F6F7-4B4A-A599-3291-941EC7E92545}"/>
              </a:ext>
            </a:extLst>
          </p:cNvPr>
          <p:cNvSpPr txBox="1"/>
          <p:nvPr/>
        </p:nvSpPr>
        <p:spPr>
          <a:xfrm>
            <a:off x="3854422" y="4320179"/>
            <a:ext cx="1159001" cy="184515"/>
          </a:xfrm>
          <a:prstGeom prst="rect">
            <a:avLst/>
          </a:prstGeom>
          <a:noFill/>
        </p:spPr>
        <p:txBody>
          <a:bodyPr wrap="square" lIns="0" tIns="0" rIns="0" bIns="0" rtlCol="0">
            <a:spAutoFit/>
          </a:bodyPr>
          <a:lstStyle/>
          <a:p>
            <a:r>
              <a:rPr lang="en-US" sz="1199" b="1" dirty="0"/>
              <a:t>Dataset</a:t>
            </a:r>
          </a:p>
        </p:txBody>
      </p:sp>
      <p:pic>
        <p:nvPicPr>
          <p:cNvPr id="22" name="Graphic 21">
            <a:extLst>
              <a:ext uri="{FF2B5EF4-FFF2-40B4-BE49-F238E27FC236}">
                <a16:creationId xmlns:a16="http://schemas.microsoft.com/office/drawing/2014/main" id="{52836229-B82F-B4BB-951A-3F428D115AE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33820" y="3722507"/>
            <a:ext cx="620436" cy="709070"/>
          </a:xfrm>
          <a:prstGeom prst="rect">
            <a:avLst/>
          </a:prstGeom>
        </p:spPr>
      </p:pic>
    </p:spTree>
    <p:extLst>
      <p:ext uri="{BB962C8B-B14F-4D97-AF65-F5344CB8AC3E}">
        <p14:creationId xmlns:p14="http://schemas.microsoft.com/office/powerpoint/2010/main" val="1827504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 Pane or Slicer</a:t>
            </a:r>
          </a:p>
        </p:txBody>
      </p:sp>
      <p:sp>
        <p:nvSpPr>
          <p:cNvPr id="7" name="Text Placeholder 2">
            <a:extLst>
              <a:ext uri="{FF2B5EF4-FFF2-40B4-BE49-F238E27FC236}">
                <a16:creationId xmlns:a16="http://schemas.microsoft.com/office/drawing/2014/main" id="{178C877C-F79F-5F8E-D401-7CA47E7DF657}"/>
              </a:ext>
            </a:extLst>
          </p:cNvPr>
          <p:cNvSpPr txBox="1">
            <a:spLocks/>
          </p:cNvSpPr>
          <p:nvPr/>
        </p:nvSpPr>
        <p:spPr>
          <a:xfrm>
            <a:off x="595915" y="1464074"/>
            <a:ext cx="11697685" cy="3290003"/>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dirty="0"/>
              <a:t>Filter pane</a:t>
            </a:r>
          </a:p>
          <a:p>
            <a:pPr lvl="1"/>
            <a:r>
              <a:rPr lang="en-US" dirty="0"/>
              <a:t>Advantages; same location, advanced filtering, better performance</a:t>
            </a:r>
          </a:p>
          <a:p>
            <a:pPr lvl="1"/>
            <a:r>
              <a:rPr lang="en-US" dirty="0"/>
              <a:t>Disadvantages; less design flexibility, more difficult to see which filters are applied</a:t>
            </a:r>
          </a:p>
          <a:p>
            <a:pPr lvl="1"/>
            <a:endParaRPr lang="en-US" dirty="0"/>
          </a:p>
          <a:p>
            <a:pPr marL="0" indent="0">
              <a:buNone/>
            </a:pPr>
            <a:r>
              <a:rPr lang="en-US" b="1" dirty="0"/>
              <a:t>Slicers</a:t>
            </a:r>
          </a:p>
          <a:p>
            <a:pPr lvl="1"/>
            <a:r>
              <a:rPr lang="en-US" dirty="0"/>
              <a:t>Advantages; intuitive layout on report canvas, hierarchical slicer, filter context visible, support edit visual interaction, synced slicers</a:t>
            </a:r>
          </a:p>
          <a:p>
            <a:pPr lvl="1"/>
            <a:r>
              <a:rPr lang="en-US" dirty="0"/>
              <a:t>Disadvantages; can impact performance, take up space in report canvas</a:t>
            </a:r>
          </a:p>
        </p:txBody>
      </p:sp>
    </p:spTree>
    <p:extLst>
      <p:ext uri="{BB962C8B-B14F-4D97-AF65-F5344CB8AC3E}">
        <p14:creationId xmlns:p14="http://schemas.microsoft.com/office/powerpoint/2010/main" val="18369262"/>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Filtering Tips</a:t>
            </a:r>
          </a:p>
        </p:txBody>
      </p:sp>
      <p:sp>
        <p:nvSpPr>
          <p:cNvPr id="2" name="Text Placeholder 2">
            <a:extLst>
              <a:ext uri="{FF2B5EF4-FFF2-40B4-BE49-F238E27FC236}">
                <a16:creationId xmlns:a16="http://schemas.microsoft.com/office/drawing/2014/main" id="{0AF5C69C-4F07-7439-ED0F-F5C314512EEE}"/>
              </a:ext>
            </a:extLst>
          </p:cNvPr>
          <p:cNvSpPr txBox="1">
            <a:spLocks/>
          </p:cNvSpPr>
          <p:nvPr/>
        </p:nvSpPr>
        <p:spPr>
          <a:xfrm>
            <a:off x="595915" y="1464074"/>
            <a:ext cx="11239464" cy="3717171"/>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Use either filters or slicers. </a:t>
            </a:r>
          </a:p>
          <a:p>
            <a:pPr lvl="1"/>
            <a:r>
              <a:rPr lang="en-US" dirty="0"/>
              <a:t>Avoid using both filter techniques because it can create confusion.</a:t>
            </a:r>
          </a:p>
          <a:p>
            <a:r>
              <a:rPr lang="en-US" dirty="0"/>
              <a:t>Create a bookmark to reset all slicers to default values</a:t>
            </a:r>
          </a:p>
          <a:p>
            <a:r>
              <a:rPr lang="en-US" dirty="0"/>
              <a:t>When a requirement is in place to lay out many slicers, consider creating a page that is dedicated to showing all slicers.</a:t>
            </a:r>
          </a:p>
        </p:txBody>
      </p:sp>
    </p:spTree>
    <p:extLst>
      <p:ext uri="{BB962C8B-B14F-4D97-AF65-F5344CB8AC3E}">
        <p14:creationId xmlns:p14="http://schemas.microsoft.com/office/powerpoint/2010/main" val="2215071468"/>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Before Publishing</a:t>
            </a:r>
          </a:p>
        </p:txBody>
      </p:sp>
      <p:sp>
        <p:nvSpPr>
          <p:cNvPr id="2" name="Text Placeholder 2">
            <a:extLst>
              <a:ext uri="{FF2B5EF4-FFF2-40B4-BE49-F238E27FC236}">
                <a16:creationId xmlns:a16="http://schemas.microsoft.com/office/drawing/2014/main" id="{A8FEC8D0-DDE3-150B-5F9F-713A64DFFD4C}"/>
              </a:ext>
            </a:extLst>
          </p:cNvPr>
          <p:cNvSpPr txBox="1">
            <a:spLocks/>
          </p:cNvSpPr>
          <p:nvPr/>
        </p:nvSpPr>
        <p:spPr>
          <a:xfrm>
            <a:off x="595915" y="1464074"/>
            <a:ext cx="11840560" cy="5851795"/>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b="1" dirty="0"/>
              <a:t>Testing</a:t>
            </a:r>
          </a:p>
          <a:p>
            <a:pPr lvl="1"/>
            <a:r>
              <a:rPr lang="en-US" dirty="0"/>
              <a:t>User acceptance test, test on different interfaces (Service, mobile app, embedded), Performance!</a:t>
            </a:r>
          </a:p>
          <a:p>
            <a:pPr marL="0" indent="0">
              <a:buNone/>
            </a:pPr>
            <a:r>
              <a:rPr lang="en-US" b="1" dirty="0"/>
              <a:t>Prepare for publication</a:t>
            </a:r>
          </a:p>
          <a:p>
            <a:pPr lvl="1"/>
            <a:r>
              <a:rPr lang="en-US" dirty="0"/>
              <a:t>Set intended initial experience, e.g., define first page, reset filters and slicers, visual drill state, sort orders, and button state</a:t>
            </a:r>
          </a:p>
          <a:p>
            <a:pPr marL="0" indent="0">
              <a:buNone/>
            </a:pPr>
            <a:r>
              <a:rPr lang="en-US" b="1" dirty="0"/>
              <a:t>Provide support</a:t>
            </a:r>
          </a:p>
          <a:p>
            <a:pPr lvl="1"/>
            <a:r>
              <a:rPr lang="en-US" dirty="0"/>
              <a:t>Training, built-in assistance, documentation</a:t>
            </a:r>
          </a:p>
          <a:p>
            <a:pPr marL="0" indent="0">
              <a:buNone/>
            </a:pPr>
            <a:r>
              <a:rPr lang="en-US" b="1" dirty="0"/>
              <a:t>Manage change</a:t>
            </a:r>
          </a:p>
          <a:p>
            <a:pPr lvl="1"/>
            <a:r>
              <a:rPr lang="en-US" dirty="0"/>
              <a:t>Often, it's better to publish a new report that includes many updates than release smaller incremental changes, consider using Deployment pipelines</a:t>
            </a:r>
          </a:p>
          <a:p>
            <a:pPr marL="0" indent="0">
              <a:buNone/>
            </a:pPr>
            <a:r>
              <a:rPr lang="en-US" b="1" dirty="0"/>
              <a:t>And…</a:t>
            </a:r>
          </a:p>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1449389869"/>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Validate The Performance</a:t>
            </a:r>
          </a:p>
        </p:txBody>
      </p:sp>
      <p:sp>
        <p:nvSpPr>
          <p:cNvPr id="4" name="TextBox 3">
            <a:extLst>
              <a:ext uri="{FF2B5EF4-FFF2-40B4-BE49-F238E27FC236}">
                <a16:creationId xmlns:a16="http://schemas.microsoft.com/office/drawing/2014/main" id="{88EE4C34-F967-7F63-54BB-7A208E0344B3}"/>
              </a:ext>
            </a:extLst>
          </p:cNvPr>
          <p:cNvSpPr txBox="1"/>
          <p:nvPr/>
        </p:nvSpPr>
        <p:spPr>
          <a:xfrm>
            <a:off x="600059" y="1722664"/>
            <a:ext cx="5862978" cy="738664"/>
          </a:xfrm>
          <a:prstGeom prst="rect">
            <a:avLst/>
          </a:prstGeom>
          <a:noFill/>
        </p:spPr>
        <p:txBody>
          <a:bodyPr wrap="square" lIns="0" tIns="0" rIns="0" bIns="0" rtlCol="0">
            <a:spAutoFit/>
          </a:bodyPr>
          <a:lstStyle/>
          <a:p>
            <a:pPr algn="l"/>
            <a:r>
              <a:rPr lang="en-US" sz="2400" dirty="0"/>
              <a:t>If it doesn’t perform in Power BI Desktop, don’t expect it to in the service!</a:t>
            </a:r>
          </a:p>
        </p:txBody>
      </p:sp>
      <p:pic>
        <p:nvPicPr>
          <p:cNvPr id="6" name="Picture 5">
            <a:extLst>
              <a:ext uri="{FF2B5EF4-FFF2-40B4-BE49-F238E27FC236}">
                <a16:creationId xmlns:a16="http://schemas.microsoft.com/office/drawing/2014/main" id="{77761A04-9BF5-06B2-05C2-840346C315E7}"/>
              </a:ext>
            </a:extLst>
          </p:cNvPr>
          <p:cNvPicPr>
            <a:picLocks noChangeAspect="1"/>
          </p:cNvPicPr>
          <p:nvPr/>
        </p:nvPicPr>
        <p:blipFill>
          <a:blip r:embed="rId2"/>
          <a:stretch>
            <a:fillRect/>
          </a:stretch>
        </p:blipFill>
        <p:spPr>
          <a:xfrm>
            <a:off x="6607060" y="1722664"/>
            <a:ext cx="5227769" cy="4368921"/>
          </a:xfrm>
          <a:prstGeom prst="rect">
            <a:avLst/>
          </a:prstGeom>
        </p:spPr>
      </p:pic>
    </p:spTree>
    <p:extLst>
      <p:ext uri="{BB962C8B-B14F-4D97-AF65-F5344CB8AC3E}">
        <p14:creationId xmlns:p14="http://schemas.microsoft.com/office/powerpoint/2010/main" val="1301839477"/>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esign For Accessibility</a:t>
            </a:r>
          </a:p>
        </p:txBody>
      </p:sp>
      <p:sp>
        <p:nvSpPr>
          <p:cNvPr id="2" name="Text Placeholder 2">
            <a:extLst>
              <a:ext uri="{FF2B5EF4-FFF2-40B4-BE49-F238E27FC236}">
                <a16:creationId xmlns:a16="http://schemas.microsoft.com/office/drawing/2014/main" id="{973E70A4-87F5-41F9-829A-C4FD21CB3ED8}"/>
              </a:ext>
            </a:extLst>
          </p:cNvPr>
          <p:cNvSpPr txBox="1">
            <a:spLocks/>
          </p:cNvSpPr>
          <p:nvPr/>
        </p:nvSpPr>
        <p:spPr>
          <a:xfrm>
            <a:off x="595915" y="1464074"/>
            <a:ext cx="10649935" cy="4644626"/>
          </a:xfrm>
          <a:prstGeom prst="rect">
            <a:avLst/>
          </a:prstGeom>
        </p:spPr>
        <p:txBody>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r>
              <a:rPr lang="en-US" dirty="0"/>
              <a:t>Avoid creating a new report version that addresses a particular accessibility requirement</a:t>
            </a:r>
          </a:p>
          <a:p>
            <a:r>
              <a:rPr lang="en-US" dirty="0"/>
              <a:t>Styling </a:t>
            </a:r>
          </a:p>
          <a:p>
            <a:pPr lvl="1"/>
            <a:r>
              <a:rPr lang="en-US" dirty="0"/>
              <a:t>Larger fonts, color blindness. E.g., built-in theme Color blind safe or High contrast</a:t>
            </a:r>
          </a:p>
          <a:p>
            <a:r>
              <a:rPr lang="en-US" dirty="0"/>
              <a:t>Alt text </a:t>
            </a:r>
          </a:p>
          <a:p>
            <a:pPr lvl="1"/>
            <a:r>
              <a:rPr lang="en-US" dirty="0"/>
              <a:t>Can describe the appearance and function of report objects to screen reader users</a:t>
            </a:r>
          </a:p>
          <a:p>
            <a:r>
              <a:rPr lang="en-US" dirty="0"/>
              <a:t>Tab order </a:t>
            </a:r>
          </a:p>
          <a:p>
            <a:pPr lvl="1"/>
            <a:r>
              <a:rPr lang="en-US" dirty="0"/>
              <a:t>Build a logical sequence</a:t>
            </a:r>
          </a:p>
          <a:p>
            <a:r>
              <a:rPr lang="en-US" dirty="0"/>
              <a:t>Conditional formatting </a:t>
            </a:r>
          </a:p>
          <a:p>
            <a:pPr lvl="1"/>
            <a:r>
              <a:rPr lang="en-US" dirty="0"/>
              <a:t>Use icons and colors</a:t>
            </a:r>
          </a:p>
        </p:txBody>
      </p:sp>
    </p:spTree>
    <p:extLst>
      <p:ext uri="{BB962C8B-B14F-4D97-AF65-F5344CB8AC3E}">
        <p14:creationId xmlns:p14="http://schemas.microsoft.com/office/powerpoint/2010/main" val="2009408845"/>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9438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954242"/>
          </a:xfrm>
        </p:spPr>
        <p:txBody>
          <a:bodyPr/>
          <a:lstStyle/>
          <a:p>
            <a:r>
              <a:rPr lang="en-US"/>
              <a:t>Navigation between three levels:</a:t>
            </a:r>
          </a:p>
          <a:p>
            <a:pPr lvl="1"/>
            <a:r>
              <a:rPr lang="en-US"/>
              <a:t>High-level metrics (simple)</a:t>
            </a:r>
          </a:p>
        </p:txBody>
      </p:sp>
      <p:grpSp>
        <p:nvGrpSpPr>
          <p:cNvPr id="10" name="Group 9">
            <a:extLst>
              <a:ext uri="{FF2B5EF4-FFF2-40B4-BE49-F238E27FC236}">
                <a16:creationId xmlns:a16="http://schemas.microsoft.com/office/drawing/2014/main" id="{79B7EDE5-F314-4FF0-8BFC-91958366F399}"/>
              </a:ext>
            </a:extLst>
          </p:cNvPr>
          <p:cNvGrpSpPr/>
          <p:nvPr/>
        </p:nvGrpSpPr>
        <p:grpSpPr>
          <a:xfrm>
            <a:off x="4458697" y="2516734"/>
            <a:ext cx="7969121" cy="4442907"/>
            <a:chOff x="4459266" y="2516609"/>
            <a:chExt cx="7970138" cy="4443474"/>
          </a:xfrm>
        </p:grpSpPr>
        <p:pic>
          <p:nvPicPr>
            <p:cNvPr id="7" name="Picture 6">
              <a:extLst>
                <a:ext uri="{FF2B5EF4-FFF2-40B4-BE49-F238E27FC236}">
                  <a16:creationId xmlns:a16="http://schemas.microsoft.com/office/drawing/2014/main" id="{73D465AA-2A46-44AF-AC5F-C84B1A8ED5A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9" name="Rectangle 8">
              <a:extLst>
                <a:ext uri="{FF2B5EF4-FFF2-40B4-BE49-F238E27FC236}">
                  <a16:creationId xmlns:a16="http://schemas.microsoft.com/office/drawing/2014/main" id="{34B40E74-3359-461E-816E-9CD2A61C948B}"/>
                </a:ext>
              </a:extLst>
            </p:cNvPr>
            <p:cNvSpPr/>
            <p:nvPr/>
          </p:nvSpPr>
          <p:spPr bwMode="auto">
            <a:xfrm>
              <a:off x="4597052" y="2788345"/>
              <a:ext cx="4033381" cy="556103"/>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979941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8238D45-9E42-496C-82D0-6FE0E7972971}"/>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CD9FB8AD-4770-466C-BB18-2B8E4246E4F5}"/>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6AFBCE7C-D6CB-40E4-8672-E14F985C909B}"/>
                </a:ext>
              </a:extLst>
            </p:cNvPr>
            <p:cNvSpPr/>
            <p:nvPr/>
          </p:nvSpPr>
          <p:spPr bwMode="auto">
            <a:xfrm>
              <a:off x="4597052" y="3497262"/>
              <a:ext cx="4033381" cy="116242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406231"/>
          </a:xfrm>
          <a:solidFill>
            <a:schemeClr val="bg1"/>
          </a:solidFill>
        </p:spPr>
        <p:txBody>
          <a:bodyPr/>
          <a:lstStyle/>
          <a:p>
            <a:r>
              <a:rPr lang="en-US"/>
              <a:t>Navigation between three levels:</a:t>
            </a:r>
          </a:p>
          <a:p>
            <a:pPr lvl="1"/>
            <a:r>
              <a:rPr lang="en-US"/>
              <a:t>High-level metrics (simple)</a:t>
            </a:r>
          </a:p>
          <a:p>
            <a:pPr lvl="1"/>
            <a:r>
              <a:rPr lang="en-US"/>
              <a:t>Supporting visuals (more context)</a:t>
            </a:r>
          </a:p>
        </p:txBody>
      </p:sp>
    </p:spTree>
    <p:extLst>
      <p:ext uri="{BB962C8B-B14F-4D97-AF65-F5344CB8AC3E}">
        <p14:creationId xmlns:p14="http://schemas.microsoft.com/office/powerpoint/2010/main" val="38947535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AEC4503-BFB5-4D34-8112-4CE619E75DF8}"/>
              </a:ext>
            </a:extLst>
          </p:cNvPr>
          <p:cNvGrpSpPr/>
          <p:nvPr/>
        </p:nvGrpSpPr>
        <p:grpSpPr>
          <a:xfrm>
            <a:off x="4458697" y="2516734"/>
            <a:ext cx="7969121" cy="4442907"/>
            <a:chOff x="4459266" y="2516609"/>
            <a:chExt cx="7970138" cy="4443474"/>
          </a:xfrm>
        </p:grpSpPr>
        <p:pic>
          <p:nvPicPr>
            <p:cNvPr id="5" name="Picture 4">
              <a:extLst>
                <a:ext uri="{FF2B5EF4-FFF2-40B4-BE49-F238E27FC236}">
                  <a16:creationId xmlns:a16="http://schemas.microsoft.com/office/drawing/2014/main" id="{2CAF34C8-1FB9-408E-99E8-E6E0F91A9581}"/>
                </a:ext>
              </a:extLst>
            </p:cNvPr>
            <p:cNvPicPr>
              <a:picLocks noChangeAspect="1"/>
            </p:cNvPicPr>
            <p:nvPr/>
          </p:nvPicPr>
          <p:blipFill>
            <a:blip r:embed="rId2"/>
            <a:stretch>
              <a:fillRect/>
            </a:stretch>
          </p:blipFill>
          <p:spPr>
            <a:xfrm>
              <a:off x="4459266" y="2516609"/>
              <a:ext cx="7970138" cy="4443474"/>
            </a:xfrm>
            <a:prstGeom prst="rect">
              <a:avLst/>
            </a:prstGeom>
          </p:spPr>
        </p:pic>
        <p:sp>
          <p:nvSpPr>
            <p:cNvPr id="7" name="Rectangle 6">
              <a:extLst>
                <a:ext uri="{FF2B5EF4-FFF2-40B4-BE49-F238E27FC236}">
                  <a16:creationId xmlns:a16="http://schemas.microsoft.com/office/drawing/2014/main" id="{20372236-4C1C-4D03-AEC7-C9139317895F}"/>
                </a:ext>
              </a:extLst>
            </p:cNvPr>
            <p:cNvSpPr/>
            <p:nvPr/>
          </p:nvSpPr>
          <p:spPr bwMode="auto">
            <a:xfrm>
              <a:off x="8630433" y="5047989"/>
              <a:ext cx="3594970" cy="1505286"/>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Guided Analytical Experie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2234879"/>
          </a:xfrm>
          <a:solidFill>
            <a:schemeClr val="bg1"/>
          </a:solidFill>
        </p:spPr>
        <p:txBody>
          <a:bodyPr/>
          <a:lstStyle/>
          <a:p>
            <a:r>
              <a:rPr lang="en-US"/>
              <a:t>Navigation between three levels:</a:t>
            </a:r>
          </a:p>
          <a:p>
            <a:pPr lvl="1"/>
            <a:r>
              <a:rPr lang="en-US"/>
              <a:t>High-level metrics (simple)</a:t>
            </a:r>
          </a:p>
          <a:p>
            <a:pPr lvl="1"/>
            <a:r>
              <a:rPr lang="en-US"/>
              <a:t>Supporting visuals (more context)</a:t>
            </a:r>
          </a:p>
          <a:p>
            <a:pPr lvl="1"/>
            <a:r>
              <a:rPr lang="en-US"/>
              <a:t>Details, when required (drill, tooltips (visual/page), </a:t>
            </a:r>
            <a:r>
              <a:rPr lang="en-US" err="1"/>
              <a:t>drillthrough</a:t>
            </a:r>
            <a:r>
              <a:rPr lang="en-US"/>
              <a:t>, paginated report visual)</a:t>
            </a:r>
          </a:p>
        </p:txBody>
      </p:sp>
    </p:spTree>
    <p:extLst>
      <p:ext uri="{BB962C8B-B14F-4D97-AF65-F5344CB8AC3E}">
        <p14:creationId xmlns:p14="http://schemas.microsoft.com/office/powerpoint/2010/main" val="379417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Conditional formatting (colors, data bars, icons)</a:t>
            </a:r>
          </a:p>
        </p:txBody>
      </p:sp>
      <p:pic>
        <p:nvPicPr>
          <p:cNvPr id="1028" name="Picture 4" descr="Image shows a matrix visual titled &quot;Inventory on hand breakdown&quot;. The On hand column includes various city values. A circular icon indicates highest and lowest values. An empty circle represents the lowest value; a filled circle represents the highest value.">
            <a:extLst>
              <a:ext uri="{FF2B5EF4-FFF2-40B4-BE49-F238E27FC236}">
                <a16:creationId xmlns:a16="http://schemas.microsoft.com/office/drawing/2014/main" id="{5C18E91F-5166-40AA-8CE9-25EA881BC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455514"/>
            <a:ext cx="6480000" cy="353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7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30" name="Block Arc 29">
              <a:extLst>
                <a:ext uri="{FF2B5EF4-FFF2-40B4-BE49-F238E27FC236}">
                  <a16:creationId xmlns:a16="http://schemas.microsoft.com/office/drawing/2014/main" id="{839F9D70-B90A-48B9-BF7E-5AD2F1CC8279}"/>
                </a:ext>
              </a:extLst>
            </p:cNvPr>
            <p:cNvSpPr/>
            <p:nvPr>
              <p:custDataLst>
                <p:tags r:id="rId88"/>
              </p:custDataLst>
            </p:nvPr>
          </p:nvSpPr>
          <p:spPr bwMode="auto">
            <a:xfrm rot="1095349">
              <a:off x="1600199" y="1079499"/>
              <a:ext cx="4559300" cy="4559300"/>
            </a:xfrm>
            <a:prstGeom prst="blockArc">
              <a:avLst>
                <a:gd name="adj1" fmla="val 2160000"/>
                <a:gd name="adj2" fmla="val 4288886"/>
                <a:gd name="adj3" fmla="val 24078"/>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9"/>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90"/>
              </p:custDataLst>
            </p:nvPr>
          </p:nvSpPr>
          <p:spPr bwMode="auto">
            <a:xfrm rot="1095349">
              <a:off x="1462733" y="942033"/>
              <a:ext cx="4834232" cy="4834232"/>
            </a:xfrm>
            <a:prstGeom prst="blockArc">
              <a:avLst>
                <a:gd name="adj1" fmla="val 17280000"/>
                <a:gd name="adj2" fmla="val 1944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1"/>
              </p:custDataLst>
            </p:nvPr>
          </p:nvSpPr>
          <p:spPr bwMode="auto">
            <a:xfrm rot="1095349">
              <a:off x="1499088" y="978388"/>
              <a:ext cx="4761522" cy="4761522"/>
            </a:xfrm>
            <a:prstGeom prst="blockArc">
              <a:avLst>
                <a:gd name="adj1" fmla="val 19440000"/>
                <a:gd name="adj2" fmla="val 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extLst>
                <p:ext uri="{D42A27DB-BD31-4B8C-83A1-F6EECF244321}">
                  <p14:modId xmlns:p14="http://schemas.microsoft.com/office/powerpoint/2010/main" val="1571214177"/>
                </p:ext>
              </p:extLst>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4" imgW="1397160" imgH="1606680" progId="Paint.Picture.1">
                    <p:embed/>
                  </p:oleObj>
                </mc:Choice>
                <mc:Fallback>
                  <p:oleObj name="Bitmap Image" r:id="rId94"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5"/>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503546"/>
            <a:chOff x="5889037" y="1419924"/>
            <a:chExt cx="6141097" cy="45041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2246769"/>
            </a:xfrm>
            <a:prstGeom prst="rect">
              <a:avLst/>
            </a:prstGeom>
            <a:noFill/>
          </p:spPr>
          <p:txBody>
            <a:bodyPr wrap="square">
              <a:spAutoFit/>
            </a:bodyPr>
            <a:lstStyle/>
            <a:p>
              <a:r>
                <a:rPr lang="en-US" sz="2800" dirty="0">
                  <a:solidFill>
                    <a:srgbClr val="171717"/>
                  </a:solidFill>
                  <a:latin typeface="+mj-lt"/>
                </a:rPr>
                <a:t>For enterprise scale deployments, it's recommended to separate the data preparation, dataset, and report development from a single file solution.</a:t>
              </a:r>
              <a:endParaRPr lang="en-US" sz="1400" dirty="0">
                <a:solidFill>
                  <a:srgbClr val="000000"/>
                </a:solidFill>
              </a:endParaRP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a:solidFill>
                    <a:srgbClr val="FFC000"/>
                  </a:solidFill>
                </a:rPr>
                <a:t>Separating Development</a:t>
              </a:r>
            </a:p>
          </p:txBody>
        </p:sp>
        <p:sp>
          <p:nvSpPr>
            <p:cNvPr id="156" name="TextBox 155">
              <a:extLst>
                <a:ext uri="{FF2B5EF4-FFF2-40B4-BE49-F238E27FC236}">
                  <a16:creationId xmlns:a16="http://schemas.microsoft.com/office/drawing/2014/main" id="{8A78C84C-3B7A-40AD-89B6-D81EF198D335}"/>
                </a:ext>
              </a:extLst>
            </p:cNvPr>
            <p:cNvSpPr txBox="1"/>
            <p:nvPr/>
          </p:nvSpPr>
          <p:spPr>
            <a:xfrm>
              <a:off x="5932654" y="5000715"/>
              <a:ext cx="5735702" cy="923330"/>
            </a:xfrm>
            <a:prstGeom prst="rect">
              <a:avLst/>
            </a:prstGeom>
            <a:noFill/>
          </p:spPr>
          <p:txBody>
            <a:bodyPr wrap="square">
              <a:spAutoFit/>
            </a:bodyPr>
            <a:lstStyle/>
            <a:p>
              <a:pPr lvl="0"/>
              <a:r>
                <a:rPr lang="en-US" dirty="0">
                  <a:solidFill>
                    <a:srgbClr val="000000"/>
                  </a:solidFill>
                </a:rPr>
                <a:t>This technique allows different creators to work independently and collaboratively by sharing components.</a:t>
              </a:r>
            </a:p>
          </p:txBody>
        </p:sp>
      </p:grpSp>
    </p:spTree>
    <p:extLst>
      <p:ext uri="{BB962C8B-B14F-4D97-AF65-F5344CB8AC3E}">
        <p14:creationId xmlns:p14="http://schemas.microsoft.com/office/powerpoint/2010/main" val="26316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105111"/>
          </a:xfrm>
        </p:spPr>
        <p:txBody>
          <a:bodyPr/>
          <a:lstStyle/>
          <a:p>
            <a:r>
              <a:rPr lang="en-US"/>
              <a:t>Conditional formatting (colors, data bars, icons)</a:t>
            </a:r>
          </a:p>
          <a:p>
            <a:r>
              <a:rPr lang="en-US"/>
              <a:t>Overlaid analytics (e.g., trend line, constant line, min/max line)</a:t>
            </a:r>
          </a:p>
        </p:txBody>
      </p:sp>
      <p:pic>
        <p:nvPicPr>
          <p:cNvPr id="2050" name="Picture 2" descr="Image shows a line chart titled Returns over time. The time series is for returns made during the month of June . An overlaid trend line that is a dashed line indicates that returns are increasing over time.">
            <a:extLst>
              <a:ext uri="{FF2B5EF4-FFF2-40B4-BE49-F238E27FC236}">
                <a16:creationId xmlns:a16="http://schemas.microsoft.com/office/drawing/2014/main" id="{DAABE8B8-3802-4E02-BE57-77AA917D4E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922559"/>
            <a:ext cx="6480000" cy="2699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568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39" y="1464333"/>
            <a:ext cx="11839049" cy="1707903"/>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p:txBody>
      </p:sp>
      <p:pic>
        <p:nvPicPr>
          <p:cNvPr id="3074" name="Picture 2" descr="Graphical user interface Description automatically generated.">
            <a:extLst>
              <a:ext uri="{FF2B5EF4-FFF2-40B4-BE49-F238E27FC236}">
                <a16:creationId xmlns:a16="http://schemas.microsoft.com/office/drawing/2014/main" id="{5AB3B273-8C07-484D-A3CD-93DDB24A34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397845"/>
            <a:ext cx="6480000" cy="3115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1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echniques To Highlight Value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711821" cy="2310697"/>
          </a:xfrm>
        </p:spPr>
        <p:txBody>
          <a:bodyPr/>
          <a:lstStyle/>
          <a:p>
            <a:r>
              <a:rPr lang="en-US"/>
              <a:t>Conditional formatting (colors, data bars, icons)</a:t>
            </a:r>
          </a:p>
          <a:p>
            <a:r>
              <a:rPr lang="en-US"/>
              <a:t>Overlaid analytics (e.g., trend line, constant line, min/max line)</a:t>
            </a:r>
          </a:p>
          <a:p>
            <a:r>
              <a:rPr lang="en-US"/>
              <a:t>Anomaly detection (for line chart with date field)</a:t>
            </a:r>
          </a:p>
          <a:p>
            <a:r>
              <a:rPr lang="en-US"/>
              <a:t>Specialized visuals (Key influencers, Decomposition Tree)</a:t>
            </a:r>
          </a:p>
        </p:txBody>
      </p:sp>
    </p:spTree>
    <p:extLst>
      <p:ext uri="{BB962C8B-B14F-4D97-AF65-F5344CB8AC3E}">
        <p14:creationId xmlns:p14="http://schemas.microsoft.com/office/powerpoint/2010/main" val="2918814522"/>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e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214598"/>
          </a:xfrm>
        </p:spPr>
        <p:txBody>
          <a:bodyPr/>
          <a:lstStyle/>
          <a:p>
            <a:r>
              <a:rPr lang="en-US"/>
              <a:t>Support six different actions</a:t>
            </a:r>
          </a:p>
          <a:p>
            <a:pPr lvl="1"/>
            <a:r>
              <a:rPr lang="en-US"/>
              <a:t>Back</a:t>
            </a:r>
          </a:p>
          <a:p>
            <a:pPr lvl="1"/>
            <a:r>
              <a:rPr lang="en-US"/>
              <a:t>Q&amp;A</a:t>
            </a:r>
          </a:p>
          <a:p>
            <a:pPr lvl="1"/>
            <a:r>
              <a:rPr lang="en-US"/>
              <a:t>Bookmark</a:t>
            </a:r>
          </a:p>
          <a:p>
            <a:pPr lvl="1"/>
            <a:r>
              <a:rPr lang="en-US" err="1"/>
              <a:t>Drillthrough</a:t>
            </a:r>
            <a:endParaRPr lang="en-US"/>
          </a:p>
          <a:p>
            <a:pPr lvl="1"/>
            <a:r>
              <a:rPr lang="en-US"/>
              <a:t>Page navigation</a:t>
            </a:r>
          </a:p>
          <a:p>
            <a:pPr lvl="1"/>
            <a:r>
              <a:rPr lang="en-US"/>
              <a:t>Web URL</a:t>
            </a:r>
          </a:p>
        </p:txBody>
      </p:sp>
    </p:spTree>
    <p:extLst>
      <p:ext uri="{BB962C8B-B14F-4D97-AF65-F5344CB8AC3E}">
        <p14:creationId xmlns:p14="http://schemas.microsoft.com/office/powerpoint/2010/main" val="1447329896"/>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spTree>
    <p:extLst>
      <p:ext uri="{BB962C8B-B14F-4D97-AF65-F5344CB8AC3E}">
        <p14:creationId xmlns:p14="http://schemas.microsoft.com/office/powerpoint/2010/main" val="697804203"/>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520725"/>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p:txBody>
      </p:sp>
      <p:pic>
        <p:nvPicPr>
          <p:cNvPr id="7" name="Picture 2" descr="Animated image shows using buttons to toggle between a bar chart visual and a map visual.">
            <a:extLst>
              <a:ext uri="{FF2B5EF4-FFF2-40B4-BE49-F238E27FC236}">
                <a16:creationId xmlns:a16="http://schemas.microsoft.com/office/drawing/2014/main" id="{CCCB9DD6-1A52-4367-939A-A49CC05A79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864126"/>
            <a:ext cx="6480000" cy="35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664179"/>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grpSp>
        <p:nvGrpSpPr>
          <p:cNvPr id="13" name="Group 12">
            <a:extLst>
              <a:ext uri="{FF2B5EF4-FFF2-40B4-BE49-F238E27FC236}">
                <a16:creationId xmlns:a16="http://schemas.microsoft.com/office/drawing/2014/main" id="{0A878C45-5472-4C14-BD86-5D0A3D3D24F4}"/>
              </a:ext>
            </a:extLst>
          </p:cNvPr>
          <p:cNvGrpSpPr/>
          <p:nvPr/>
        </p:nvGrpSpPr>
        <p:grpSpPr>
          <a:xfrm>
            <a:off x="455589" y="2456332"/>
            <a:ext cx="5759265" cy="2664556"/>
            <a:chOff x="455647" y="2456199"/>
            <a:chExt cx="5760000" cy="2664896"/>
          </a:xfrm>
        </p:grpSpPr>
        <p:pic>
          <p:nvPicPr>
            <p:cNvPr id="5" name="Picture 2" descr="Image of bookmark area chart visual across year.">
              <a:extLst>
                <a:ext uri="{FF2B5EF4-FFF2-40B4-BE49-F238E27FC236}">
                  <a16:creationId xmlns:a16="http://schemas.microsoft.com/office/drawing/2014/main" id="{2A55F73D-026F-4B25-9BEA-85B1F774E2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47" y="2456199"/>
              <a:ext cx="5760000" cy="26648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EDEF1EC-C4CE-4A12-8A11-26CD10B5E83B}"/>
                </a:ext>
              </a:extLst>
            </p:cNvPr>
            <p:cNvSpPr/>
            <p:nvPr/>
          </p:nvSpPr>
          <p:spPr bwMode="auto">
            <a:xfrm>
              <a:off x="579147" y="2869313"/>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F69F53E1-B283-40D3-8973-CB671B4F09AC}"/>
              </a:ext>
            </a:extLst>
          </p:cNvPr>
          <p:cNvGrpSpPr/>
          <p:nvPr/>
        </p:nvGrpSpPr>
        <p:grpSpPr>
          <a:xfrm>
            <a:off x="6523418" y="2456333"/>
            <a:ext cx="5759265" cy="2927427"/>
            <a:chOff x="6524250" y="2456199"/>
            <a:chExt cx="5760000" cy="2927801"/>
          </a:xfrm>
        </p:grpSpPr>
        <p:pic>
          <p:nvPicPr>
            <p:cNvPr id="7" name="Picture 4" descr="Image of bookmark area chart visual across month.">
              <a:extLst>
                <a:ext uri="{FF2B5EF4-FFF2-40B4-BE49-F238E27FC236}">
                  <a16:creationId xmlns:a16="http://schemas.microsoft.com/office/drawing/2014/main" id="{1213BFC8-0373-4919-9835-74A3C49A2D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24250" y="2456199"/>
              <a:ext cx="5760000" cy="29278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AC9E219B-23AD-4440-95F0-4478FC3C6133}"/>
                </a:ext>
              </a:extLst>
            </p:cNvPr>
            <p:cNvSpPr/>
            <p:nvPr/>
          </p:nvSpPr>
          <p:spPr bwMode="auto">
            <a:xfrm>
              <a:off x="7765393" y="2927928"/>
              <a:ext cx="435716" cy="304800"/>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DK" sz="2000" err="1">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447445929"/>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ookmark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4972772"/>
          </a:xfrm>
        </p:spPr>
        <p:txBody>
          <a:bodyPr/>
          <a:lstStyle/>
          <a:p>
            <a:r>
              <a:rPr lang="en-US" dirty="0"/>
              <a:t>Powerful way to turn a Power BI report into a guided analytical experience</a:t>
            </a:r>
          </a:p>
          <a:p>
            <a:r>
              <a:rPr lang="en-US" dirty="0"/>
              <a:t>Commonly, you will add buttons to a report design and configure their actions to apply a bookmark</a:t>
            </a:r>
          </a:p>
          <a:p>
            <a:r>
              <a:rPr lang="en-US" dirty="0"/>
              <a:t>Examples of use cases</a:t>
            </a:r>
          </a:p>
          <a:p>
            <a:pPr lvl="1"/>
            <a:r>
              <a:rPr lang="en-US" dirty="0"/>
              <a:t>Reset slicers</a:t>
            </a:r>
          </a:p>
          <a:p>
            <a:pPr lvl="1"/>
            <a:r>
              <a:rPr lang="en-US" dirty="0"/>
              <a:t>Swap visuals</a:t>
            </a:r>
          </a:p>
          <a:p>
            <a:pPr lvl="1"/>
            <a:r>
              <a:rPr lang="en-US" dirty="0"/>
              <a:t>Drill down multiple visuals (Year/quarter/month)</a:t>
            </a:r>
          </a:p>
          <a:p>
            <a:pPr lvl="1"/>
            <a:r>
              <a:rPr lang="en-US" dirty="0"/>
              <a:t>Pop-up overlays (help navigate report)</a:t>
            </a:r>
          </a:p>
          <a:p>
            <a:pPr marL="233126" lvl="1" indent="0">
              <a:buNone/>
            </a:pPr>
            <a:endParaRPr lang="en-US" dirty="0"/>
          </a:p>
        </p:txBody>
      </p:sp>
      <p:pic>
        <p:nvPicPr>
          <p:cNvPr id="4" name="Picture 2" descr="Image shows a report page with many visuals. Some visuals and buttons have coach marks that provide instructional text.">
            <a:extLst>
              <a:ext uri="{FF2B5EF4-FFF2-40B4-BE49-F238E27FC236}">
                <a16:creationId xmlns:a16="http://schemas.microsoft.com/office/drawing/2014/main" id="{FC313BB8-27C3-4337-B2B2-5F3DC19EA7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91869"/>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444101"/>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502317"/>
          </a:xfrm>
        </p:spPr>
        <p:txBody>
          <a:bodyPr/>
          <a:lstStyle/>
          <a:p>
            <a:r>
              <a:rPr lang="en-US"/>
              <a:t>Buttons should be placed in relevant and consistent locations</a:t>
            </a:r>
          </a:p>
        </p:txBody>
      </p:sp>
      <p:pic>
        <p:nvPicPr>
          <p:cNvPr id="7170" name="Picture 2" descr="Image shows page navigation buttons for the Sales and Returns pages. The page icons are highlighted when the page is open.">
            <a:extLst>
              <a:ext uri="{FF2B5EF4-FFF2-40B4-BE49-F238E27FC236}">
                <a16:creationId xmlns:a16="http://schemas.microsoft.com/office/drawing/2014/main" id="{D46BCE6A-7D7D-4F72-B826-471671236A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856" y="2438206"/>
            <a:ext cx="4896919" cy="4364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961925"/>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159950"/>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endParaRPr lang="en-US"/>
          </a:p>
        </p:txBody>
      </p:sp>
      <p:pic>
        <p:nvPicPr>
          <p:cNvPr id="4" name="Picture 2" descr="Image shows two scenarios. The first scenario shows the &quot;Tabular&quot; button without hover, and the button text is light gray. The second scenario shows the &quot;Tabular&quot; button on hover, and the button text is black.">
            <a:extLst>
              <a:ext uri="{FF2B5EF4-FFF2-40B4-BE49-F238E27FC236}">
                <a16:creationId xmlns:a16="http://schemas.microsoft.com/office/drawing/2014/main" id="{10711E85-D7EB-4B3A-8E7A-3585F7F33A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3449458"/>
            <a:ext cx="5040000" cy="238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381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749" y="2568260"/>
            <a:ext cx="4848191" cy="447110"/>
          </a:xfrm>
        </p:spPr>
        <p:txBody>
          <a:bodyPr/>
          <a:lstStyle/>
          <a:p>
            <a:r>
              <a:rPr lang="en-US" dirty="0">
                <a:solidFill>
                  <a:schemeClr val="bg1">
                    <a:lumMod val="65000"/>
                  </a:schemeClr>
                </a:solidFill>
              </a:rPr>
              <a:t>All materials available at:</a:t>
            </a:r>
          </a:p>
        </p:txBody>
      </p:sp>
      <p:sp>
        <p:nvSpPr>
          <p:cNvPr id="4" name="Title 2">
            <a:extLst>
              <a:ext uri="{FF2B5EF4-FFF2-40B4-BE49-F238E27FC236}">
                <a16:creationId xmlns:a16="http://schemas.microsoft.com/office/drawing/2014/main" id="{0A6BBA13-66A2-9689-F50A-598B57A8481C}"/>
              </a:ext>
            </a:extLst>
          </p:cNvPr>
          <p:cNvSpPr txBox="1">
            <a:spLocks/>
          </p:cNvSpPr>
          <p:nvPr/>
        </p:nvSpPr>
        <p:spPr>
          <a:xfrm>
            <a:off x="1924749" y="3204324"/>
            <a:ext cx="8585390" cy="447110"/>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sz="4799" dirty="0"/>
              <a:t>https://aka.ms/pbiworkshops</a:t>
            </a:r>
          </a:p>
        </p:txBody>
      </p:sp>
      <p:sp>
        <p:nvSpPr>
          <p:cNvPr id="8" name="Title 1">
            <a:extLst>
              <a:ext uri="{FF2B5EF4-FFF2-40B4-BE49-F238E27FC236}">
                <a16:creationId xmlns:a16="http://schemas.microsoft.com/office/drawing/2014/main" id="{797C0335-7D4C-6A0B-5C4C-E117F9DCF97F}"/>
              </a:ext>
            </a:extLst>
          </p:cNvPr>
          <p:cNvSpPr txBox="1">
            <a:spLocks/>
          </p:cNvSpPr>
          <p:nvPr/>
        </p:nvSpPr>
        <p:spPr>
          <a:xfrm>
            <a:off x="1924749" y="4287498"/>
            <a:ext cx="7857204" cy="820738"/>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r>
              <a:rPr lang="en-US" dirty="0">
                <a:solidFill>
                  <a:schemeClr val="bg1">
                    <a:lumMod val="65000"/>
                  </a:schemeClr>
                </a:solidFill>
              </a:rPr>
              <a:t>Folder:</a:t>
            </a:r>
          </a:p>
          <a:p>
            <a:r>
              <a:rPr lang="en-US" dirty="0">
                <a:solidFill>
                  <a:schemeClr val="tx1"/>
                </a:solidFill>
              </a:rPr>
              <a:t>Day After Dashboard in a Day</a:t>
            </a:r>
          </a:p>
        </p:txBody>
      </p:sp>
    </p:spTree>
    <p:extLst>
      <p:ext uri="{BB962C8B-B14F-4D97-AF65-F5344CB8AC3E}">
        <p14:creationId xmlns:p14="http://schemas.microsoft.com/office/powerpoint/2010/main" val="2167896620"/>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Build Navigation With Buttons</a:t>
            </a:r>
          </a:p>
        </p:txBody>
      </p:sp>
      <p:pic>
        <p:nvPicPr>
          <p:cNvPr id="6" name="Picture 2" descr="Image shows the cursor hovering over the &quot;Tabular&quot; button. A tooltip that reads &quot;Tabular view&quot; is revealed.">
            <a:extLst>
              <a:ext uri="{FF2B5EF4-FFF2-40B4-BE49-F238E27FC236}">
                <a16:creationId xmlns:a16="http://schemas.microsoft.com/office/drawing/2014/main" id="{E02623D3-5358-4679-A9C7-FD6C3B6B6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8237" y="2891047"/>
            <a:ext cx="5040000" cy="40043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52327" cy="2611997"/>
          </a:xfrm>
        </p:spPr>
        <p:txBody>
          <a:bodyPr/>
          <a:lstStyle/>
          <a:p>
            <a:r>
              <a:rPr lang="en-US"/>
              <a:t>Buttons should be placed in relevant and consistent locations</a:t>
            </a:r>
          </a:p>
          <a:p>
            <a:r>
              <a:rPr lang="en-US"/>
              <a:t>Buttons need to be clearly interactive</a:t>
            </a:r>
          </a:p>
          <a:p>
            <a:pPr lvl="1"/>
            <a:r>
              <a:rPr lang="en-US"/>
              <a:t>On-hover formatting (change state when hover over)</a:t>
            </a:r>
          </a:p>
          <a:p>
            <a:pPr lvl="1"/>
            <a:r>
              <a:rPr lang="en-US"/>
              <a:t>Descriptive tooltips (add text)</a:t>
            </a:r>
          </a:p>
          <a:p>
            <a:endParaRPr lang="en-US"/>
          </a:p>
        </p:txBody>
      </p:sp>
    </p:spTree>
    <p:extLst>
      <p:ext uri="{BB962C8B-B14F-4D97-AF65-F5344CB8AC3E}">
        <p14:creationId xmlns:p14="http://schemas.microsoft.com/office/powerpoint/2010/main" val="1402513152"/>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dirty="0"/>
              <a:t>Creating intuitive and simple-to-navigate reports is important</a:t>
            </a:r>
          </a:p>
          <a:p>
            <a:r>
              <a:rPr lang="en-US" dirty="0"/>
              <a:t>Aim for “no training required” experience</a:t>
            </a:r>
          </a:p>
          <a:p>
            <a:r>
              <a:rPr lang="en-US" dirty="0"/>
              <a:t>Provide built-in assistance, e.g.</a:t>
            </a:r>
          </a:p>
          <a:p>
            <a:pPr lvl="1"/>
            <a:r>
              <a:rPr lang="en-US" dirty="0"/>
              <a:t>Information page (dedicated page with instructions)</a:t>
            </a:r>
          </a:p>
          <a:p>
            <a:pPr lvl="1"/>
            <a:r>
              <a:rPr lang="en-US" dirty="0"/>
              <a:t>Visual header tooltip icon (add descriptive text for a visual)</a:t>
            </a:r>
          </a:p>
          <a:p>
            <a:pPr lvl="1"/>
            <a:r>
              <a:rPr lang="en-US" dirty="0"/>
              <a:t>Button with overlay (image to explain navigation of report)</a:t>
            </a:r>
          </a:p>
          <a:p>
            <a:pPr marL="0" indent="0">
              <a:buNone/>
            </a:pPr>
            <a:endParaRPr lang="en-US" dirty="0"/>
          </a:p>
        </p:txBody>
      </p:sp>
      <p:pic>
        <p:nvPicPr>
          <p:cNvPr id="5" name="Picture 2" descr="Image shows a KPI visual with the cursor hovering over the Help icon. A tooltip is reads Turnover ratio = COGS/Avg inventory.">
            <a:extLst>
              <a:ext uri="{FF2B5EF4-FFF2-40B4-BE49-F238E27FC236}">
                <a16:creationId xmlns:a16="http://schemas.microsoft.com/office/drawing/2014/main" id="{50036054-2352-444E-8E25-96D1BF6537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444" y="5004489"/>
            <a:ext cx="6480000" cy="124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994866"/>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Using built-in Assistanc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4" y="1464074"/>
            <a:ext cx="11704753" cy="3666838"/>
          </a:xfrm>
        </p:spPr>
        <p:txBody>
          <a:bodyPr/>
          <a:lstStyle/>
          <a:p>
            <a:r>
              <a:rPr lang="en-US"/>
              <a:t>Creating intuitive and simple-to-navigate reports is important</a:t>
            </a:r>
          </a:p>
          <a:p>
            <a:r>
              <a:rPr lang="en-US"/>
              <a:t>Aim for “no training required” experience</a:t>
            </a:r>
          </a:p>
          <a:p>
            <a:r>
              <a:rPr lang="en-US"/>
              <a:t>Provide built-in assistance, e.g.</a:t>
            </a:r>
          </a:p>
          <a:p>
            <a:pPr lvl="1"/>
            <a:r>
              <a:rPr lang="en-US"/>
              <a:t>Information page (dedicated page with instructions)</a:t>
            </a:r>
          </a:p>
          <a:p>
            <a:pPr lvl="1"/>
            <a:r>
              <a:rPr lang="en-US"/>
              <a:t>Visual header tooltip icon (add descriptive text for a visual)</a:t>
            </a:r>
          </a:p>
          <a:p>
            <a:pPr lvl="1"/>
            <a:r>
              <a:rPr lang="en-US"/>
              <a:t>Button with overlay (image to explain navigation of report)</a:t>
            </a:r>
          </a:p>
          <a:p>
            <a:pPr marL="0" indent="0">
              <a:buNone/>
            </a:pPr>
            <a:endParaRPr lang="en-US"/>
          </a:p>
        </p:txBody>
      </p:sp>
      <p:pic>
        <p:nvPicPr>
          <p:cNvPr id="5" name="Picture 2" descr="Image shows a report page with many visuals. Some visuals and buttons have coach marks that provide instructional text.">
            <a:extLst>
              <a:ext uri="{FF2B5EF4-FFF2-40B4-BE49-F238E27FC236}">
                <a16:creationId xmlns:a16="http://schemas.microsoft.com/office/drawing/2014/main" id="{2C3B9EC3-EB4E-4F70-9D41-ED3841541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874" y="1329101"/>
            <a:ext cx="9612726" cy="5346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839032"/>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Mobile Experience</a:t>
            </a:r>
          </a:p>
        </p:txBody>
      </p:sp>
      <p:pic>
        <p:nvPicPr>
          <p:cNvPr id="19458" name="Picture 2" descr="Screenshot of a report in a tablet device beside the same report that is laid out vertically in a mobile phone.">
            <a:extLst>
              <a:ext uri="{FF2B5EF4-FFF2-40B4-BE49-F238E27FC236}">
                <a16:creationId xmlns:a16="http://schemas.microsoft.com/office/drawing/2014/main" id="{B8344FD6-1A0E-4049-9FAA-DBF01BB637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80" y="2197772"/>
            <a:ext cx="6480000" cy="4442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384418" cy="5556586"/>
          </a:xfrm>
        </p:spPr>
        <p:txBody>
          <a:bodyPr/>
          <a:lstStyle/>
          <a:p>
            <a:r>
              <a:rPr lang="en-US"/>
              <a:t>Create report page that's designed for mobile devices when opened in portrait view.</a:t>
            </a:r>
          </a:p>
          <a:p>
            <a:endParaRPr lang="en-US"/>
          </a:p>
          <a:p>
            <a:endParaRPr lang="en-US"/>
          </a:p>
          <a:p>
            <a:endParaRPr lang="en-US"/>
          </a:p>
          <a:p>
            <a:endParaRPr lang="en-US"/>
          </a:p>
          <a:p>
            <a:endParaRPr lang="en-US"/>
          </a:p>
          <a:p>
            <a:endParaRPr lang="en-US"/>
          </a:p>
          <a:p>
            <a:endParaRPr lang="en-US"/>
          </a:p>
          <a:p>
            <a:pPr marL="0" indent="0">
              <a:buNone/>
            </a:pPr>
            <a:r>
              <a:rPr lang="en-US" sz="1800">
                <a:hlinkClick r:id="rId3"/>
              </a:rPr>
              <a:t>Create stunning, mobile-optimized Power BI reports with mobile layout’s new visual formatting pane (Preview) </a:t>
            </a:r>
            <a:endParaRPr lang="en-US" sz="1800"/>
          </a:p>
        </p:txBody>
      </p:sp>
      <p:pic>
        <p:nvPicPr>
          <p:cNvPr id="19460" name="Picture 4" descr="Screenshot of two report icons. The first is for a non-optimized report and the second is for a mobile-optimized report. The second icon includes a mobile phone icon.">
            <a:extLst>
              <a:ext uri="{FF2B5EF4-FFF2-40B4-BE49-F238E27FC236}">
                <a16:creationId xmlns:a16="http://schemas.microsoft.com/office/drawing/2014/main" id="{02E2C583-E75B-4222-A804-1AB2540A2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4507" y="2460241"/>
            <a:ext cx="5676900"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89927"/>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p:txBody>
          <a:bodyPr/>
          <a:lstStyle/>
          <a:p>
            <a:r>
              <a:rPr lang="en-US"/>
              <a:t>Visual Selection</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642851" y="2887864"/>
            <a:ext cx="11149186" cy="1218795"/>
          </a:xfrm>
        </p:spPr>
        <p:txBody>
          <a:bodyPr/>
          <a:lstStyle/>
          <a:p>
            <a:pPr marL="0" indent="0" algn="ctr">
              <a:buNone/>
            </a:pPr>
            <a:r>
              <a:rPr lang="en-US" sz="3600" dirty="0"/>
              <a:t>Select visual type to communicate information </a:t>
            </a:r>
          </a:p>
          <a:p>
            <a:pPr marL="0" indent="0" algn="ctr">
              <a:buNone/>
            </a:pPr>
            <a:r>
              <a:rPr lang="en-US" sz="3600" b="1" dirty="0"/>
              <a:t>clearly</a:t>
            </a:r>
            <a:r>
              <a:rPr lang="en-US" sz="3600" dirty="0"/>
              <a:t> &amp; </a:t>
            </a:r>
            <a:r>
              <a:rPr lang="en-US" sz="3600" b="1" dirty="0"/>
              <a:t>effectively</a:t>
            </a:r>
          </a:p>
        </p:txBody>
      </p:sp>
    </p:spTree>
    <p:extLst>
      <p:ext uri="{BB962C8B-B14F-4D97-AF65-F5344CB8AC3E}">
        <p14:creationId xmlns:p14="http://schemas.microsoft.com/office/powerpoint/2010/main" val="679191079"/>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5EFA519-AA7A-53F7-7D27-2878881B643E}"/>
              </a:ext>
            </a:extLst>
          </p:cNvPr>
          <p:cNvPicPr>
            <a:picLocks noChangeAspect="1"/>
          </p:cNvPicPr>
          <p:nvPr/>
        </p:nvPicPr>
        <p:blipFill>
          <a:blip r:embed="rId3"/>
          <a:stretch>
            <a:fillRect/>
          </a:stretch>
        </p:blipFill>
        <p:spPr>
          <a:xfrm>
            <a:off x="1205540" y="0"/>
            <a:ext cx="10023808" cy="6994525"/>
          </a:xfrm>
          <a:prstGeom prst="rect">
            <a:avLst/>
          </a:prstGeom>
        </p:spPr>
      </p:pic>
    </p:spTree>
    <p:extLst>
      <p:ext uri="{BB962C8B-B14F-4D97-AF65-F5344CB8AC3E}">
        <p14:creationId xmlns:p14="http://schemas.microsoft.com/office/powerpoint/2010/main" val="3401039702"/>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C90B26-493D-1115-715A-E559FC229611}"/>
              </a:ext>
            </a:extLst>
          </p:cNvPr>
          <p:cNvPicPr>
            <a:picLocks noChangeAspect="1"/>
          </p:cNvPicPr>
          <p:nvPr/>
        </p:nvPicPr>
        <p:blipFill>
          <a:blip r:embed="rId3"/>
          <a:stretch>
            <a:fillRect/>
          </a:stretch>
        </p:blipFill>
        <p:spPr>
          <a:xfrm>
            <a:off x="1249244" y="0"/>
            <a:ext cx="9936400" cy="6994525"/>
          </a:xfrm>
          <a:prstGeom prst="rect">
            <a:avLst/>
          </a:prstGeom>
        </p:spPr>
      </p:pic>
    </p:spTree>
    <p:extLst>
      <p:ext uri="{BB962C8B-B14F-4D97-AF65-F5344CB8AC3E}">
        <p14:creationId xmlns:p14="http://schemas.microsoft.com/office/powerpoint/2010/main" val="4169422848"/>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907" y="2081513"/>
            <a:ext cx="4602449" cy="1553817"/>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Culture</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BI as a two-edged sword</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governance and enablement</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mn-ea"/>
                          <a:cs typeface="Segoe UI"/>
                        </a:rPr>
                        <a:t>Finding balance with managed self-service BI</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434448082"/>
      </p:ext>
    </p:extLst>
  </p:cSld>
  <p:clrMapOvr>
    <a:masterClrMapping/>
  </p:clrMapOvr>
  <p:transition spd="slow">
    <p:push dir="u"/>
  </p:transition>
</p:sld>
</file>

<file path=ppt/slides/slide148.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elf-service BI tools are sometimes described as a two-edged sword.</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a:off x="882" y="2948229"/>
            <a:ext cx="12434711" cy="4046296"/>
          </a:xfrm>
          <a:prstGeom prst="rect">
            <a:avLst/>
          </a:prstGeom>
        </p:spPr>
      </p:pic>
    </p:spTree>
    <p:extLst>
      <p:ext uri="{BB962C8B-B14F-4D97-AF65-F5344CB8AC3E}">
        <p14:creationId xmlns:p14="http://schemas.microsoft.com/office/powerpoint/2010/main" val="1486793624"/>
      </p:ext>
    </p:extLst>
  </p:cSld>
  <p:clrMapOvr>
    <a:masterClrMapping/>
  </p:clrMapOvr>
  <p:transition spd="slow">
    <p:push dir="u"/>
  </p:transition>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582" r="8382"/>
          <a:stretch/>
        </p:blipFill>
        <p:spPr>
          <a:xfrm rot="16200000">
            <a:off x="-1390502" y="1391383"/>
            <a:ext cx="6994529" cy="4211756"/>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6201098" cy="5908020"/>
          </a:xfrm>
          <a:prstGeom prst="rect">
            <a:avLst/>
          </a:prstGeom>
        </p:spPr>
        <p:txBody>
          <a:bodyPr/>
          <a:lstStyle/>
          <a:p>
            <a:r>
              <a:rPr lang="en-GB" sz="2448"/>
              <a:t>Why does this phrase mean “</a:t>
            </a:r>
            <a:r>
              <a:rPr lang="en-US" sz="2448"/>
              <a:t>something that has or can have both favorable and unfavorable consequences</a:t>
            </a:r>
            <a:r>
              <a:rPr lang="en-GB" sz="2448"/>
              <a:t>”?</a:t>
            </a:r>
          </a:p>
          <a:p>
            <a:pPr lvl="0"/>
            <a:endParaRPr lang="en-GB" sz="2448"/>
          </a:p>
          <a:p>
            <a:pPr lvl="0"/>
            <a:r>
              <a:rPr lang="en-GB" sz="2448"/>
              <a:t>It should instead mean “</a:t>
            </a:r>
            <a:r>
              <a:rPr lang="en-GB" sz="2448" b="1"/>
              <a:t>something that can be used in multiple ways, with each way having specific strengths and weaknesses.</a:t>
            </a:r>
            <a:r>
              <a:rPr lang="en-GB" sz="2448"/>
              <a:t>”</a:t>
            </a:r>
          </a:p>
          <a:p>
            <a:pPr lvl="0"/>
            <a:endParaRPr lang="en-GB" sz="2448"/>
          </a:p>
          <a:p>
            <a:pPr lvl="0"/>
            <a:r>
              <a:rPr lang="en-GB" sz="2448"/>
              <a:t>When you know how to use the true edge and the false edge, you have significant advantages over an opponent with a single-edge sword. Rather than fearing your weapon, you should learn its capabilities for optimal use.</a:t>
            </a:r>
          </a:p>
          <a:p>
            <a:pPr lvl="0"/>
            <a:endParaRPr lang="en-GB" sz="2448"/>
          </a:p>
          <a:p>
            <a:pPr lvl="0"/>
            <a:endParaRPr lang="en-GB" sz="2448"/>
          </a:p>
          <a:p>
            <a:pPr lvl="0"/>
            <a:endParaRPr lang="en-GB" sz="2448"/>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86052"/>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2140379"/>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606941"/>
            <a:ext cx="642000" cy="640690"/>
          </a:xfrm>
          <a:prstGeom prst="rect">
            <a:avLst/>
          </a:prstGeom>
        </p:spPr>
      </p:pic>
    </p:spTree>
    <p:extLst>
      <p:ext uri="{BB962C8B-B14F-4D97-AF65-F5344CB8AC3E}">
        <p14:creationId xmlns:p14="http://schemas.microsoft.com/office/powerpoint/2010/main" val="2623831376"/>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386845812"/>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Prepar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Self-service cloud data prep. </a:t>
                      </a:r>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Reusability)</a:t>
                      </a:r>
                      <a:endPar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Custom func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Power Query formula language)</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Data transformations. </a:t>
                      </a: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rPr>
                        <a:t>(Efficienc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9849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Online Media 8" title="SSBI 1: True Edge Rising">
            <a:hlinkClick r:id="" action="ppaction://media"/>
            <a:extLst>
              <a:ext uri="{FF2B5EF4-FFF2-40B4-BE49-F238E27FC236}">
                <a16:creationId xmlns:a16="http://schemas.microsoft.com/office/drawing/2014/main" id="{126064D2-474C-47F2-8DF6-89E713C42429}"/>
              </a:ext>
            </a:extLst>
          </p:cNvPr>
          <p:cNvPicPr>
            <a:picLocks noRot="1" noChangeAspect="1"/>
          </p:cNvPicPr>
          <p:nvPr>
            <a:videoFile r:link="rId1"/>
          </p:nvPr>
        </p:nvPicPr>
        <p:blipFill>
          <a:blip r:embed="rId4"/>
          <a:stretch>
            <a:fillRect/>
          </a:stretch>
        </p:blipFill>
        <p:spPr>
          <a:xfrm>
            <a:off x="1494497" y="1210094"/>
            <a:ext cx="10098360" cy="5680326"/>
          </a:xfrm>
          <a:prstGeom prst="rect">
            <a:avLst/>
          </a:prstGeom>
        </p:spPr>
      </p:pic>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True Edge Rising</a:t>
            </a:r>
          </a:p>
        </p:txBody>
      </p:sp>
      <p:grpSp>
        <p:nvGrpSpPr>
          <p:cNvPr id="6" name="Group 5">
            <a:extLst>
              <a:ext uri="{FF2B5EF4-FFF2-40B4-BE49-F238E27FC236}">
                <a16:creationId xmlns:a16="http://schemas.microsoft.com/office/drawing/2014/main" id="{25183BD5-6B30-4479-B559-52C083A71A27}"/>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D8DD5BCD-1F20-4266-84E0-4230735D2D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47068224-1D6F-4A47-87D7-521F3BF95A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7607373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527521" y="4868401"/>
            <a:ext cx="3393157" cy="650879"/>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Rising</a:t>
            </a:r>
          </a:p>
        </p:txBody>
      </p:sp>
      <p:pic>
        <p:nvPicPr>
          <p:cNvPr id="2" name="Online Media 1" title="SSBI 2: False Edge Rising">
            <a:hlinkClick r:id="" action="ppaction://media"/>
            <a:extLst>
              <a:ext uri="{FF2B5EF4-FFF2-40B4-BE49-F238E27FC236}">
                <a16:creationId xmlns:a16="http://schemas.microsoft.com/office/drawing/2014/main" id="{01191F21-864A-474E-951A-076CB3417438}"/>
              </a:ext>
            </a:extLst>
          </p:cNvPr>
          <p:cNvPicPr>
            <a:picLocks noRot="1" noChangeAspect="1"/>
          </p:cNvPicPr>
          <p:nvPr>
            <a:videoFile r:link="rId1"/>
          </p:nvPr>
        </p:nvPicPr>
        <p:blipFill>
          <a:blip r:embed="rId4"/>
          <a:stretch>
            <a:fillRect/>
          </a:stretch>
        </p:blipFill>
        <p:spPr>
          <a:xfrm>
            <a:off x="1494497" y="1210091"/>
            <a:ext cx="10098360" cy="5680327"/>
          </a:xfrm>
          <a:prstGeom prst="rect">
            <a:avLst/>
          </a:prstGeom>
        </p:spPr>
      </p:pic>
      <p:grpSp>
        <p:nvGrpSpPr>
          <p:cNvPr id="6" name="Group 5">
            <a:extLst>
              <a:ext uri="{FF2B5EF4-FFF2-40B4-BE49-F238E27FC236}">
                <a16:creationId xmlns:a16="http://schemas.microsoft.com/office/drawing/2014/main" id="{5D9F0F1C-F285-4A67-8304-3304108DABA4}"/>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CCEC09C0-F6B9-49EB-A15A-40FD3485715B}"/>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296C0EFC-2B56-4C14-96BF-DA1C100D56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2405112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75CDF9D-950F-448D-BDA6-E66567BF32B7}"/>
              </a:ext>
            </a:extLst>
          </p:cNvPr>
          <p:cNvSpPr>
            <a:spLocks noGrp="1"/>
          </p:cNvSpPr>
          <p:nvPr>
            <p:ph type="title"/>
          </p:nvPr>
        </p:nvSpPr>
        <p:spPr/>
        <p:txBody>
          <a:bodyPr/>
          <a:lstStyle/>
          <a:p>
            <a:r>
              <a:rPr lang="en-US"/>
              <a:t>True Edge, False Edge - IT and self-service</a:t>
            </a:r>
          </a:p>
        </p:txBody>
      </p:sp>
      <p:sp>
        <p:nvSpPr>
          <p:cNvPr id="12" name="TextBox 11">
            <a:extLst>
              <a:ext uri="{FF2B5EF4-FFF2-40B4-BE49-F238E27FC236}">
                <a16:creationId xmlns:a16="http://schemas.microsoft.com/office/drawing/2014/main" id="{0AA7413D-BDB2-4A1C-BE0A-317670A0A1E6}"/>
              </a:ext>
            </a:extLst>
          </p:cNvPr>
          <p:cNvSpPr txBox="1"/>
          <p:nvPr/>
        </p:nvSpPr>
        <p:spPr>
          <a:xfrm rot="16200000">
            <a:off x="-1145236" y="4255915"/>
            <a:ext cx="4628588" cy="640416"/>
          </a:xfrm>
          <a:prstGeom prst="rect">
            <a:avLst/>
          </a:prstGeom>
          <a:noFill/>
          <a:ln>
            <a:solidFill>
              <a:schemeClr val="tx1"/>
            </a:solidFill>
          </a:ln>
        </p:spPr>
        <p:txBody>
          <a:bodyPr wrap="square" lIns="186497" tIns="149198" rIns="186497" bIns="149198" rtlCol="0">
            <a:spAutoFit/>
          </a:bodyPr>
          <a:lstStyle/>
          <a:p>
            <a:pPr>
              <a:lnSpc>
                <a:spcPct val="90000"/>
              </a:lnSpc>
              <a:spcAft>
                <a:spcPts val="612"/>
              </a:spcAft>
            </a:pPr>
            <a:r>
              <a:rPr lang="en-US" sz="2448">
                <a:gradFill>
                  <a:gsLst>
                    <a:gs pos="2917">
                      <a:schemeClr val="tx1"/>
                    </a:gs>
                    <a:gs pos="30000">
                      <a:schemeClr val="tx1"/>
                    </a:gs>
                  </a:gsLst>
                  <a:lin ang="5400000" scaled="0"/>
                </a:gradFill>
              </a:rPr>
              <a:t>False Edge / True Edge Combo</a:t>
            </a:r>
          </a:p>
        </p:txBody>
      </p:sp>
      <p:pic>
        <p:nvPicPr>
          <p:cNvPr id="2" name="Online Media 1" title="SSBI 3: False Edge True Edge Slow Repeat">
            <a:hlinkClick r:id="" action="ppaction://media"/>
            <a:extLst>
              <a:ext uri="{FF2B5EF4-FFF2-40B4-BE49-F238E27FC236}">
                <a16:creationId xmlns:a16="http://schemas.microsoft.com/office/drawing/2014/main" id="{87577CFC-732C-4494-80A4-F0FA585DEEA7}"/>
              </a:ext>
            </a:extLst>
          </p:cNvPr>
          <p:cNvPicPr>
            <a:picLocks noRot="1" noChangeAspect="1"/>
          </p:cNvPicPr>
          <p:nvPr>
            <a:videoFile r:link="rId1"/>
          </p:nvPr>
        </p:nvPicPr>
        <p:blipFill>
          <a:blip r:embed="rId4"/>
          <a:stretch>
            <a:fillRect/>
          </a:stretch>
        </p:blipFill>
        <p:spPr>
          <a:xfrm>
            <a:off x="1489240" y="1210090"/>
            <a:ext cx="10098359" cy="5680327"/>
          </a:xfrm>
          <a:prstGeom prst="rect">
            <a:avLst/>
          </a:prstGeom>
        </p:spPr>
      </p:pic>
      <p:grpSp>
        <p:nvGrpSpPr>
          <p:cNvPr id="6" name="Group 5">
            <a:extLst>
              <a:ext uri="{FF2B5EF4-FFF2-40B4-BE49-F238E27FC236}">
                <a16:creationId xmlns:a16="http://schemas.microsoft.com/office/drawing/2014/main" id="{0C176459-6036-4441-BCCE-113BCF5D04A0}"/>
              </a:ext>
            </a:extLst>
          </p:cNvPr>
          <p:cNvGrpSpPr/>
          <p:nvPr/>
        </p:nvGrpSpPr>
        <p:grpSpPr>
          <a:xfrm>
            <a:off x="550408" y="1305954"/>
            <a:ext cx="801002" cy="800888"/>
            <a:chOff x="550478" y="463089"/>
            <a:chExt cx="801104" cy="800990"/>
          </a:xfrm>
        </p:grpSpPr>
        <p:sp>
          <p:nvSpPr>
            <p:cNvPr id="7" name="Oval 6">
              <a:extLst>
                <a:ext uri="{FF2B5EF4-FFF2-40B4-BE49-F238E27FC236}">
                  <a16:creationId xmlns:a16="http://schemas.microsoft.com/office/drawing/2014/main" id="{EDE3AA5F-22A1-4F09-8C82-382D7AC2C87A}"/>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9" name="Graphic 8">
              <a:extLst>
                <a:ext uri="{FF2B5EF4-FFF2-40B4-BE49-F238E27FC236}">
                  <a16:creationId xmlns:a16="http://schemas.microsoft.com/office/drawing/2014/main" id="{BF0C7070-1CF8-4AAC-8CF2-35B03CBDF9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565598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21FC77-B81C-46DA-B090-548540ECF95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44" r="8423"/>
          <a:stretch/>
        </p:blipFill>
        <p:spPr>
          <a:xfrm rot="16200000">
            <a:off x="-1400529" y="1401412"/>
            <a:ext cx="6994526" cy="4191700"/>
          </a:xfrm>
          <a:prstGeom prst="rect">
            <a:avLst/>
          </a:prstGeom>
        </p:spPr>
      </p:pic>
      <p:sp>
        <p:nvSpPr>
          <p:cNvPr id="4" name="Title 3"/>
          <p:cNvSpPr>
            <a:spLocks noGrp="1"/>
          </p:cNvSpPr>
          <p:nvPr>
            <p:ph type="title"/>
          </p:nvPr>
        </p:nvSpPr>
        <p:spPr>
          <a:xfrm>
            <a:off x="172644" y="2340178"/>
            <a:ext cx="3898722" cy="1921090"/>
          </a:xfrm>
        </p:spPr>
        <p:txBody>
          <a:bodyPr/>
          <a:lstStyle/>
          <a:p>
            <a:r>
              <a:rPr lang="en-GB"/>
              <a:t>Self-service BI as a two-edged sword</a:t>
            </a:r>
          </a:p>
        </p:txBody>
      </p:sp>
      <p:sp>
        <p:nvSpPr>
          <p:cNvPr id="3" name="Rectangle 2">
            <a:extLst>
              <a:ext uri="{FF2B5EF4-FFF2-40B4-BE49-F238E27FC236}">
                <a16:creationId xmlns:a16="http://schemas.microsoft.com/office/drawing/2014/main" id="{9C39A657-A30C-4753-8B78-67AEF0F52FAC}"/>
              </a:ext>
            </a:extLst>
          </p:cNvPr>
          <p:cNvSpPr/>
          <p:nvPr/>
        </p:nvSpPr>
        <p:spPr>
          <a:xfrm>
            <a:off x="6066108" y="500297"/>
            <a:ext cx="5998835" cy="5908020"/>
          </a:xfrm>
          <a:prstGeom prst="rect">
            <a:avLst/>
          </a:prstGeom>
        </p:spPr>
        <p:txBody>
          <a:bodyPr/>
          <a:lstStyle/>
          <a:p>
            <a:pPr lvl="0"/>
            <a:r>
              <a:rPr lang="en-GB" sz="2448"/>
              <a:t>True edge: Strength, power, mechanical advantage. Use when possible. Plan to use the true edge.</a:t>
            </a:r>
          </a:p>
          <a:p>
            <a:pPr lvl="0"/>
            <a:endParaRPr lang="en-GB" sz="2448"/>
          </a:p>
          <a:p>
            <a:pPr lvl="0"/>
            <a:r>
              <a:rPr lang="en-GB" sz="2448"/>
              <a:t>False edge: Weaker, more limited use cases, no mechanical advantage. Agile and quick. Use the false opportunistically, as necessary and appropriate.</a:t>
            </a:r>
          </a:p>
          <a:p>
            <a:pPr lvl="0"/>
            <a:endParaRPr lang="en-GB" sz="2448"/>
          </a:p>
          <a:p>
            <a:pPr lvl="0"/>
            <a:r>
              <a:rPr lang="en-GB" sz="2448"/>
              <a:t>False edge and true edge in combination: Greater than the sum of its parts</a:t>
            </a:r>
          </a:p>
          <a:p>
            <a:pPr lvl="0"/>
            <a:endParaRPr lang="en-GB" sz="2448"/>
          </a:p>
          <a:p>
            <a:pPr lvl="0"/>
            <a:r>
              <a:rPr lang="en-GB" sz="2448"/>
              <a:t>Both: Requires training and practice, and an understanding of each technique.</a:t>
            </a:r>
          </a:p>
        </p:txBody>
      </p:sp>
      <p:pic>
        <p:nvPicPr>
          <p:cNvPr id="18" name="Graphic 17">
            <a:extLst>
              <a:ext uri="{FF2B5EF4-FFF2-40B4-BE49-F238E27FC236}">
                <a16:creationId xmlns:a16="http://schemas.microsoft.com/office/drawing/2014/main" id="{84E9F257-5365-476A-B64B-E5BD560523C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625974"/>
            <a:ext cx="642000" cy="640690"/>
          </a:xfrm>
          <a:prstGeom prst="rect">
            <a:avLst/>
          </a:prstGeom>
        </p:spPr>
      </p:pic>
      <p:pic>
        <p:nvPicPr>
          <p:cNvPr id="13" name="Graphic 17">
            <a:extLst>
              <a:ext uri="{FF2B5EF4-FFF2-40B4-BE49-F238E27FC236}">
                <a16:creationId xmlns:a16="http://schemas.microsoft.com/office/drawing/2014/main" id="{D75019AA-4BB2-4CB5-BD3D-B7C6175AC8A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43522" y="2188898"/>
            <a:ext cx="642000" cy="640690"/>
          </a:xfrm>
          <a:prstGeom prst="rect">
            <a:avLst/>
          </a:prstGeom>
        </p:spPr>
      </p:pic>
      <p:pic>
        <p:nvPicPr>
          <p:cNvPr id="15" name="Graphic 17">
            <a:extLst>
              <a:ext uri="{FF2B5EF4-FFF2-40B4-BE49-F238E27FC236}">
                <a16:creationId xmlns:a16="http://schemas.microsoft.com/office/drawing/2014/main" id="{DE729E47-9FBE-429B-B7D7-4C4FDF60B8D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3971409"/>
            <a:ext cx="642000" cy="640690"/>
          </a:xfrm>
          <a:prstGeom prst="rect">
            <a:avLst/>
          </a:prstGeom>
        </p:spPr>
      </p:pic>
      <p:pic>
        <p:nvPicPr>
          <p:cNvPr id="16" name="Graphic 17">
            <a:extLst>
              <a:ext uri="{FF2B5EF4-FFF2-40B4-BE49-F238E27FC236}">
                <a16:creationId xmlns:a16="http://schemas.microsoft.com/office/drawing/2014/main" id="{270F5F9F-940C-4F7B-9E96-9B428A20155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030878" y="5087171"/>
            <a:ext cx="642000" cy="640690"/>
          </a:xfrm>
          <a:prstGeom prst="rect">
            <a:avLst/>
          </a:prstGeom>
        </p:spPr>
      </p:pic>
    </p:spTree>
    <p:extLst>
      <p:ext uri="{BB962C8B-B14F-4D97-AF65-F5344CB8AC3E}">
        <p14:creationId xmlns:p14="http://schemas.microsoft.com/office/powerpoint/2010/main" val="1033734336"/>
      </p:ext>
    </p:extLst>
  </p:cSld>
  <p:clrMapOvr>
    <a:masterClrMapping/>
  </p:clrMapOvr>
  <p:transition spd="slow">
    <p:push/>
  </p:transition>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130D2CF-0186-4A90-B6E8-5917411680CE}"/>
              </a:ext>
            </a:extLst>
          </p:cNvPr>
          <p:cNvSpPr/>
          <p:nvPr/>
        </p:nvSpPr>
        <p:spPr bwMode="auto">
          <a:xfrm>
            <a:off x="-116944" y="2978624"/>
            <a:ext cx="7088066" cy="4145040"/>
          </a:xfrm>
          <a:prstGeom prst="rect">
            <a:avLst/>
          </a:prstGeom>
          <a:solidFill>
            <a:schemeClr val="bg1">
              <a:alpha val="84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36370C4A-E637-4D73-9D6C-41FF27EC1710}"/>
              </a:ext>
            </a:extLst>
          </p:cNvPr>
          <p:cNvSpPr>
            <a:spLocks noGrp="1"/>
          </p:cNvSpPr>
          <p:nvPr>
            <p:ph type="title"/>
          </p:nvPr>
        </p:nvSpPr>
        <p:spPr/>
        <p:txBody>
          <a:bodyPr>
            <a:normAutofit fontScale="90000"/>
          </a:bodyPr>
          <a:lstStyle/>
          <a:p>
            <a:r>
              <a:rPr lang="en-US">
                <a:solidFill>
                  <a:srgbClr val="FFFFFF"/>
                </a:solidFill>
              </a:rPr>
              <a:t>What do actual swords and edges have to do with Power BI? Does this analogy hold up?</a:t>
            </a:r>
            <a:endParaRPr lang="en-US"/>
          </a:p>
        </p:txBody>
      </p:sp>
      <p:sp>
        <p:nvSpPr>
          <p:cNvPr id="2" name="Text Placeholder 1">
            <a:extLst>
              <a:ext uri="{FF2B5EF4-FFF2-40B4-BE49-F238E27FC236}">
                <a16:creationId xmlns:a16="http://schemas.microsoft.com/office/drawing/2014/main" id="{D61F2367-B799-498D-85FA-A7842ED0314B}"/>
              </a:ext>
            </a:extLst>
          </p:cNvPr>
          <p:cNvSpPr>
            <a:spLocks noGrp="1"/>
          </p:cNvSpPr>
          <p:nvPr>
            <p:ph type="body" sz="quarter" idx="4294967295"/>
          </p:nvPr>
        </p:nvSpPr>
        <p:spPr>
          <a:xfrm>
            <a:off x="820132" y="3275636"/>
            <a:ext cx="10605155" cy="3279157"/>
          </a:xfrm>
          <a:noFill/>
        </p:spPr>
        <p:txBody>
          <a:bodyPr>
            <a:normAutofit fontScale="92500"/>
          </a:bodyPr>
          <a:lstStyle/>
          <a:p>
            <a:pPr marL="0" indent="0">
              <a:lnSpc>
                <a:spcPct val="150000"/>
              </a:lnSpc>
              <a:buNone/>
            </a:pPr>
            <a:r>
              <a:rPr lang="en-GB" sz="2000"/>
              <a:t>In most large organizations, BI starts from the top </a:t>
            </a:r>
            <a:r>
              <a:rPr lang="en-GB" sz="2000" b="1" i="1"/>
              <a:t>and</a:t>
            </a:r>
            <a:r>
              <a:rPr lang="en-GB" sz="2000"/>
              <a:t> the bottom</a:t>
            </a:r>
          </a:p>
          <a:p>
            <a:pPr marL="0" indent="0">
              <a:lnSpc>
                <a:spcPct val="150000"/>
              </a:lnSpc>
              <a:buNone/>
            </a:pPr>
            <a:r>
              <a:rPr lang="en-GB" sz="2000"/>
              <a:t>Change starts where the pain is felt the most, which could be in business or in IT… but is usually more on the business side	</a:t>
            </a:r>
          </a:p>
          <a:p>
            <a:pPr marL="0" indent="0">
              <a:lnSpc>
                <a:spcPct val="150000"/>
              </a:lnSpc>
              <a:buNone/>
            </a:pPr>
            <a:r>
              <a:rPr lang="en-GB" sz="2000"/>
              <a:t>Business users need access to the BI data and tools that they need to complete their tasks, and they </a:t>
            </a:r>
            <a:r>
              <a:rPr lang="en-GB" sz="2000" b="1" i="1"/>
              <a:t>will</a:t>
            </a:r>
            <a:r>
              <a:rPr lang="en-GB" sz="2000"/>
              <a:t> get it with or without IT support</a:t>
            </a:r>
          </a:p>
          <a:p>
            <a:pPr marL="0" indent="0">
              <a:lnSpc>
                <a:spcPct val="150000"/>
              </a:lnSpc>
              <a:buNone/>
            </a:pPr>
            <a:r>
              <a:rPr lang="en-GB" sz="2000"/>
              <a:t>Successful organizations embrace top-down </a:t>
            </a:r>
            <a:r>
              <a:rPr lang="en-GB" sz="2000" b="1" i="1"/>
              <a:t>and </a:t>
            </a:r>
            <a:r>
              <a:rPr lang="en-GB" sz="2000"/>
              <a:t>bottom-up patterns of adoption</a:t>
            </a:r>
          </a:p>
          <a:p>
            <a:pPr marL="0" indent="0">
              <a:lnSpc>
                <a:spcPct val="150000"/>
              </a:lnSpc>
              <a:buNone/>
            </a:pPr>
            <a:r>
              <a:rPr lang="en-GB" sz="2000"/>
              <a:t>The key to success is finding the right balance for the organization, and when to use </a:t>
            </a:r>
            <a:r>
              <a:rPr lang="en-GB" sz="2000" b="1" i="1"/>
              <a:t>each</a:t>
            </a:r>
            <a:r>
              <a:rPr lang="en-GB" sz="2000"/>
              <a:t> approach</a:t>
            </a:r>
          </a:p>
        </p:txBody>
      </p:sp>
      <p:sp>
        <p:nvSpPr>
          <p:cNvPr id="4" name="Title 2">
            <a:extLst>
              <a:ext uri="{FF2B5EF4-FFF2-40B4-BE49-F238E27FC236}">
                <a16:creationId xmlns:a16="http://schemas.microsoft.com/office/drawing/2014/main" id="{CD4FC105-F812-4023-8E5F-6E8B204DC1AE}"/>
              </a:ext>
            </a:extLst>
          </p:cNvPr>
          <p:cNvSpPr txBox="1">
            <a:spLocks/>
          </p:cNvSpPr>
          <p:nvPr/>
        </p:nvSpPr>
        <p:spPr>
          <a:xfrm>
            <a:off x="302482" y="834789"/>
            <a:ext cx="11587037" cy="1655108"/>
          </a:xfrm>
          <a:prstGeom prst="rect">
            <a:avLst/>
          </a:prstGeom>
        </p:spPr>
        <p:txBody>
          <a:bodyPr vert="horz" wrap="square" lIns="0" tIns="0" rIns="0" bIns="0" rtlCol="0" anchor="b" anchorCtr="0">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solidFill>
                  <a:schemeClr val="tx1"/>
                </a:solidFill>
              </a:rPr>
              <a:t>What do actual swords and sharp edges have to do with Power BI? Does this analogy hold up to close inspection?</a:t>
            </a:r>
          </a:p>
        </p:txBody>
      </p:sp>
      <p:grpSp>
        <p:nvGrpSpPr>
          <p:cNvPr id="5" name="Group 4">
            <a:extLst>
              <a:ext uri="{FF2B5EF4-FFF2-40B4-BE49-F238E27FC236}">
                <a16:creationId xmlns:a16="http://schemas.microsoft.com/office/drawing/2014/main" id="{C8D01ECB-6397-4690-A959-BC5918C44E39}"/>
              </a:ext>
            </a:extLst>
          </p:cNvPr>
          <p:cNvGrpSpPr/>
          <p:nvPr/>
        </p:nvGrpSpPr>
        <p:grpSpPr>
          <a:xfrm>
            <a:off x="550408" y="463476"/>
            <a:ext cx="801002" cy="800888"/>
            <a:chOff x="550478" y="463089"/>
            <a:chExt cx="801104" cy="800990"/>
          </a:xfrm>
        </p:grpSpPr>
        <p:sp>
          <p:nvSpPr>
            <p:cNvPr id="6" name="Oval 5">
              <a:extLst>
                <a:ext uri="{FF2B5EF4-FFF2-40B4-BE49-F238E27FC236}">
                  <a16:creationId xmlns:a16="http://schemas.microsoft.com/office/drawing/2014/main" id="{7CCE7DFA-B952-428B-96B7-97A91E222256}"/>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1C378F1C-82B0-4AB0-9BC7-9DEFFAD0B5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2694291549"/>
      </p:ext>
    </p:extLst>
  </p:cSld>
  <p:clrMapOvr>
    <a:masterClrMapping/>
  </p:clrMapOvr>
  <p:transition spd="slow">
    <p:push dir="u"/>
  </p:transition>
</p:sld>
</file>

<file path=ppt/slides/slide155.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75871"/>
            <a:ext cx="11239464" cy="1130181"/>
          </a:xfrm>
        </p:spPr>
        <p:txBody>
          <a:bodyPr/>
          <a:lstStyle/>
          <a:p>
            <a:r>
              <a:rPr lang="en-US"/>
              <a:t>Two sharp edges are dangerous only if you don’t know they’re both sharp.</a:t>
            </a:r>
          </a:p>
        </p:txBody>
      </p:sp>
      <p:pic>
        <p:nvPicPr>
          <p:cNvPr id="5" name="Picture 4">
            <a:extLst>
              <a:ext uri="{FF2B5EF4-FFF2-40B4-BE49-F238E27FC236}">
                <a16:creationId xmlns:a16="http://schemas.microsoft.com/office/drawing/2014/main" id="{ED123BFE-4A6F-4A5D-8857-FCA56C43F8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flipH="1">
            <a:off x="882" y="2958254"/>
            <a:ext cx="12434711" cy="4111480"/>
          </a:xfrm>
          <a:prstGeom prst="rect">
            <a:avLst/>
          </a:prstGeom>
        </p:spPr>
      </p:pic>
    </p:spTree>
    <p:extLst>
      <p:ext uri="{BB962C8B-B14F-4D97-AF65-F5344CB8AC3E}">
        <p14:creationId xmlns:p14="http://schemas.microsoft.com/office/powerpoint/2010/main" val="1598136235"/>
      </p:ext>
    </p:extLst>
  </p:cSld>
  <p:clrMapOvr>
    <a:masterClrMapping/>
  </p:clrMapOvr>
  <p:transition spd="slow">
    <p:push dir="u"/>
  </p:transition>
</p:sld>
</file>

<file path=ppt/slides/slide156.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Data governance can also cut both ways. You need to work mindfully to use it to achieve your chosen goals.</a:t>
            </a:r>
          </a:p>
        </p:txBody>
      </p:sp>
      <p:pic>
        <p:nvPicPr>
          <p:cNvPr id="3" name="Picture 2">
            <a:extLst>
              <a:ext uri="{FF2B5EF4-FFF2-40B4-BE49-F238E27FC236}">
                <a16:creationId xmlns:a16="http://schemas.microsoft.com/office/drawing/2014/main" id="{3206106F-58EC-4959-BA67-C76A2112E7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839" b="16032"/>
          <a:stretch/>
        </p:blipFill>
        <p:spPr>
          <a:xfrm rot="10800000">
            <a:off x="882" y="2958254"/>
            <a:ext cx="12434711" cy="4111480"/>
          </a:xfrm>
          <a:prstGeom prst="rect">
            <a:avLst/>
          </a:prstGeom>
        </p:spPr>
      </p:pic>
    </p:spTree>
    <p:extLst>
      <p:ext uri="{BB962C8B-B14F-4D97-AF65-F5344CB8AC3E}">
        <p14:creationId xmlns:p14="http://schemas.microsoft.com/office/powerpoint/2010/main" val="429528024"/>
      </p:ext>
    </p:extLst>
  </p:cSld>
  <p:clrMapOvr>
    <a:masterClrMapping/>
  </p:clrMapOvr>
  <p:transition spd="slow">
    <p:push dir="d"/>
  </p:transition>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915049"/>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1655363160"/>
      </p:ext>
    </p:extLst>
  </p:cSld>
  <p:clrMapOvr>
    <a:masterClrMapping/>
  </p:clrMapOvr>
  <p:transition spd="slow">
    <p:push/>
  </p:transition>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488856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479646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697768" y="1207750"/>
            <a:ext cx="1125352" cy="1005759"/>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126976" y="2228014"/>
            <a:ext cx="2266936" cy="1005759"/>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556185" y="3248279"/>
            <a:ext cx="3408519" cy="1005759"/>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85392" y="4268543"/>
            <a:ext cx="4550103" cy="1005759"/>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416845" y="5298425"/>
            <a:ext cx="5687199" cy="1001750"/>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algn="ctr" defTabSz="951061">
              <a:defRPr/>
            </a:pPr>
            <a:endParaRPr lang="en-US" sz="1632" kern="0">
              <a:solidFill>
                <a:sysClr val="windowText" lastClr="000000"/>
              </a:solidFill>
              <a:latin typeface="Segoe UI"/>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992973" y="1750565"/>
            <a:ext cx="541484" cy="286306"/>
          </a:xfrm>
          <a:prstGeom prst="rect">
            <a:avLst/>
          </a:prstGeom>
          <a:noFill/>
        </p:spPr>
        <p:txBody>
          <a:bodyPr wrap="none" rtlCol="0">
            <a:spAutoFit/>
          </a:bodyPr>
          <a:lstStyle/>
          <a:p>
            <a:pPr defTabSz="951061"/>
            <a:r>
              <a:rPr lang="en-US" sz="1224" kern="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413394" y="2409676"/>
            <a:ext cx="1694099" cy="670577"/>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BUSINESS UNIT</a:t>
            </a:r>
          </a:p>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ASHBOARDS, KPIS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280150" y="3519885"/>
            <a:ext cx="1960589" cy="478442"/>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DEPARTMENTAL, TEAM </a:t>
            </a:r>
            <a:br>
              <a:rPr lang="en-US" sz="1224" kern="0">
                <a:solidFill>
                  <a:sysClr val="windowText" lastClr="000000"/>
                </a:solidFill>
                <a:latin typeface="Segoe UI Semibold" panose="020B0702040204020203" pitchFamily="34" charset="0"/>
                <a:cs typeface="Segoe UI Semibold" panose="020B0702040204020203" pitchFamily="34" charset="0"/>
              </a:rPr>
            </a:br>
            <a:r>
              <a:rPr lang="en-US" sz="1224" kern="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7" name="Rectangle 6">
            <a:extLst>
              <a:ext uri="{FF2B5EF4-FFF2-40B4-BE49-F238E27FC236}">
                <a16:creationId xmlns:a16="http://schemas.microsoft.com/office/drawing/2014/main" id="{4F0D5D44-941E-4561-A855-D9C003F0B352}"/>
              </a:ext>
            </a:extLst>
          </p:cNvPr>
          <p:cNvSpPr/>
          <p:nvPr/>
        </p:nvSpPr>
        <p:spPr bwMode="auto">
          <a:xfrm>
            <a:off x="9201451" y="3322702"/>
            <a:ext cx="3882609" cy="4145040"/>
          </a:xfrm>
          <a:prstGeom prst="rect">
            <a:avLst/>
          </a:prstGeom>
          <a:solidFill>
            <a:schemeClr val="bg1">
              <a:alpha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TextBox 57">
            <a:extLst>
              <a:ext uri="{FF2B5EF4-FFF2-40B4-BE49-F238E27FC236}">
                <a16:creationId xmlns:a16="http://schemas.microsoft.com/office/drawing/2014/main" id="{153F84BC-318F-48FE-BC99-8699587B2F2E}"/>
              </a:ext>
            </a:extLst>
          </p:cNvPr>
          <p:cNvSpPr txBox="1"/>
          <p:nvPr/>
        </p:nvSpPr>
        <p:spPr>
          <a:xfrm>
            <a:off x="5386418" y="4637438"/>
            <a:ext cx="1748052"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314483" y="5665410"/>
            <a:ext cx="1891923" cy="286306"/>
          </a:xfrm>
          <a:prstGeom prst="rect">
            <a:avLst/>
          </a:prstGeom>
          <a:noFill/>
        </p:spPr>
        <p:txBody>
          <a:bodyPr wrap="none" rtlCol="0">
            <a:spAutoFit/>
          </a:bodyPr>
          <a:lstStyle/>
          <a:p>
            <a:pPr algn="ctr" defTabSz="951061"/>
            <a:r>
              <a:rPr lang="en-US" sz="1224" kern="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744089" y="1022046"/>
            <a:ext cx="2251605"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524903" y="6036263"/>
            <a:ext cx="2169858" cy="350330"/>
          </a:xfrm>
          <a:prstGeom prst="rect">
            <a:avLst/>
          </a:prstGeom>
          <a:noFill/>
        </p:spPr>
        <p:txBody>
          <a:bodyPr wrap="none" rtlCol="0">
            <a:spAutoFit/>
          </a:bodyPr>
          <a:lstStyle/>
          <a:p>
            <a:pPr defTabSz="951061"/>
            <a:r>
              <a:rPr lang="en-US" sz="1632" b="1" kern="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81329" y="5049764"/>
            <a:ext cx="2722558" cy="633693"/>
          </a:xfrm>
          <a:prstGeom prst="rect">
            <a:avLst/>
          </a:prstGeom>
          <a:noFill/>
        </p:spPr>
        <p:txBody>
          <a:bodyPr wrap="square" rtlCol="0">
            <a:spAutoFit/>
          </a:bodyPr>
          <a:lstStyle/>
          <a:p>
            <a:pPr algn="r" defTabSz="951061">
              <a:lnSpc>
                <a:spcPct val="90000"/>
              </a:lnSpc>
              <a:spcAft>
                <a:spcPts val="612"/>
              </a:spcAft>
              <a:defRPr/>
            </a:pPr>
            <a:r>
              <a:rPr lang="en-US" sz="1632" kern="0">
                <a:gradFill>
                  <a:gsLst>
                    <a:gs pos="2917">
                      <a:srgbClr val="000000"/>
                    </a:gs>
                    <a:gs pos="100000">
                      <a:srgbClr val="000000"/>
                    </a:gs>
                  </a:gsLst>
                  <a:lin ang="5400000" scaled="0"/>
                </a:gradFill>
              </a:rPr>
              <a:t>Personal/Private views</a:t>
            </a:r>
          </a:p>
          <a:p>
            <a:pPr algn="r" defTabSz="951061">
              <a:lnSpc>
                <a:spcPct val="90000"/>
              </a:lnSpc>
              <a:spcAft>
                <a:spcPts val="612"/>
              </a:spcAft>
              <a:defRPr/>
            </a:pPr>
            <a:r>
              <a:rPr lang="en-US" sz="1632" kern="0">
                <a:gradFill>
                  <a:gsLst>
                    <a:gs pos="2917">
                      <a:srgbClr val="000000"/>
                    </a:gs>
                    <a:gs pos="100000">
                      <a:srgbClr val="000000"/>
                    </a:gs>
                  </a:gsLst>
                  <a:lin ang="5400000" scaled="0"/>
                </a:gradFill>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717191" y="3322702"/>
            <a:ext cx="2469210" cy="942692"/>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ush up content</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ower BI Desktop</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8156579" y="3322702"/>
            <a:ext cx="2731390"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Knowledge managem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648310" y="1942955"/>
            <a:ext cx="2498285"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Permanent record</a:t>
            </a:r>
          </a:p>
          <a:p>
            <a:pPr marL="0" indent="0" algn="r" defTabSz="951061">
              <a:lnSpc>
                <a:spcPct val="90000"/>
              </a:lnSpc>
              <a:spcAft>
                <a:spcPts val="612"/>
              </a:spcAft>
              <a:buNone/>
              <a:defRPr/>
            </a:pPr>
            <a:r>
              <a:rPr lang="en-US" sz="1632">
                <a:gradFill>
                  <a:gsLst>
                    <a:gs pos="2917">
                      <a:srgbClr val="000000"/>
                    </a:gs>
                    <a:gs pos="100000">
                      <a:srgbClr val="000000"/>
                    </a:gs>
                  </a:gsLst>
                  <a:lin ang="5400000" scaled="0"/>
                </a:gradFill>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370673" y="1942955"/>
            <a:ext cx="2259991" cy="633693"/>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Push down content</a:t>
            </a:r>
          </a:p>
          <a:p>
            <a:pPr marL="0" indent="0" defTabSz="951061">
              <a:lnSpc>
                <a:spcPct val="90000"/>
              </a:lnSpc>
              <a:spcAft>
                <a:spcPts val="612"/>
              </a:spcAft>
              <a:buNone/>
              <a:defRPr/>
            </a:pPr>
            <a:r>
              <a:rPr lang="en-US" sz="1632">
                <a:gradFill>
                  <a:gsLst>
                    <a:gs pos="2917">
                      <a:srgbClr val="000000"/>
                    </a:gs>
                    <a:gs pos="100000">
                      <a:srgbClr val="000000"/>
                    </a:gs>
                  </a:gsLst>
                  <a:lin ang="5400000" scaled="0"/>
                </a:gradFill>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533505" y="1195463"/>
            <a:ext cx="2826654" cy="5086053"/>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142571" y="1195463"/>
            <a:ext cx="2836369" cy="5090911"/>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94741" y="1743099"/>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19691" y="3014140"/>
            <a:ext cx="3787555" cy="583860"/>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496682" y="2297951"/>
            <a:ext cx="1728964" cy="3103265"/>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3248" tIns="46624" rIns="93248" bIns="46624" numCol="1" spcCol="0" rtlCol="0" fromWordArt="0" anchor="ctr" anchorCtr="0" forceAA="0" compatLnSpc="1">
            <a:prstTxWarp prst="textNoShape">
              <a:avLst/>
            </a:prstTxWarp>
            <a:noAutofit/>
          </a:bodyPr>
          <a:lstStyle/>
          <a:p>
            <a:pPr algn="ctr" defTabSz="951209">
              <a:defRPr/>
            </a:pPr>
            <a:endParaRPr lang="en-US" sz="1836" kern="0">
              <a:solidFill>
                <a:srgbClr val="505050"/>
              </a:solidFill>
              <a:latin typeface="Segoe UI"/>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396634" y="3293123"/>
            <a:ext cx="4512924" cy="583862"/>
          </a:xfrm>
          <a:prstGeom prst="rect">
            <a:avLst/>
          </a:prstGeom>
          <a:noFill/>
        </p:spPr>
        <p:txBody>
          <a:bodyPr wrap="square" lIns="186497" tIns="149198" rIns="186497" bIns="149198" rtlCol="0">
            <a:spAutoFit/>
          </a:bodyPr>
          <a:lstStyle/>
          <a:p>
            <a:pPr>
              <a:lnSpc>
                <a:spcPct val="90000"/>
              </a:lnSpc>
              <a:spcAft>
                <a:spcPts val="612"/>
              </a:spcAft>
            </a:pPr>
            <a:r>
              <a:rPr lang="en-US" sz="204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107970" y="2892753"/>
            <a:ext cx="8317331" cy="572466"/>
            <a:chOff x="2066223" y="2435918"/>
            <a:chExt cx="8156028" cy="572466"/>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6"/>
            </a:xfrm>
            <a:prstGeom prst="rect">
              <a:avLst/>
            </a:prstGeom>
            <a:noFill/>
          </p:spPr>
          <p:txBody>
            <a:bodyPr wrap="square" lIns="186497" tIns="149198" rIns="186497" bIns="149198" rtlCol="0">
              <a:spAutoFit/>
            </a:bodyPr>
            <a:lstStyle/>
            <a:p>
              <a:pPr>
                <a:lnSpc>
                  <a:spcPct val="90000"/>
                </a:lnSpc>
                <a:spcAft>
                  <a:spcPts val="612"/>
                </a:spcAft>
              </a:pPr>
              <a:r>
                <a:rPr lang="en-US" sz="2040">
                  <a:solidFill>
                    <a:srgbClr val="FF0000"/>
                  </a:solidFill>
                </a:rPr>
                <a:t>Consistent criteria and responsibilities</a:t>
              </a:r>
            </a:p>
          </p:txBody>
        </p:sp>
      </p:grpSp>
      <p:grpSp>
        <p:nvGrpSpPr>
          <p:cNvPr id="31" name="Group 30">
            <a:extLst>
              <a:ext uri="{FF2B5EF4-FFF2-40B4-BE49-F238E27FC236}">
                <a16:creationId xmlns:a16="http://schemas.microsoft.com/office/drawing/2014/main" id="{658A49E3-5187-4AF5-9FCE-91E4DFA386A0}"/>
              </a:ext>
            </a:extLst>
          </p:cNvPr>
          <p:cNvGrpSpPr/>
          <p:nvPr/>
        </p:nvGrpSpPr>
        <p:grpSpPr>
          <a:xfrm>
            <a:off x="550408" y="463476"/>
            <a:ext cx="801002" cy="800888"/>
            <a:chOff x="550478" y="463089"/>
            <a:chExt cx="801104" cy="800990"/>
          </a:xfrm>
        </p:grpSpPr>
        <p:sp>
          <p:nvSpPr>
            <p:cNvPr id="32" name="Oval 31">
              <a:extLst>
                <a:ext uri="{FF2B5EF4-FFF2-40B4-BE49-F238E27FC236}">
                  <a16:creationId xmlns:a16="http://schemas.microsoft.com/office/drawing/2014/main" id="{C0F6D64A-17B0-484D-80BC-9DD7F6D4019D}"/>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D5E5B864-3557-473E-8581-DBE7E3AD11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0008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6"/>
            </p:custDataLst>
          </p:nvPr>
        </p:nvSpPr>
        <p:spPr bwMode="auto">
          <a:xfrm rot="1095349">
            <a:off x="-1190676" y="687900"/>
            <a:ext cx="5618724" cy="5618724"/>
          </a:xfrm>
          <a:prstGeom prst="blockArc">
            <a:avLst>
              <a:gd name="adj1" fmla="val 15088304"/>
              <a:gd name="adj2" fmla="val 1728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Preparation</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7"/>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0" imgW="1397160" imgH="1606680" progId="Paint.Picture.1">
                    <p:embed/>
                  </p:oleObj>
                </mc:Choice>
                <mc:Fallback>
                  <p:oleObj name="Bitmap Image" r:id="rId90"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1"/>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3" cy="4110313"/>
            <a:chOff x="5889037" y="1419924"/>
            <a:chExt cx="6141097" cy="4110836"/>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1" y="2483384"/>
              <a:ext cx="6105913" cy="3047376"/>
            </a:xfrm>
            <a:prstGeom prst="rect">
              <a:avLst/>
            </a:prstGeom>
            <a:noFill/>
          </p:spPr>
          <p:txBody>
            <a:bodyPr wrap="square">
              <a:spAutoFit/>
            </a:bodyPr>
            <a:lstStyle/>
            <a:p>
              <a:r>
                <a:rPr lang="en-US" sz="2800" dirty="0">
                  <a:solidFill>
                    <a:srgbClr val="171717"/>
                  </a:solidFill>
                  <a:latin typeface="+mj-lt"/>
                </a:rPr>
                <a:t>We’ve been tasked with collecting and combining daily file extracts from our IT/Vendor support team.</a:t>
              </a:r>
            </a:p>
            <a:p>
              <a:endParaRPr lang="en-US" sz="2800" dirty="0">
                <a:solidFill>
                  <a:srgbClr val="171717"/>
                </a:solidFill>
                <a:latin typeface="+mj-lt"/>
              </a:endParaRPr>
            </a:p>
            <a:p>
              <a:r>
                <a:rPr lang="en-US" sz="2000" dirty="0">
                  <a:solidFill>
                    <a:srgbClr val="171717"/>
                  </a:solidFill>
                </a:rPr>
                <a:t>Since </a:t>
              </a:r>
              <a:r>
                <a:rPr lang="en-US" sz="2000">
                  <a:solidFill>
                    <a:srgbClr val="171717"/>
                  </a:solidFill>
                </a:rPr>
                <a:t>this information </a:t>
              </a:r>
              <a:r>
                <a:rPr lang="en-US" sz="2000" dirty="0">
                  <a:solidFill>
                    <a:srgbClr val="171717"/>
                  </a:solidFill>
                </a:rPr>
                <a:t>will be accessed by multiple teams in our organization, we’ll prepare our data once using dataflows and create reusable tables that our colleagues can easily connect.</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325526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5" name="Group 34"/>
          <p:cNvGrpSpPr/>
          <p:nvPr/>
        </p:nvGrpSpPr>
        <p:grpSpPr>
          <a:xfrm>
            <a:off x="1766" y="1936"/>
            <a:ext cx="5420556" cy="6991648"/>
            <a:chOff x="-618" y="973"/>
            <a:chExt cx="2849058" cy="6857027"/>
          </a:xfrm>
          <a:solidFill>
            <a:srgbClr val="000000"/>
          </a:solidFill>
        </p:grpSpPr>
        <p:sp>
          <p:nvSpPr>
            <p:cNvPr id="37" name="Rectangle 15"/>
            <p:cNvSpPr/>
            <p:nvPr/>
          </p:nvSpPr>
          <p:spPr bwMode="auto">
            <a:xfrm>
              <a:off x="-618" y="973"/>
              <a:ext cx="2849058" cy="68570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t" anchorCtr="0" forceAA="0" compatLnSpc="1">
              <a:prstTxWarp prst="textNoShape">
                <a:avLst/>
              </a:prstTxWarp>
              <a:noAutofit/>
            </a:bodyPr>
            <a:lstStyle/>
            <a:p>
              <a:pPr algn="ctr" defTabSz="931998"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Freeform 14"/>
            <p:cNvSpPr>
              <a:spLocks/>
            </p:cNvSpPr>
            <p:nvPr/>
          </p:nvSpPr>
          <p:spPr bwMode="auto">
            <a:xfrm rot="9900000">
              <a:off x="281101" y="1213467"/>
              <a:ext cx="172974" cy="172974"/>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grpFill/>
            <a:ln>
              <a:noFill/>
            </a:ln>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nvGrpSpPr>
            <p:cNvPr id="41" name="Group 40"/>
            <p:cNvGrpSpPr/>
            <p:nvPr/>
          </p:nvGrpSpPr>
          <p:grpSpPr>
            <a:xfrm>
              <a:off x="316244" y="3172634"/>
              <a:ext cx="255342" cy="224444"/>
              <a:chOff x="681704" y="2920137"/>
              <a:chExt cx="321649" cy="282726"/>
            </a:xfrm>
            <a:grpFill/>
          </p:grpSpPr>
          <p:sp>
            <p:nvSpPr>
              <p:cNvPr id="68"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9"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nvGrpSpPr>
            <p:cNvPr id="51" name="Group 379"/>
            <p:cNvGrpSpPr/>
            <p:nvPr/>
          </p:nvGrpSpPr>
          <p:grpSpPr>
            <a:xfrm>
              <a:off x="313308" y="4124009"/>
              <a:ext cx="276800" cy="192694"/>
              <a:chOff x="3543365" y="7242824"/>
              <a:chExt cx="1238250" cy="862020"/>
            </a:xfrm>
            <a:grpFill/>
          </p:grpSpPr>
          <p:sp>
            <p:nvSpPr>
              <p:cNvPr id="52"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3"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4" name="Rectangle 129"/>
              <p:cNvSpPr>
                <a:spLocks noChangeArrowheads="1"/>
              </p:cNvSpPr>
              <p:nvPr/>
            </p:nvSpPr>
            <p:spPr bwMode="auto">
              <a:xfrm>
                <a:off x="3617978" y="7466657"/>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5" name="Rectangle 130"/>
              <p:cNvSpPr>
                <a:spLocks noChangeArrowheads="1"/>
              </p:cNvSpPr>
              <p:nvPr/>
            </p:nvSpPr>
            <p:spPr bwMode="auto">
              <a:xfrm>
                <a:off x="3617978" y="7242824"/>
                <a:ext cx="231778" cy="1952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6"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7"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8"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59"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0"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1"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2"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3" name="Rectangle 138"/>
              <p:cNvSpPr>
                <a:spLocks noChangeArrowheads="1"/>
              </p:cNvSpPr>
              <p:nvPr/>
            </p:nvSpPr>
            <p:spPr bwMode="auto">
              <a:xfrm>
                <a:off x="4449825" y="7911159"/>
                <a:ext cx="231778" cy="193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4"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5"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6"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sp>
            <p:nvSpPr>
              <p:cNvPr id="67"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470"/>
                <a:endParaRPr lang="en-US" sz="1428">
                  <a:solidFill>
                    <a:srgbClr val="000000"/>
                  </a:solidFill>
                  <a:latin typeface="Segoe UI"/>
                </a:endParaRPr>
              </a:p>
            </p:txBody>
          </p:sp>
        </p:grpSp>
      </p:grpSp>
      <p:pic>
        <p:nvPicPr>
          <p:cNvPr id="33" name="Picture 32"/>
          <p:cNvPicPr>
            <a:picLocks noChangeAspect="1"/>
          </p:cNvPicPr>
          <p:nvPr/>
        </p:nvPicPr>
        <p:blipFill>
          <a:blip r:embed="rId3"/>
          <a:stretch>
            <a:fillRect/>
          </a:stretch>
        </p:blipFill>
        <p:spPr>
          <a:xfrm>
            <a:off x="5624914" y="-31564"/>
            <a:ext cx="6536077" cy="7149306"/>
          </a:xfrm>
          <a:prstGeom prst="rect">
            <a:avLst/>
          </a:prstGeom>
        </p:spPr>
      </p:pic>
      <p:sp>
        <p:nvSpPr>
          <p:cNvPr id="71" name="Title 2"/>
          <p:cNvSpPr txBox="1">
            <a:spLocks/>
          </p:cNvSpPr>
          <p:nvPr/>
        </p:nvSpPr>
        <p:spPr>
          <a:xfrm>
            <a:off x="275483" y="2112464"/>
            <a:ext cx="5147531" cy="1269185"/>
          </a:xfrm>
          <a:prstGeom prst="rect">
            <a:avLst/>
          </a:prstGeom>
        </p:spPr>
        <p:txBody>
          <a:bodyPr vert="horz" wrap="square" lIns="146264" tIns="91415" rIns="146264" bIns="91415"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470"/>
            <a:r>
              <a:rPr lang="en-US" sz="3999">
                <a:gradFill>
                  <a:gsLst>
                    <a:gs pos="66272">
                      <a:srgbClr val="FFB900"/>
                    </a:gs>
                    <a:gs pos="45562">
                      <a:srgbClr val="FFB900"/>
                    </a:gs>
                  </a:gsLst>
                  <a:lin ang="5400000" scaled="0"/>
                </a:gradFill>
                <a:latin typeface="Segoe UI Semibold" panose="020B0702040204020203" pitchFamily="34" charset="0"/>
                <a:cs typeface="Segoe UI Semibold" panose="020B0702040204020203" pitchFamily="34" charset="0"/>
              </a:rPr>
              <a:t>Three general approaches to delivering Power BI solutions</a:t>
            </a:r>
            <a:endParaRPr lang="en-US" sz="4399">
              <a:gradFill>
                <a:gsLst>
                  <a:gs pos="66272">
                    <a:srgbClr val="FFB900"/>
                  </a:gs>
                  <a:gs pos="45562">
                    <a:srgbClr val="FFB900"/>
                  </a:gs>
                </a:gsLst>
                <a:lin ang="5400000" scaled="0"/>
              </a:gradFill>
              <a:latin typeface="Segoe UI Light"/>
            </a:endParaRPr>
          </a:p>
        </p:txBody>
      </p:sp>
      <p:sp>
        <p:nvSpPr>
          <p:cNvPr id="2" name="Rectangle 1">
            <a:extLst>
              <a:ext uri="{FF2B5EF4-FFF2-40B4-BE49-F238E27FC236}">
                <a16:creationId xmlns:a16="http://schemas.microsoft.com/office/drawing/2014/main" id="{2E0A03D0-4A09-4574-B714-070FFFD9F254}"/>
              </a:ext>
            </a:extLst>
          </p:cNvPr>
          <p:cNvSpPr/>
          <p:nvPr/>
        </p:nvSpPr>
        <p:spPr bwMode="auto">
          <a:xfrm>
            <a:off x="7823154" y="343026"/>
            <a:ext cx="2122476" cy="5713536"/>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070FB034-351F-44E9-A822-73809EC6A02C}"/>
              </a:ext>
            </a:extLst>
          </p:cNvPr>
          <p:cNvSpPr/>
          <p:nvPr/>
        </p:nvSpPr>
        <p:spPr bwMode="auto">
          <a:xfrm>
            <a:off x="6099717" y="6056562"/>
            <a:ext cx="5742875" cy="82374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1214089C-4349-479C-B8B9-08AEFF570E13}"/>
              </a:ext>
            </a:extLst>
          </p:cNvPr>
          <p:cNvGrpSpPr/>
          <p:nvPr/>
        </p:nvGrpSpPr>
        <p:grpSpPr>
          <a:xfrm>
            <a:off x="550408" y="463476"/>
            <a:ext cx="801002" cy="800888"/>
            <a:chOff x="550478" y="463089"/>
            <a:chExt cx="801104" cy="800990"/>
          </a:xfrm>
          <a:effectLst>
            <a:glow rad="228600">
              <a:schemeClr val="accent1">
                <a:satMod val="175000"/>
                <a:alpha val="40000"/>
              </a:schemeClr>
            </a:glow>
          </a:effectLst>
        </p:grpSpPr>
        <p:sp>
          <p:nvSpPr>
            <p:cNvPr id="32" name="Oval 31">
              <a:extLst>
                <a:ext uri="{FF2B5EF4-FFF2-40B4-BE49-F238E27FC236}">
                  <a16:creationId xmlns:a16="http://schemas.microsoft.com/office/drawing/2014/main" id="{5471111E-2306-461E-9DC1-CFF47EC179E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8245D45F-2D16-4E5B-BBD7-EA471883065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37512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xit" presetSubtype="0" fill="hold" grpId="1" nodeType="withEffect">
                                  <p:stCondLst>
                                    <p:cond delay="0"/>
                                  </p:stCondLst>
                                  <p:childTnLst>
                                    <p:animEffect transition="out" filter="fade">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animBg="1"/>
    </p:bld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782040" y="591919"/>
          <a:ext cx="11370946" cy="590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nvGraphicFramePr>
        <p:xfrm>
          <a:off x="13495981" y="1372507"/>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634272" y="2377725"/>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3164472" y="4672203"/>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3164472" y="5738036"/>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DD43764-EEA4-43FC-B5E4-450717836B11}"/>
              </a:ext>
            </a:extLst>
          </p:cNvPr>
          <p:cNvGrpSpPr/>
          <p:nvPr/>
        </p:nvGrpSpPr>
        <p:grpSpPr>
          <a:xfrm>
            <a:off x="550408" y="463476"/>
            <a:ext cx="801002" cy="800888"/>
            <a:chOff x="550478" y="463089"/>
            <a:chExt cx="801104" cy="800990"/>
          </a:xfrm>
        </p:grpSpPr>
        <p:sp>
          <p:nvSpPr>
            <p:cNvPr id="9" name="Oval 8">
              <a:extLst>
                <a:ext uri="{FF2B5EF4-FFF2-40B4-BE49-F238E27FC236}">
                  <a16:creationId xmlns:a16="http://schemas.microsoft.com/office/drawing/2014/main" id="{52697C6E-B6D1-4A67-B77A-C0F1DEFCB9A4}"/>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14EEE643-D1E9-4C35-9618-7DA8CD47F78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4125500449"/>
      </p:ext>
    </p:extLst>
  </p:cSld>
  <p:clrMapOvr>
    <a:masterClrMapping/>
  </p:clrMapOvr>
  <p:transition spd="slow">
    <p:push/>
  </p:transition>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nvGraphicFramePr>
        <p:xfrm>
          <a:off x="-2640707" y="3820826"/>
          <a:ext cx="4201768" cy="21824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nvGraphicFramePr>
        <p:xfrm>
          <a:off x="1992992" y="1358140"/>
          <a:ext cx="10139076" cy="6789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131282" y="2363358"/>
            <a:ext cx="8616617" cy="10639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61481" y="4657836"/>
            <a:ext cx="331511" cy="408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61481" y="5723669"/>
            <a:ext cx="331511" cy="3663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8C4FCC9-34C1-47C5-976E-45AE25F8ADC7}"/>
              </a:ext>
            </a:extLst>
          </p:cNvPr>
          <p:cNvGrpSpPr/>
          <p:nvPr/>
        </p:nvGrpSpPr>
        <p:grpSpPr>
          <a:xfrm>
            <a:off x="550408" y="463476"/>
            <a:ext cx="801002" cy="800888"/>
            <a:chOff x="550478" y="463089"/>
            <a:chExt cx="801104" cy="800990"/>
          </a:xfrm>
        </p:grpSpPr>
        <p:sp>
          <p:nvSpPr>
            <p:cNvPr id="13" name="Oval 12">
              <a:extLst>
                <a:ext uri="{FF2B5EF4-FFF2-40B4-BE49-F238E27FC236}">
                  <a16:creationId xmlns:a16="http://schemas.microsoft.com/office/drawing/2014/main" id="{2B50BBDF-F25C-476C-8F9C-5EA5AB0DF4A8}"/>
                </a:ext>
              </a:extLst>
            </p:cNvPr>
            <p:cNvSpPr/>
            <p:nvPr userDrawn="1"/>
          </p:nvSpPr>
          <p:spPr bwMode="auto">
            <a:xfrm>
              <a:off x="550478" y="463089"/>
              <a:ext cx="801104" cy="80099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solidFill>
                  <a:srgbClr val="FFFFFF"/>
                </a:solidFill>
                <a:ea typeface="Segoe UI" pitchFamily="34" charset="0"/>
                <a:cs typeface="Segoe UI" pitchFamily="34" charset="0"/>
              </a:endParaRPr>
            </a:p>
          </p:txBody>
        </p:sp>
        <p:pic>
          <p:nvPicPr>
            <p:cNvPr id="15" name="Graphic 14">
              <a:extLst>
                <a:ext uri="{FF2B5EF4-FFF2-40B4-BE49-F238E27FC236}">
                  <a16:creationId xmlns:a16="http://schemas.microsoft.com/office/drawing/2014/main" id="{20E0CFF2-C0F0-4A3E-9AE4-F8D488D6C60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9875" y="623042"/>
              <a:ext cx="462310" cy="462244"/>
            </a:xfrm>
            <a:prstGeom prst="rect">
              <a:avLst/>
            </a:prstGeom>
          </p:spPr>
        </p:pic>
      </p:grp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18B52-93C5-4EB8-84B3-F4421E515827}"/>
              </a:ext>
            </a:extLst>
          </p:cNvPr>
          <p:cNvSpPr>
            <a:spLocks noGrp="1"/>
          </p:cNvSpPr>
          <p:nvPr>
            <p:ph type="title"/>
          </p:nvPr>
        </p:nvSpPr>
        <p:spPr>
          <a:xfrm>
            <a:off x="600059" y="1487073"/>
            <a:ext cx="11239464" cy="1130181"/>
          </a:xfrm>
        </p:spPr>
        <p:txBody>
          <a:bodyPr/>
          <a:lstStyle/>
          <a:p>
            <a:r>
              <a:rPr lang="en-US"/>
              <a:t>Successful data governance makes “yes, and” the default answer, and makes “no” the exception.</a:t>
            </a:r>
          </a:p>
        </p:txBody>
      </p:sp>
      <p:pic>
        <p:nvPicPr>
          <p:cNvPr id="6" name="Picture 5" descr="A close up of a white wall&#10;&#10;Description automatically generated">
            <a:extLst>
              <a:ext uri="{FF2B5EF4-FFF2-40B4-BE49-F238E27FC236}">
                <a16:creationId xmlns:a16="http://schemas.microsoft.com/office/drawing/2014/main" id="{98D0A6F7-96AB-48FF-A41F-C27B3B9E30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170" b="23750"/>
          <a:stretch/>
        </p:blipFill>
        <p:spPr>
          <a:xfrm flipH="1">
            <a:off x="882" y="2948229"/>
            <a:ext cx="12434711" cy="4046296"/>
          </a:xfrm>
          <a:prstGeom prst="rect">
            <a:avLst/>
          </a:prstGeom>
        </p:spPr>
      </p:pic>
    </p:spTree>
    <p:extLst>
      <p:ext uri="{BB962C8B-B14F-4D97-AF65-F5344CB8AC3E}">
        <p14:creationId xmlns:p14="http://schemas.microsoft.com/office/powerpoint/2010/main" val="2008886511"/>
      </p:ext>
    </p:extLst>
  </p:cSld>
  <p:clrMapOvr>
    <a:masterClrMapping/>
  </p:clrMapOvr>
  <p:transition spd="slow">
    <p:push dir="u"/>
  </p:transition>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579308" y="397648"/>
            <a:ext cx="5709479" cy="985103"/>
          </a:xfrm>
        </p:spPr>
        <p:txBody>
          <a:bodyPr vert="horz" wrap="square" lIns="93248" tIns="46624" rIns="93248" bIns="46624" rtlCol="0" anchor="b">
            <a:normAutofit fontScale="92500" lnSpcReduction="10000"/>
          </a:bodyPr>
          <a:lstStyle/>
          <a:p>
            <a:r>
              <a:rPr lang="en-US" sz="3264" b="1"/>
              <a:t>Establish and empower a Center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68277" y="1543843"/>
            <a:ext cx="5435600" cy="2460625"/>
          </a:xfrm>
        </p:spPr>
        <p:txBody>
          <a:bodyPr/>
          <a:lstStyle/>
          <a:p>
            <a:r>
              <a:rPr lang="en-US"/>
              <a:t>Key business and IT stakeholders</a:t>
            </a:r>
          </a:p>
          <a:p>
            <a:r>
              <a:rPr lang="en-US"/>
              <a:t>System and process owners</a:t>
            </a:r>
          </a:p>
          <a:p>
            <a:r>
              <a:rPr lang="en-US"/>
              <a:t>Decision-makers</a:t>
            </a:r>
          </a:p>
          <a:p>
            <a:r>
              <a:rPr lang="en-US"/>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6288787" y="397648"/>
            <a:ext cx="5434012" cy="839788"/>
          </a:xfrm>
        </p:spPr>
        <p:txBody>
          <a:bodyPr>
            <a:normAutofit fontScale="92500" lnSpcReduction="10000"/>
          </a:bodyPr>
          <a:lstStyle/>
          <a:p>
            <a:pPr marL="0" indent="0">
              <a:buNone/>
            </a:pPr>
            <a:r>
              <a:rPr lang="en-US" sz="3264" b="1"/>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354107" y="1543843"/>
            <a:ext cx="5434012" cy="2020888"/>
          </a:xfrm>
        </p:spPr>
        <p:txBody>
          <a:bodyPr/>
          <a:lstStyle/>
          <a:p>
            <a:r>
              <a:rPr lang="en-US"/>
              <a:t>People with problems</a:t>
            </a:r>
          </a:p>
          <a:p>
            <a:r>
              <a:rPr lang="en-US"/>
              <a:t>People with solutions</a:t>
            </a:r>
          </a:p>
          <a:p>
            <a:r>
              <a:rPr lang="en-US"/>
              <a:t>Champions</a:t>
            </a:r>
          </a:p>
          <a:p>
            <a:r>
              <a:rPr lang="en-US"/>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4333" y="4263324"/>
            <a:ext cx="5434404" cy="2421535"/>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55920" y="4263324"/>
            <a:ext cx="5460314" cy="2421535"/>
          </a:xfrm>
          <a:prstGeom prst="rect">
            <a:avLst/>
          </a:prstGeom>
        </p:spPr>
      </p:pic>
    </p:spTree>
    <p:extLst>
      <p:ext uri="{BB962C8B-B14F-4D97-AF65-F5344CB8AC3E}">
        <p14:creationId xmlns:p14="http://schemas.microsoft.com/office/powerpoint/2010/main" val="618699518"/>
      </p:ext>
    </p:extLst>
  </p:cSld>
  <p:clrMapOvr>
    <a:masterClrMapping/>
  </p:clrMapOvr>
  <p:transition spd="slow">
    <p:push dir="u"/>
  </p:transition>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sz="quarter" idx="10"/>
          </p:nvPr>
        </p:nvSpPr>
        <p:spPr>
          <a:xfrm>
            <a:off x="617449" y="431102"/>
            <a:ext cx="5434012" cy="439465"/>
          </a:xfrm>
        </p:spPr>
        <p:txBody>
          <a:bodyPr vert="horz" wrap="square" lIns="93248" tIns="46624" rIns="93248" bIns="46624" rtlCol="0" anchor="b">
            <a:normAutofit fontScale="85000" lnSpcReduction="20000"/>
          </a:bodyPr>
          <a:lstStyle/>
          <a:p>
            <a:r>
              <a:rPr lang="en-US" sz="3264" b="1"/>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4294967295"/>
          </p:nvPr>
        </p:nvSpPr>
        <p:spPr>
          <a:xfrm>
            <a:off x="681828" y="1395484"/>
            <a:ext cx="5435600" cy="1573213"/>
          </a:xfrm>
        </p:spPr>
        <p:txBody>
          <a:bodyPr>
            <a:normAutofit fontScale="92500" lnSpcReduction="20000"/>
          </a:bodyPr>
          <a:lstStyle/>
          <a:p>
            <a:r>
              <a:rPr lang="en-US"/>
              <a:t>Build portal</a:t>
            </a:r>
          </a:p>
          <a:p>
            <a:r>
              <a:rPr lang="en-US"/>
              <a:t>Consolidate resources in portal</a:t>
            </a:r>
          </a:p>
          <a:p>
            <a:r>
              <a:rPr lang="en-US"/>
              <a:t>Direct traffic to portal</a:t>
            </a:r>
          </a:p>
          <a:p>
            <a:r>
              <a:rPr lang="en-US"/>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4294967295"/>
          </p:nvPr>
        </p:nvSpPr>
        <p:spPr>
          <a:xfrm>
            <a:off x="7002463" y="431102"/>
            <a:ext cx="5434012" cy="839788"/>
          </a:xfrm>
        </p:spPr>
        <p:txBody>
          <a:bodyPr>
            <a:normAutofit fontScale="92500" lnSpcReduction="10000"/>
          </a:bodyPr>
          <a:lstStyle/>
          <a:p>
            <a:pPr marL="0" indent="0">
              <a:buNone/>
            </a:pPr>
            <a:r>
              <a:rPr lang="en-US" sz="3264" b="1"/>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294967295"/>
          </p:nvPr>
        </p:nvSpPr>
        <p:spPr>
          <a:xfrm>
            <a:off x="6787632" y="1395484"/>
            <a:ext cx="5434012" cy="1573213"/>
          </a:xfrm>
        </p:spPr>
        <p:txBody>
          <a:bodyPr>
            <a:normAutofit fontScale="92500" lnSpcReduction="20000"/>
          </a:bodyPr>
          <a:lstStyle/>
          <a:p>
            <a:r>
              <a:rPr lang="en-US"/>
              <a:t>Listen and learn</a:t>
            </a:r>
          </a:p>
          <a:p>
            <a:r>
              <a:rPr lang="en-US"/>
              <a:t>Find places for people to help</a:t>
            </a:r>
          </a:p>
          <a:p>
            <a:r>
              <a:rPr lang="en-US"/>
              <a:t>Say thank you, and mean it</a:t>
            </a:r>
          </a:p>
          <a:p>
            <a:r>
              <a:rPr lang="en-US"/>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81828" y="3438366"/>
            <a:ext cx="5315032" cy="2986519"/>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alphaModFix amt="71000"/>
          </a:blip>
          <a:stretch>
            <a:fillRect/>
          </a:stretch>
        </p:blipFill>
        <p:spPr>
          <a:xfrm>
            <a:off x="6753493" y="3438366"/>
            <a:ext cx="5600798" cy="2986519"/>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957528" y="2878171"/>
            <a:ext cx="2356235" cy="2197184"/>
          </a:xfrm>
          <a:prstGeom prst="rect">
            <a:avLst/>
          </a:prstGeom>
        </p:spPr>
      </p:pic>
    </p:spTree>
    <p:extLst>
      <p:ext uri="{BB962C8B-B14F-4D97-AF65-F5344CB8AC3E}">
        <p14:creationId xmlns:p14="http://schemas.microsoft.com/office/powerpoint/2010/main" val="247912520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64F745-ADEA-4CCC-8172-A6A5F90F10B7}"/>
              </a:ext>
            </a:extLst>
          </p:cNvPr>
          <p:cNvSpPr>
            <a:spLocks noGrp="1"/>
          </p:cNvSpPr>
          <p:nvPr>
            <p:ph type="title"/>
          </p:nvPr>
        </p:nvSpPr>
        <p:spPr>
          <a:xfrm>
            <a:off x="600059" y="899359"/>
            <a:ext cx="11239464" cy="4207947"/>
          </a:xfrm>
        </p:spPr>
        <p:txBody>
          <a:bodyPr/>
          <a:lstStyle/>
          <a:p>
            <a:r>
              <a:rPr lang="en-US" sz="4000" i="1"/>
              <a:t>“A complex system that works is invariably found to have evolved from a simple system that works. The inverse proposition also appears to be true: A complex system designed from scratch never works and cannot be made to work.”</a:t>
            </a:r>
            <a:br>
              <a:rPr lang="en-US" sz="4000" i="1"/>
            </a:br>
            <a:br>
              <a:rPr lang="en-US"/>
            </a:br>
            <a:r>
              <a:rPr lang="en-US"/>
              <a:t>-- John Gall</a:t>
            </a:r>
          </a:p>
        </p:txBody>
      </p:sp>
    </p:spTree>
    <p:extLst>
      <p:ext uri="{BB962C8B-B14F-4D97-AF65-F5344CB8AC3E}">
        <p14:creationId xmlns:p14="http://schemas.microsoft.com/office/powerpoint/2010/main" val="1851582088"/>
      </p:ext>
    </p:extLst>
  </p:cSld>
  <p:clrMapOvr>
    <a:masterClrMapping/>
  </p:clrMapOvr>
  <p:transition spd="slow">
    <p:push dir="u"/>
  </p:transition>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A4976-00B8-4381-ADD3-6EAA745032F6}"/>
              </a:ext>
            </a:extLst>
          </p:cNvPr>
          <p:cNvSpPr>
            <a:spLocks noGrp="1"/>
          </p:cNvSpPr>
          <p:nvPr>
            <p:ph type="title"/>
          </p:nvPr>
        </p:nvSpPr>
        <p:spPr>
          <a:xfrm>
            <a:off x="599982" y="3070256"/>
            <a:ext cx="4603037" cy="565091"/>
          </a:xfrm>
        </p:spPr>
        <p:txBody>
          <a:bodyPr/>
          <a:lstStyle/>
          <a:p>
            <a:r>
              <a:rPr lang="en-US"/>
              <a:t>One more thing…</a:t>
            </a:r>
          </a:p>
        </p:txBody>
      </p:sp>
      <p:pic>
        <p:nvPicPr>
          <p:cNvPr id="5" name="Picture Placeholder 4" descr="A person sitting in a chair&#10;&#10;Description automatically generated with low confidence">
            <a:extLst>
              <a:ext uri="{FF2B5EF4-FFF2-40B4-BE49-F238E27FC236}">
                <a16:creationId xmlns:a16="http://schemas.microsoft.com/office/drawing/2014/main" id="{FA77953A-8A33-4651-87D2-5C889F11A99E}"/>
              </a:ext>
            </a:extLst>
          </p:cNvPr>
          <p:cNvPicPr>
            <a:picLocks noGrp="1" noChangeAspect="1"/>
          </p:cNvPicPr>
          <p:nvPr>
            <p:ph type="pic" sz="quarter" idx="17"/>
          </p:nvPr>
        </p:nvPicPr>
        <p:blipFill rotWithShape="1">
          <a:blip r:embed="rId2"/>
          <a:srcRect t="8553" b="12775"/>
          <a:stretch/>
        </p:blipFill>
        <p:spPr>
          <a:xfrm>
            <a:off x="6586825" y="397223"/>
            <a:ext cx="5249591" cy="6200077"/>
          </a:xfrm>
        </p:spPr>
      </p:pic>
    </p:spTree>
    <p:extLst>
      <p:ext uri="{BB962C8B-B14F-4D97-AF65-F5344CB8AC3E}">
        <p14:creationId xmlns:p14="http://schemas.microsoft.com/office/powerpoint/2010/main" val="227987308"/>
      </p:ext>
    </p:extLst>
  </p:cSld>
  <p:clrMapOvr>
    <a:masterClrMapping/>
  </p:clrMapOvr>
  <p:transition spd="slow">
    <p:push dir="r"/>
  </p:transition>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type="body" sz="quarter" idx="10"/>
          </p:nvPr>
        </p:nvSpPr>
        <p:spPr>
          <a:xfrm>
            <a:off x="595914" y="1463670"/>
            <a:ext cx="11239463" cy="5160414"/>
          </a:xfrm>
        </p:spPr>
        <p:txBody>
          <a:bodyPr>
            <a:normAutofit/>
          </a:bodyPr>
          <a:lstStyle/>
          <a:p>
            <a:r>
              <a:rPr lang="en-US"/>
              <a:t>Power BI Adoption Roadmap and Implementation Planning Guidance</a:t>
            </a:r>
          </a:p>
          <a:p>
            <a:pPr lvl="1"/>
            <a:r>
              <a:rPr lang="en-US">
                <a:hlinkClick r:id="rId3"/>
              </a:rPr>
              <a:t>https://aka.ms/PowerBIAdpotionRoadmap</a:t>
            </a:r>
            <a:r>
              <a:rPr lang="en-US"/>
              <a:t>  </a:t>
            </a:r>
          </a:p>
          <a:p>
            <a:pPr lvl="1"/>
            <a:r>
              <a:rPr lang="en-US">
                <a:hlinkClick r:id="rId4"/>
              </a:rPr>
              <a:t>https://aka.ms/PowerBIImplementationPlanning</a:t>
            </a:r>
            <a:r>
              <a:rPr lang="en-US"/>
              <a:t> </a:t>
            </a:r>
          </a:p>
          <a:p>
            <a:r>
              <a:rPr lang="en-US"/>
              <a:t>Power BI guidance documentation</a:t>
            </a:r>
          </a:p>
          <a:p>
            <a:pPr lvl="1"/>
            <a:r>
              <a:rPr lang="en-US">
                <a:hlinkClick r:id="rId5"/>
              </a:rPr>
              <a:t>https://docs.microsoft.com/en-us/power-bi/guidance/</a:t>
            </a:r>
            <a:endParaRPr lang="en-US"/>
          </a:p>
          <a:p>
            <a:r>
              <a:rPr lang="en-US"/>
              <a:t>Matthew Roche’s blog and YouTube:</a:t>
            </a:r>
          </a:p>
          <a:p>
            <a:pPr lvl="1"/>
            <a:r>
              <a:rPr lang="en-US">
                <a:hlinkClick r:id="rId6"/>
              </a:rPr>
              <a:t>https://ssbipolar.com/building-a-data-culture/</a:t>
            </a:r>
            <a:r>
              <a:rPr lang="en-US"/>
              <a:t> </a:t>
            </a:r>
          </a:p>
          <a:p>
            <a:pPr lvl="1"/>
            <a:r>
              <a:rPr lang="en-US"/>
              <a:t>☝ 17-video “Building a data culture” YouTube series + much more</a:t>
            </a:r>
          </a:p>
          <a:p>
            <a:r>
              <a:rPr lang="en-US"/>
              <a:t>Power BI customer success stories</a:t>
            </a:r>
          </a:p>
          <a:p>
            <a:pPr lvl="1"/>
            <a:r>
              <a:rPr lang="en-US">
                <a:hlinkClick r:id="rId7"/>
              </a:rPr>
              <a:t>https://customers.microsoft.com/en-us/story/857107-nestle-consumer-goods-azure-power-bi</a:t>
            </a:r>
            <a:r>
              <a:rPr lang="en-US"/>
              <a:t> </a:t>
            </a:r>
          </a:p>
        </p:txBody>
      </p:sp>
    </p:spTree>
    <p:extLst>
      <p:ext uri="{BB962C8B-B14F-4D97-AF65-F5344CB8AC3E}">
        <p14:creationId xmlns:p14="http://schemas.microsoft.com/office/powerpoint/2010/main" val="409482485"/>
      </p:ext>
    </p:extLst>
  </p:cSld>
  <p:clrMapOvr>
    <a:masterClrMapping/>
  </p:clrMapOvr>
  <p:transition spd="slow">
    <p:push dir="u"/>
  </p:transition>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s</a:t>
            </a:r>
          </a:p>
          <a:p>
            <a:pPr lvl="1"/>
            <a:r>
              <a:rPr lang="en-US"/>
              <a:t>Data culture</a:t>
            </a:r>
          </a:p>
          <a:p>
            <a:pPr lvl="1"/>
            <a:r>
              <a:rPr lang="en-US"/>
              <a:t>Executive sponsorship</a:t>
            </a:r>
          </a:p>
          <a:p>
            <a:pPr lvl="1"/>
            <a:r>
              <a:rPr lang="en-US"/>
              <a:t>Content ownership</a:t>
            </a:r>
          </a:p>
          <a:p>
            <a:pPr lvl="1"/>
            <a:r>
              <a:rPr lang="en-US"/>
              <a:t>Content delivery scope</a:t>
            </a:r>
          </a:p>
          <a:p>
            <a:pPr lvl="1"/>
            <a:r>
              <a:rPr lang="en-US"/>
              <a:t>Center of excellence</a:t>
            </a:r>
          </a:p>
          <a:p>
            <a:pPr lvl="1"/>
            <a:r>
              <a:rPr lang="en-US"/>
              <a:t>Governance</a:t>
            </a:r>
          </a:p>
          <a:p>
            <a:pPr lvl="1"/>
            <a:r>
              <a:rPr lang="en-US"/>
              <a:t>Mentoring and user enablement</a:t>
            </a:r>
          </a:p>
          <a:p>
            <a:pPr lvl="1"/>
            <a:r>
              <a:rPr lang="en-US"/>
              <a:t>Community of practice</a:t>
            </a:r>
          </a:p>
          <a:p>
            <a:pPr lvl="1"/>
            <a:r>
              <a:rPr lang="en-US"/>
              <a:t>User support</a:t>
            </a:r>
          </a:p>
          <a:p>
            <a:pPr lvl="1"/>
            <a:r>
              <a:rPr lang="en-US"/>
              <a:t>System oversight</a:t>
            </a:r>
          </a:p>
          <a:p>
            <a:r>
              <a:rPr lang="en-US"/>
              <a:t>Consistent guidance</a:t>
            </a:r>
          </a:p>
          <a:p>
            <a:pPr lvl="1"/>
            <a:r>
              <a:rPr lang="en-US"/>
              <a:t>Concepts and context</a:t>
            </a:r>
          </a:p>
          <a:p>
            <a:pPr lvl="1"/>
            <a:r>
              <a:rPr lang="en-US"/>
              <a:t>Considerations and key actions</a:t>
            </a:r>
          </a:p>
          <a:p>
            <a:pPr lvl="1"/>
            <a:r>
              <a:rPr lang="en-US"/>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3412" y="1174626"/>
            <a:ext cx="5353703" cy="5462446"/>
          </a:xfrm>
          <a:prstGeom prst="rect">
            <a:avLst/>
          </a:prstGeom>
          <a:noFill/>
        </p:spPr>
      </p:pic>
    </p:spTree>
    <p:extLst>
      <p:ext uri="{BB962C8B-B14F-4D97-AF65-F5344CB8AC3E}">
        <p14:creationId xmlns:p14="http://schemas.microsoft.com/office/powerpoint/2010/main" val="3162241182"/>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ataflows</a:t>
            </a:r>
          </a:p>
        </p:txBody>
      </p:sp>
      <p:sp>
        <p:nvSpPr>
          <p:cNvPr id="4" name="TextBox 3">
            <a:extLst>
              <a:ext uri="{FF2B5EF4-FFF2-40B4-BE49-F238E27FC236}">
                <a16:creationId xmlns:a16="http://schemas.microsoft.com/office/drawing/2014/main" id="{D4917F3F-DCCF-4C8F-B2BF-8DFC2DD1037A}"/>
              </a:ext>
            </a:extLst>
          </p:cNvPr>
          <p:cNvSpPr txBox="1"/>
          <p:nvPr/>
        </p:nvSpPr>
        <p:spPr>
          <a:xfrm>
            <a:off x="464448" y="2785746"/>
            <a:ext cx="2774547" cy="2523768"/>
          </a:xfrm>
          <a:prstGeom prst="rect">
            <a:avLst/>
          </a:prstGeom>
          <a:noFill/>
        </p:spPr>
        <p:txBody>
          <a:bodyPr wrap="square" lIns="0" tIns="0" rIns="0" bIns="0" rtlCol="0" anchor="t">
            <a:spAutoFit/>
          </a:bodyPr>
          <a:lstStyle/>
          <a:p>
            <a:r>
              <a:rPr lang="en-US" sz="2000" dirty="0">
                <a:solidFill>
                  <a:srgbClr val="171717"/>
                </a:solidFill>
                <a:latin typeface="Segoe UI"/>
                <a:cs typeface="Segoe UI"/>
              </a:rPr>
              <a:t>Dataflows are a self-service, cloud-based, data preparation technology. </a:t>
            </a:r>
            <a:endParaRPr lang="en-US" sz="2000" dirty="0">
              <a:solidFill>
                <a:srgbClr val="171717"/>
              </a:solidFill>
              <a:latin typeface="Segoe UI" panose="020B0502040204020203" pitchFamily="34" charset="0"/>
            </a:endParaRPr>
          </a:p>
          <a:p>
            <a:pPr algn="l"/>
            <a:endParaRPr lang="en-US" sz="2000" dirty="0">
              <a:solidFill>
                <a:srgbClr val="171717"/>
              </a:solidFill>
              <a:latin typeface="Segoe UI" panose="020B0502040204020203" pitchFamily="34" charset="0"/>
            </a:endParaRPr>
          </a:p>
          <a:p>
            <a:r>
              <a:rPr lang="en-US" sz="1600" dirty="0">
                <a:solidFill>
                  <a:schemeClr val="bg1">
                    <a:lumMod val="65000"/>
                  </a:schemeClr>
                </a:solidFill>
                <a:latin typeface="Segoe UI"/>
                <a:cs typeface="Segoe UI"/>
              </a:rPr>
              <a:t>Dataflows are available in Power BI, Power Apps and Dynamics 365 Customer Insights.</a:t>
            </a:r>
          </a:p>
        </p:txBody>
      </p:sp>
      <p:pic>
        <p:nvPicPr>
          <p:cNvPr id="16" name="Graphic 15" descr="Database outline">
            <a:extLst>
              <a:ext uri="{FF2B5EF4-FFF2-40B4-BE49-F238E27FC236}">
                <a16:creationId xmlns:a16="http://schemas.microsoft.com/office/drawing/2014/main" id="{1E6952E8-DE27-5791-99CA-4358D3D071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740" y="4836237"/>
            <a:ext cx="1220152" cy="1220152"/>
          </a:xfrm>
          <a:prstGeom prst="rect">
            <a:avLst/>
          </a:prstGeom>
        </p:spPr>
      </p:pic>
      <p:grpSp>
        <p:nvGrpSpPr>
          <p:cNvPr id="29" name="Group 28">
            <a:extLst>
              <a:ext uri="{FF2B5EF4-FFF2-40B4-BE49-F238E27FC236}">
                <a16:creationId xmlns:a16="http://schemas.microsoft.com/office/drawing/2014/main" id="{A1B0A015-0EFC-647F-840D-96CA97BA38B1}"/>
              </a:ext>
            </a:extLst>
          </p:cNvPr>
          <p:cNvGrpSpPr/>
          <p:nvPr/>
        </p:nvGrpSpPr>
        <p:grpSpPr>
          <a:xfrm>
            <a:off x="3588149" y="3477132"/>
            <a:ext cx="914400" cy="1205506"/>
            <a:chOff x="3617222" y="5150050"/>
            <a:chExt cx="914400" cy="1205506"/>
          </a:xfrm>
        </p:grpSpPr>
        <p:pic>
          <p:nvPicPr>
            <p:cNvPr id="13" name="Graphic 12" descr="Open folder outline">
              <a:extLst>
                <a:ext uri="{FF2B5EF4-FFF2-40B4-BE49-F238E27FC236}">
                  <a16:creationId xmlns:a16="http://schemas.microsoft.com/office/drawing/2014/main" id="{54E61980-228D-7894-3958-08650C6FD8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17222" y="5150050"/>
              <a:ext cx="914400" cy="914400"/>
            </a:xfrm>
            <a:prstGeom prst="rect">
              <a:avLst/>
            </a:prstGeom>
          </p:spPr>
        </p:pic>
        <p:pic>
          <p:nvPicPr>
            <p:cNvPr id="15" name="Graphic 14" descr="Document outline">
              <a:extLst>
                <a:ext uri="{FF2B5EF4-FFF2-40B4-BE49-F238E27FC236}">
                  <a16:creationId xmlns:a16="http://schemas.microsoft.com/office/drawing/2014/main" id="{0FEAB499-D54C-F5F7-FAE8-21472AD933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7222" y="5894252"/>
              <a:ext cx="461304" cy="461304"/>
            </a:xfrm>
            <a:prstGeom prst="rect">
              <a:avLst/>
            </a:prstGeom>
          </p:spPr>
        </p:pic>
        <p:pic>
          <p:nvPicPr>
            <p:cNvPr id="17" name="Graphic 16" descr="Document outline">
              <a:extLst>
                <a:ext uri="{FF2B5EF4-FFF2-40B4-BE49-F238E27FC236}">
                  <a16:creationId xmlns:a16="http://schemas.microsoft.com/office/drawing/2014/main" id="{3BBEB372-A8C9-31D2-E159-3F19E0EB56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3485" y="5894252"/>
              <a:ext cx="461304" cy="461304"/>
            </a:xfrm>
            <a:prstGeom prst="rect">
              <a:avLst/>
            </a:prstGeom>
          </p:spPr>
        </p:pic>
      </p:grpSp>
      <p:sp>
        <p:nvSpPr>
          <p:cNvPr id="19" name="Rectangle 18">
            <a:extLst>
              <a:ext uri="{FF2B5EF4-FFF2-40B4-BE49-F238E27FC236}">
                <a16:creationId xmlns:a16="http://schemas.microsoft.com/office/drawing/2014/main" id="{C9E4195A-C6CD-3E76-EE13-C54500180E68}"/>
              </a:ext>
            </a:extLst>
          </p:cNvPr>
          <p:cNvSpPr/>
          <p:nvPr/>
        </p:nvSpPr>
        <p:spPr bwMode="auto">
          <a:xfrm>
            <a:off x="5737794" y="2372751"/>
            <a:ext cx="2774548"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31" name="Straight Arrow Connector 30">
            <a:extLst>
              <a:ext uri="{FF2B5EF4-FFF2-40B4-BE49-F238E27FC236}">
                <a16:creationId xmlns:a16="http://schemas.microsoft.com/office/drawing/2014/main" id="{5398892E-3E61-156B-1211-00B5B6034393}"/>
              </a:ext>
            </a:extLst>
          </p:cNvPr>
          <p:cNvCxnSpPr>
            <a:cxnSpLocks/>
          </p:cNvCxnSpPr>
          <p:nvPr/>
        </p:nvCxnSpPr>
        <p:spPr>
          <a:xfrm>
            <a:off x="4618892" y="2909723"/>
            <a:ext cx="101287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276025C-24CB-287C-FF1E-4E1944DFA491}"/>
              </a:ext>
            </a:extLst>
          </p:cNvPr>
          <p:cNvCxnSpPr>
            <a:cxnSpLocks/>
          </p:cNvCxnSpPr>
          <p:nvPr/>
        </p:nvCxnSpPr>
        <p:spPr>
          <a:xfrm>
            <a:off x="4502549" y="5479194"/>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700C7F-CDCE-F30C-3880-AD7B5A2F1668}"/>
              </a:ext>
            </a:extLst>
          </p:cNvPr>
          <p:cNvCxnSpPr>
            <a:cxnSpLocks/>
          </p:cNvCxnSpPr>
          <p:nvPr/>
        </p:nvCxnSpPr>
        <p:spPr>
          <a:xfrm>
            <a:off x="4502549" y="4130031"/>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87" name="Group 1086">
            <a:extLst>
              <a:ext uri="{FF2B5EF4-FFF2-40B4-BE49-F238E27FC236}">
                <a16:creationId xmlns:a16="http://schemas.microsoft.com/office/drawing/2014/main" id="{DA966F6E-EC5F-860E-5BDA-D9FA8A2EE0CE}"/>
              </a:ext>
            </a:extLst>
          </p:cNvPr>
          <p:cNvGrpSpPr/>
          <p:nvPr/>
        </p:nvGrpSpPr>
        <p:grpSpPr>
          <a:xfrm>
            <a:off x="5955323" y="2437143"/>
            <a:ext cx="998520" cy="1023509"/>
            <a:chOff x="5955323" y="2437143"/>
            <a:chExt cx="998520" cy="1023509"/>
          </a:xfrm>
        </p:grpSpPr>
        <p:grpSp>
          <p:nvGrpSpPr>
            <p:cNvPr id="44" name="Group 43">
              <a:extLst>
                <a:ext uri="{FF2B5EF4-FFF2-40B4-BE49-F238E27FC236}">
                  <a16:creationId xmlns:a16="http://schemas.microsoft.com/office/drawing/2014/main" id="{337BEEDD-CFB9-C387-0ABB-DE26D87E0C55}"/>
                </a:ext>
              </a:extLst>
            </p:cNvPr>
            <p:cNvGrpSpPr/>
            <p:nvPr/>
          </p:nvGrpSpPr>
          <p:grpSpPr>
            <a:xfrm>
              <a:off x="5955323" y="2569698"/>
              <a:ext cx="998520" cy="890954"/>
              <a:chOff x="5955323" y="2569698"/>
              <a:chExt cx="998520" cy="890954"/>
            </a:xfrm>
          </p:grpSpPr>
          <p:pic>
            <p:nvPicPr>
              <p:cNvPr id="39" name="Graphic 38">
                <a:extLst>
                  <a:ext uri="{FF2B5EF4-FFF2-40B4-BE49-F238E27FC236}">
                    <a16:creationId xmlns:a16="http://schemas.microsoft.com/office/drawing/2014/main" id="{3B976E79-7DDB-C0CA-B2B6-40D3F3BA6E4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60468" y="2811585"/>
                <a:ext cx="375710" cy="429383"/>
              </a:xfrm>
              <a:prstGeom prst="rect">
                <a:avLst/>
              </a:prstGeom>
            </p:spPr>
          </p:pic>
          <p:pic>
            <p:nvPicPr>
              <p:cNvPr id="41" name="Graphic 40">
                <a:extLst>
                  <a:ext uri="{FF2B5EF4-FFF2-40B4-BE49-F238E27FC236}">
                    <a16:creationId xmlns:a16="http://schemas.microsoft.com/office/drawing/2014/main" id="{618F5D08-E145-B584-6A57-176AB9A8AF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42" name="Graphic 41">
                <a:extLst>
                  <a:ext uri="{FF2B5EF4-FFF2-40B4-BE49-F238E27FC236}">
                    <a16:creationId xmlns:a16="http://schemas.microsoft.com/office/drawing/2014/main" id="{7AD9EA28-A746-B767-B903-B6E37A92F9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43" name="Rectangle 42">
                <a:extLst>
                  <a:ext uri="{FF2B5EF4-FFF2-40B4-BE49-F238E27FC236}">
                    <a16:creationId xmlns:a16="http://schemas.microsoft.com/office/drawing/2014/main" id="{25498F5A-C8C0-6D4D-B63C-C32F35AD4406}"/>
                  </a:ext>
                </a:extLst>
              </p:cNvPr>
              <p:cNvSpPr/>
              <p:nvPr/>
            </p:nvSpPr>
            <p:spPr bwMode="auto">
              <a:xfrm>
                <a:off x="5955323" y="2569698"/>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sp>
          <p:nvSpPr>
            <p:cNvPr id="1048" name="TextBox 1047">
              <a:extLst>
                <a:ext uri="{FF2B5EF4-FFF2-40B4-BE49-F238E27FC236}">
                  <a16:creationId xmlns:a16="http://schemas.microsoft.com/office/drawing/2014/main" id="{757DA3A8-771A-C857-7983-BDBFF1FD3D22}"/>
                </a:ext>
              </a:extLst>
            </p:cNvPr>
            <p:cNvSpPr txBox="1"/>
            <p:nvPr/>
          </p:nvSpPr>
          <p:spPr>
            <a:xfrm>
              <a:off x="6436073" y="2437143"/>
              <a:ext cx="517770" cy="107722"/>
            </a:xfrm>
            <a:prstGeom prst="rect">
              <a:avLst/>
            </a:prstGeom>
            <a:noFill/>
          </p:spPr>
          <p:txBody>
            <a:bodyPr wrap="none" lIns="0" tIns="0" rIns="0" bIns="0" rtlCol="0">
              <a:spAutoFit/>
            </a:bodyPr>
            <a:lstStyle/>
            <a:p>
              <a:pPr algn="l"/>
              <a:r>
                <a:rPr lang="en-US" sz="700" dirty="0"/>
                <a:t>Workspace A</a:t>
              </a:r>
            </a:p>
          </p:txBody>
        </p:sp>
      </p:grpSp>
      <p:grpSp>
        <p:nvGrpSpPr>
          <p:cNvPr id="1086" name="Group 1085">
            <a:extLst>
              <a:ext uri="{FF2B5EF4-FFF2-40B4-BE49-F238E27FC236}">
                <a16:creationId xmlns:a16="http://schemas.microsoft.com/office/drawing/2014/main" id="{BD769A70-F290-2C3C-5E7C-335765FD378B}"/>
              </a:ext>
            </a:extLst>
          </p:cNvPr>
          <p:cNvGrpSpPr/>
          <p:nvPr/>
        </p:nvGrpSpPr>
        <p:grpSpPr>
          <a:xfrm>
            <a:off x="5955323" y="2437143"/>
            <a:ext cx="2300055" cy="2193426"/>
            <a:chOff x="5955323" y="2437143"/>
            <a:chExt cx="2300055" cy="2193426"/>
          </a:xfrm>
        </p:grpSpPr>
        <p:grpSp>
          <p:nvGrpSpPr>
            <p:cNvPr id="1044" name="Group 1043">
              <a:extLst>
                <a:ext uri="{FF2B5EF4-FFF2-40B4-BE49-F238E27FC236}">
                  <a16:creationId xmlns:a16="http://schemas.microsoft.com/office/drawing/2014/main" id="{623E5E5D-B94F-9470-0EA9-ABF03336F0B4}"/>
                </a:ext>
              </a:extLst>
            </p:cNvPr>
            <p:cNvGrpSpPr/>
            <p:nvPr/>
          </p:nvGrpSpPr>
          <p:grpSpPr>
            <a:xfrm>
              <a:off x="5955323" y="2566358"/>
              <a:ext cx="2300055" cy="2064211"/>
              <a:chOff x="5955323" y="2566358"/>
              <a:chExt cx="2300055" cy="2064211"/>
            </a:xfrm>
          </p:grpSpPr>
          <p:grpSp>
            <p:nvGrpSpPr>
              <p:cNvPr id="45" name="Group 44">
                <a:extLst>
                  <a:ext uri="{FF2B5EF4-FFF2-40B4-BE49-F238E27FC236}">
                    <a16:creationId xmlns:a16="http://schemas.microsoft.com/office/drawing/2014/main" id="{FA57B2D2-D67F-171D-D083-E83FECA60F28}"/>
                  </a:ext>
                </a:extLst>
              </p:cNvPr>
              <p:cNvGrpSpPr/>
              <p:nvPr/>
            </p:nvGrpSpPr>
            <p:grpSpPr>
              <a:xfrm>
                <a:off x="7256858" y="2566358"/>
                <a:ext cx="998520" cy="890954"/>
                <a:chOff x="5955323" y="2555539"/>
                <a:chExt cx="998520" cy="890954"/>
              </a:xfrm>
            </p:grpSpPr>
            <p:pic>
              <p:nvPicPr>
                <p:cNvPr id="46" name="Graphic 45">
                  <a:extLst>
                    <a:ext uri="{FF2B5EF4-FFF2-40B4-BE49-F238E27FC236}">
                      <a16:creationId xmlns:a16="http://schemas.microsoft.com/office/drawing/2014/main" id="{3819B164-A680-07DF-0E06-B9D95260D9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55697" y="2811302"/>
                  <a:ext cx="375710" cy="429383"/>
                </a:xfrm>
                <a:prstGeom prst="rect">
                  <a:avLst/>
                </a:prstGeom>
              </p:spPr>
            </p:pic>
            <p:pic>
              <p:nvPicPr>
                <p:cNvPr id="47" name="Graphic 46">
                  <a:extLst>
                    <a:ext uri="{FF2B5EF4-FFF2-40B4-BE49-F238E27FC236}">
                      <a16:creationId xmlns:a16="http://schemas.microsoft.com/office/drawing/2014/main" id="{BB28C495-E5E0-EAFB-87D0-92572624191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48" name="Graphic 47">
                  <a:extLst>
                    <a:ext uri="{FF2B5EF4-FFF2-40B4-BE49-F238E27FC236}">
                      <a16:creationId xmlns:a16="http://schemas.microsoft.com/office/drawing/2014/main" id="{216D162C-7BF3-709C-C864-FBB7A084543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49" name="Rectangle 48">
                  <a:extLst>
                    <a:ext uri="{FF2B5EF4-FFF2-40B4-BE49-F238E27FC236}">
                      <a16:creationId xmlns:a16="http://schemas.microsoft.com/office/drawing/2014/main" id="{75698A19-DE75-F952-158A-CB65CED09CD6}"/>
                    </a:ext>
                  </a:extLst>
                </p:cNvPr>
                <p:cNvSpPr/>
                <p:nvPr/>
              </p:nvSpPr>
              <p:spPr bwMode="auto">
                <a:xfrm>
                  <a:off x="5955323" y="2555539"/>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50" name="Group 49">
                <a:extLst>
                  <a:ext uri="{FF2B5EF4-FFF2-40B4-BE49-F238E27FC236}">
                    <a16:creationId xmlns:a16="http://schemas.microsoft.com/office/drawing/2014/main" id="{0691E17E-BAA6-6E91-E7B4-4B3E831760DA}"/>
                  </a:ext>
                </a:extLst>
              </p:cNvPr>
              <p:cNvGrpSpPr/>
              <p:nvPr/>
            </p:nvGrpSpPr>
            <p:grpSpPr>
              <a:xfrm>
                <a:off x="5955323" y="3739615"/>
                <a:ext cx="998520" cy="890954"/>
                <a:chOff x="5955323" y="2564695"/>
                <a:chExt cx="998520" cy="890954"/>
              </a:xfrm>
            </p:grpSpPr>
            <p:pic>
              <p:nvPicPr>
                <p:cNvPr id="51" name="Graphic 50">
                  <a:extLst>
                    <a:ext uri="{FF2B5EF4-FFF2-40B4-BE49-F238E27FC236}">
                      <a16:creationId xmlns:a16="http://schemas.microsoft.com/office/drawing/2014/main" id="{5FFCF003-5469-A1EF-3961-F79FF88EF4B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60468" y="2820345"/>
                  <a:ext cx="375710" cy="429383"/>
                </a:xfrm>
                <a:prstGeom prst="rect">
                  <a:avLst/>
                </a:prstGeom>
              </p:spPr>
            </p:pic>
            <p:pic>
              <p:nvPicPr>
                <p:cNvPr id="52" name="Graphic 51">
                  <a:extLst>
                    <a:ext uri="{FF2B5EF4-FFF2-40B4-BE49-F238E27FC236}">
                      <a16:creationId xmlns:a16="http://schemas.microsoft.com/office/drawing/2014/main" id="{A53A23E1-1F3E-691A-03F2-E8D91CF1D2B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53" name="Graphic 52">
                  <a:extLst>
                    <a:ext uri="{FF2B5EF4-FFF2-40B4-BE49-F238E27FC236}">
                      <a16:creationId xmlns:a16="http://schemas.microsoft.com/office/drawing/2014/main" id="{9BA2ED06-7CE5-64DE-C0F4-A62D3F94D4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54" name="Rectangle 53">
                  <a:extLst>
                    <a:ext uri="{FF2B5EF4-FFF2-40B4-BE49-F238E27FC236}">
                      <a16:creationId xmlns:a16="http://schemas.microsoft.com/office/drawing/2014/main" id="{DBE0A322-697C-3693-866E-18E49225D6F0}"/>
                    </a:ext>
                  </a:extLst>
                </p:cNvPr>
                <p:cNvSpPr/>
                <p:nvPr/>
              </p:nvSpPr>
              <p:spPr bwMode="auto">
                <a:xfrm>
                  <a:off x="5955323" y="2564695"/>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C57E7E65-0EC9-58B8-AE8C-45094C57ACC2}"/>
                  </a:ext>
                </a:extLst>
              </p:cNvPr>
              <p:cNvGrpSpPr/>
              <p:nvPr/>
            </p:nvGrpSpPr>
            <p:grpSpPr>
              <a:xfrm>
                <a:off x="7247056" y="3735876"/>
                <a:ext cx="998520" cy="890954"/>
                <a:chOff x="5924979" y="2560956"/>
                <a:chExt cx="998520" cy="890954"/>
              </a:xfrm>
            </p:grpSpPr>
            <p:pic>
              <p:nvPicPr>
                <p:cNvPr id="56" name="Graphic 55">
                  <a:extLst>
                    <a:ext uri="{FF2B5EF4-FFF2-40B4-BE49-F238E27FC236}">
                      <a16:creationId xmlns:a16="http://schemas.microsoft.com/office/drawing/2014/main" id="{0D6DE8F0-777E-46FE-C312-871724824C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52270" y="2817311"/>
                  <a:ext cx="375710" cy="429383"/>
                </a:xfrm>
                <a:prstGeom prst="rect">
                  <a:avLst/>
                </a:prstGeom>
              </p:spPr>
            </p:pic>
            <p:pic>
              <p:nvPicPr>
                <p:cNvPr id="57" name="Graphic 56">
                  <a:extLst>
                    <a:ext uri="{FF2B5EF4-FFF2-40B4-BE49-F238E27FC236}">
                      <a16:creationId xmlns:a16="http://schemas.microsoft.com/office/drawing/2014/main" id="{10F406F1-C73E-E35F-21C5-7C824C53CB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2721194"/>
                  <a:ext cx="304800" cy="304800"/>
                </a:xfrm>
                <a:prstGeom prst="rect">
                  <a:avLst/>
                </a:prstGeom>
              </p:spPr>
            </p:pic>
            <p:pic>
              <p:nvPicPr>
                <p:cNvPr id="58" name="Graphic 57">
                  <a:extLst>
                    <a:ext uri="{FF2B5EF4-FFF2-40B4-BE49-F238E27FC236}">
                      <a16:creationId xmlns:a16="http://schemas.microsoft.com/office/drawing/2014/main" id="{A42897BC-D5B4-1017-1190-D80BC47BB3F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65838" y="3058471"/>
                  <a:ext cx="304800" cy="304800"/>
                </a:xfrm>
                <a:prstGeom prst="rect">
                  <a:avLst/>
                </a:prstGeom>
              </p:spPr>
            </p:pic>
            <p:sp>
              <p:nvSpPr>
                <p:cNvPr id="59" name="Rectangle 58">
                  <a:extLst>
                    <a:ext uri="{FF2B5EF4-FFF2-40B4-BE49-F238E27FC236}">
                      <a16:creationId xmlns:a16="http://schemas.microsoft.com/office/drawing/2014/main" id="{38EF8836-699E-7DC0-3D29-56BBF74E41AB}"/>
                    </a:ext>
                  </a:extLst>
                </p:cNvPr>
                <p:cNvSpPr/>
                <p:nvPr/>
              </p:nvSpPr>
              <p:spPr bwMode="auto">
                <a:xfrm>
                  <a:off x="5924979" y="2560956"/>
                  <a:ext cx="998520"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sp>
          <p:nvSpPr>
            <p:cNvPr id="1047" name="TextBox 1046">
              <a:extLst>
                <a:ext uri="{FF2B5EF4-FFF2-40B4-BE49-F238E27FC236}">
                  <a16:creationId xmlns:a16="http://schemas.microsoft.com/office/drawing/2014/main" id="{8C824E53-148E-23CF-1C28-7A4AE314980F}"/>
                </a:ext>
              </a:extLst>
            </p:cNvPr>
            <p:cNvSpPr txBox="1"/>
            <p:nvPr/>
          </p:nvSpPr>
          <p:spPr>
            <a:xfrm>
              <a:off x="7737608" y="2437143"/>
              <a:ext cx="511358" cy="107722"/>
            </a:xfrm>
            <a:prstGeom prst="rect">
              <a:avLst/>
            </a:prstGeom>
            <a:noFill/>
          </p:spPr>
          <p:txBody>
            <a:bodyPr wrap="none" lIns="0" tIns="0" rIns="0" bIns="0" rtlCol="0">
              <a:spAutoFit/>
            </a:bodyPr>
            <a:lstStyle/>
            <a:p>
              <a:pPr algn="l"/>
              <a:r>
                <a:rPr lang="en-US" sz="700" dirty="0"/>
                <a:t>Workspace B</a:t>
              </a:r>
            </a:p>
          </p:txBody>
        </p:sp>
        <p:sp>
          <p:nvSpPr>
            <p:cNvPr id="1049" name="TextBox 1048">
              <a:extLst>
                <a:ext uri="{FF2B5EF4-FFF2-40B4-BE49-F238E27FC236}">
                  <a16:creationId xmlns:a16="http://schemas.microsoft.com/office/drawing/2014/main" id="{2FA1E4FD-267D-6959-22B6-0E1D24C4B854}"/>
                </a:ext>
              </a:extLst>
            </p:cNvPr>
            <p:cNvSpPr txBox="1"/>
            <p:nvPr/>
          </p:nvSpPr>
          <p:spPr>
            <a:xfrm>
              <a:off x="6436073" y="3611087"/>
              <a:ext cx="517770" cy="107722"/>
            </a:xfrm>
            <a:prstGeom prst="rect">
              <a:avLst/>
            </a:prstGeom>
            <a:noFill/>
          </p:spPr>
          <p:txBody>
            <a:bodyPr wrap="none" lIns="0" tIns="0" rIns="0" bIns="0" rtlCol="0">
              <a:spAutoFit/>
            </a:bodyPr>
            <a:lstStyle/>
            <a:p>
              <a:pPr algn="l"/>
              <a:r>
                <a:rPr lang="en-US" sz="700" dirty="0"/>
                <a:t>Workspace C</a:t>
              </a:r>
            </a:p>
          </p:txBody>
        </p:sp>
        <p:sp>
          <p:nvSpPr>
            <p:cNvPr id="1050" name="TextBox 1049">
              <a:extLst>
                <a:ext uri="{FF2B5EF4-FFF2-40B4-BE49-F238E27FC236}">
                  <a16:creationId xmlns:a16="http://schemas.microsoft.com/office/drawing/2014/main" id="{AE2F13F1-F8F2-5894-41A2-2D7561E0B732}"/>
                </a:ext>
              </a:extLst>
            </p:cNvPr>
            <p:cNvSpPr txBox="1"/>
            <p:nvPr/>
          </p:nvSpPr>
          <p:spPr>
            <a:xfrm>
              <a:off x="7737608" y="3596396"/>
              <a:ext cx="517770" cy="107722"/>
            </a:xfrm>
            <a:prstGeom prst="rect">
              <a:avLst/>
            </a:prstGeom>
            <a:noFill/>
          </p:spPr>
          <p:txBody>
            <a:bodyPr wrap="none" lIns="0" tIns="0" rIns="0" bIns="0" rtlCol="0">
              <a:spAutoFit/>
            </a:bodyPr>
            <a:lstStyle/>
            <a:p>
              <a:pPr algn="l"/>
              <a:r>
                <a:rPr lang="en-US" sz="700" dirty="0"/>
                <a:t>Workspace D</a:t>
              </a:r>
            </a:p>
          </p:txBody>
        </p:sp>
      </p:grpSp>
      <p:grpSp>
        <p:nvGrpSpPr>
          <p:cNvPr id="1077" name="Group 1076">
            <a:extLst>
              <a:ext uri="{FF2B5EF4-FFF2-40B4-BE49-F238E27FC236}">
                <a16:creationId xmlns:a16="http://schemas.microsoft.com/office/drawing/2014/main" id="{A5915ECB-6D1E-EA73-4AD7-776EC9F33C30}"/>
              </a:ext>
            </a:extLst>
          </p:cNvPr>
          <p:cNvGrpSpPr/>
          <p:nvPr/>
        </p:nvGrpSpPr>
        <p:grpSpPr>
          <a:xfrm>
            <a:off x="5946094" y="4702578"/>
            <a:ext cx="2330005" cy="1024865"/>
            <a:chOff x="5946094" y="4702578"/>
            <a:chExt cx="2330005" cy="1024865"/>
          </a:xfrm>
        </p:grpSpPr>
        <p:grpSp>
          <p:nvGrpSpPr>
            <p:cNvPr id="1045" name="Group 1044">
              <a:extLst>
                <a:ext uri="{FF2B5EF4-FFF2-40B4-BE49-F238E27FC236}">
                  <a16:creationId xmlns:a16="http://schemas.microsoft.com/office/drawing/2014/main" id="{9FCBF750-B9A2-9A9F-4EF6-84D7360D1F30}"/>
                </a:ext>
              </a:extLst>
            </p:cNvPr>
            <p:cNvGrpSpPr/>
            <p:nvPr/>
          </p:nvGrpSpPr>
          <p:grpSpPr>
            <a:xfrm>
              <a:off x="5946094" y="4836489"/>
              <a:ext cx="2329826" cy="890954"/>
              <a:chOff x="5946094" y="4836489"/>
              <a:chExt cx="2329826" cy="890954"/>
            </a:xfrm>
          </p:grpSpPr>
          <p:pic>
            <p:nvPicPr>
              <p:cNvPr id="61" name="Graphic 60">
                <a:extLst>
                  <a:ext uri="{FF2B5EF4-FFF2-40B4-BE49-F238E27FC236}">
                    <a16:creationId xmlns:a16="http://schemas.microsoft.com/office/drawing/2014/main" id="{DB6A2D55-A500-9FF1-FBB6-DA0123E8AB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72173" y="5094823"/>
                <a:ext cx="375710" cy="429383"/>
              </a:xfrm>
              <a:prstGeom prst="rect">
                <a:avLst/>
              </a:prstGeom>
            </p:spPr>
          </p:pic>
          <p:sp>
            <p:nvSpPr>
              <p:cNvPr id="1024" name="Rectangle 1023">
                <a:extLst>
                  <a:ext uri="{FF2B5EF4-FFF2-40B4-BE49-F238E27FC236}">
                    <a16:creationId xmlns:a16="http://schemas.microsoft.com/office/drawing/2014/main" id="{62C43127-D7A5-5D4E-74AE-AA52023E3B28}"/>
                  </a:ext>
                </a:extLst>
              </p:cNvPr>
              <p:cNvSpPr/>
              <p:nvPr/>
            </p:nvSpPr>
            <p:spPr bwMode="auto">
              <a:xfrm>
                <a:off x="5946094" y="4836489"/>
                <a:ext cx="2329826" cy="890954"/>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28" name="Graphic 1027">
                <a:extLst>
                  <a:ext uri="{FF2B5EF4-FFF2-40B4-BE49-F238E27FC236}">
                    <a16:creationId xmlns:a16="http://schemas.microsoft.com/office/drawing/2014/main" id="{2930A7E9-9C7E-C294-57B6-7B16BD7E9D9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92879" y="4987985"/>
                <a:ext cx="304800" cy="304800"/>
              </a:xfrm>
              <a:prstGeom prst="rect">
                <a:avLst/>
              </a:prstGeom>
            </p:spPr>
          </p:pic>
          <p:pic>
            <p:nvPicPr>
              <p:cNvPr id="1030" name="Graphic 1029">
                <a:extLst>
                  <a:ext uri="{FF2B5EF4-FFF2-40B4-BE49-F238E27FC236}">
                    <a16:creationId xmlns:a16="http://schemas.microsoft.com/office/drawing/2014/main" id="{16CC54DE-2C05-A5FA-FF6F-30CBCB5FC0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61014" y="4987985"/>
                <a:ext cx="304800" cy="304800"/>
              </a:xfrm>
              <a:prstGeom prst="rect">
                <a:avLst/>
              </a:prstGeom>
            </p:spPr>
          </p:pic>
          <p:pic>
            <p:nvPicPr>
              <p:cNvPr id="1034" name="Graphic 1033">
                <a:extLst>
                  <a:ext uri="{FF2B5EF4-FFF2-40B4-BE49-F238E27FC236}">
                    <a16:creationId xmlns:a16="http://schemas.microsoft.com/office/drawing/2014/main" id="{4605184A-3D65-2733-F13B-FECF3DA2B15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97622" y="5309514"/>
                <a:ext cx="304800" cy="304800"/>
              </a:xfrm>
              <a:prstGeom prst="rect">
                <a:avLst/>
              </a:prstGeom>
            </p:spPr>
          </p:pic>
          <p:pic>
            <p:nvPicPr>
              <p:cNvPr id="1035" name="Graphic 1034">
                <a:extLst>
                  <a:ext uri="{FF2B5EF4-FFF2-40B4-BE49-F238E27FC236}">
                    <a16:creationId xmlns:a16="http://schemas.microsoft.com/office/drawing/2014/main" id="{ABFE7E9A-A053-07BF-66F8-0F38115D69C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59277" y="5309514"/>
                <a:ext cx="304800" cy="304800"/>
              </a:xfrm>
              <a:prstGeom prst="rect">
                <a:avLst/>
              </a:prstGeom>
            </p:spPr>
          </p:pic>
        </p:grpSp>
        <p:sp>
          <p:nvSpPr>
            <p:cNvPr id="1051" name="TextBox 1050">
              <a:extLst>
                <a:ext uri="{FF2B5EF4-FFF2-40B4-BE49-F238E27FC236}">
                  <a16:creationId xmlns:a16="http://schemas.microsoft.com/office/drawing/2014/main" id="{4654A765-3DD5-D537-2B1F-EAD59A313036}"/>
                </a:ext>
              </a:extLst>
            </p:cNvPr>
            <p:cNvSpPr txBox="1"/>
            <p:nvPr/>
          </p:nvSpPr>
          <p:spPr>
            <a:xfrm>
              <a:off x="7758329" y="4702578"/>
              <a:ext cx="517770" cy="107722"/>
            </a:xfrm>
            <a:prstGeom prst="rect">
              <a:avLst/>
            </a:prstGeom>
            <a:noFill/>
          </p:spPr>
          <p:txBody>
            <a:bodyPr wrap="none" lIns="0" tIns="0" rIns="0" bIns="0" rtlCol="0">
              <a:spAutoFit/>
            </a:bodyPr>
            <a:lstStyle/>
            <a:p>
              <a:pPr algn="l"/>
              <a:r>
                <a:rPr lang="en-US" sz="700" dirty="0"/>
                <a:t>Workspace E</a:t>
              </a:r>
            </a:p>
          </p:txBody>
        </p:sp>
        <p:grpSp>
          <p:nvGrpSpPr>
            <p:cNvPr id="1067" name="Group 1066">
              <a:extLst>
                <a:ext uri="{FF2B5EF4-FFF2-40B4-BE49-F238E27FC236}">
                  <a16:creationId xmlns:a16="http://schemas.microsoft.com/office/drawing/2014/main" id="{F7DE9C8E-4904-0070-270B-E6551333CF3D}"/>
                </a:ext>
              </a:extLst>
            </p:cNvPr>
            <p:cNvGrpSpPr/>
            <p:nvPr/>
          </p:nvGrpSpPr>
          <p:grpSpPr>
            <a:xfrm>
              <a:off x="6039002" y="4993020"/>
              <a:ext cx="328612" cy="316494"/>
              <a:chOff x="5246780" y="5869048"/>
              <a:chExt cx="328612" cy="316494"/>
            </a:xfrm>
          </p:grpSpPr>
          <p:pic>
            <p:nvPicPr>
              <p:cNvPr id="1065" name="Graphic 1064">
                <a:extLst>
                  <a:ext uri="{FF2B5EF4-FFF2-40B4-BE49-F238E27FC236}">
                    <a16:creationId xmlns:a16="http://schemas.microsoft.com/office/drawing/2014/main" id="{40F6932B-D822-FCCB-7914-9ADD64AFAF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66" name="Graphic 1065">
                <a:extLst>
                  <a:ext uri="{FF2B5EF4-FFF2-40B4-BE49-F238E27FC236}">
                    <a16:creationId xmlns:a16="http://schemas.microsoft.com/office/drawing/2014/main" id="{6DD6F771-F2C8-371E-8409-6ED5352A55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nvGrpSpPr>
            <p:cNvPr id="1068" name="Group 1067">
              <a:extLst>
                <a:ext uri="{FF2B5EF4-FFF2-40B4-BE49-F238E27FC236}">
                  <a16:creationId xmlns:a16="http://schemas.microsoft.com/office/drawing/2014/main" id="{F139FC07-8158-15F0-4FD8-7A6E7ECE3AB5}"/>
                </a:ext>
              </a:extLst>
            </p:cNvPr>
            <p:cNvGrpSpPr/>
            <p:nvPr/>
          </p:nvGrpSpPr>
          <p:grpSpPr>
            <a:xfrm>
              <a:off x="6413110" y="4993020"/>
              <a:ext cx="328612" cy="316494"/>
              <a:chOff x="5246780" y="5869048"/>
              <a:chExt cx="328612" cy="316494"/>
            </a:xfrm>
          </p:grpSpPr>
          <p:pic>
            <p:nvPicPr>
              <p:cNvPr id="1069" name="Graphic 1068">
                <a:extLst>
                  <a:ext uri="{FF2B5EF4-FFF2-40B4-BE49-F238E27FC236}">
                    <a16:creationId xmlns:a16="http://schemas.microsoft.com/office/drawing/2014/main" id="{FDDD6FC3-2E65-805F-6BA8-0D8DFB8C9C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0" name="Graphic 1069">
                <a:extLst>
                  <a:ext uri="{FF2B5EF4-FFF2-40B4-BE49-F238E27FC236}">
                    <a16:creationId xmlns:a16="http://schemas.microsoft.com/office/drawing/2014/main" id="{5D3110B9-1C3D-B3E7-754C-2981850432D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nvGrpSpPr>
            <p:cNvPr id="1071" name="Group 1070">
              <a:extLst>
                <a:ext uri="{FF2B5EF4-FFF2-40B4-BE49-F238E27FC236}">
                  <a16:creationId xmlns:a16="http://schemas.microsoft.com/office/drawing/2014/main" id="{0324F3A9-34F0-85C2-3120-45A88C1129A7}"/>
                </a:ext>
              </a:extLst>
            </p:cNvPr>
            <p:cNvGrpSpPr/>
            <p:nvPr/>
          </p:nvGrpSpPr>
          <p:grpSpPr>
            <a:xfrm>
              <a:off x="6039002" y="5309514"/>
              <a:ext cx="328612" cy="316494"/>
              <a:chOff x="5246780" y="5869048"/>
              <a:chExt cx="328612" cy="316494"/>
            </a:xfrm>
          </p:grpSpPr>
          <p:pic>
            <p:nvPicPr>
              <p:cNvPr id="1072" name="Graphic 1071">
                <a:extLst>
                  <a:ext uri="{FF2B5EF4-FFF2-40B4-BE49-F238E27FC236}">
                    <a16:creationId xmlns:a16="http://schemas.microsoft.com/office/drawing/2014/main" id="{EC6E1754-B5AC-741B-A4DD-CA44F47471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3" name="Graphic 1072">
                <a:extLst>
                  <a:ext uri="{FF2B5EF4-FFF2-40B4-BE49-F238E27FC236}">
                    <a16:creationId xmlns:a16="http://schemas.microsoft.com/office/drawing/2014/main" id="{3D82B67C-20A5-E7D5-D521-B53AF401AEF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nvGrpSpPr>
            <p:cNvPr id="1074" name="Group 1073">
              <a:extLst>
                <a:ext uri="{FF2B5EF4-FFF2-40B4-BE49-F238E27FC236}">
                  <a16:creationId xmlns:a16="http://schemas.microsoft.com/office/drawing/2014/main" id="{11C90B8B-2F97-E717-AB22-0065941BFF28}"/>
                </a:ext>
              </a:extLst>
            </p:cNvPr>
            <p:cNvGrpSpPr/>
            <p:nvPr/>
          </p:nvGrpSpPr>
          <p:grpSpPr>
            <a:xfrm>
              <a:off x="6413110" y="5309514"/>
              <a:ext cx="328612" cy="316494"/>
              <a:chOff x="5246780" y="5869048"/>
              <a:chExt cx="328612" cy="316494"/>
            </a:xfrm>
          </p:grpSpPr>
          <p:pic>
            <p:nvPicPr>
              <p:cNvPr id="1075" name="Graphic 1074">
                <a:extLst>
                  <a:ext uri="{FF2B5EF4-FFF2-40B4-BE49-F238E27FC236}">
                    <a16:creationId xmlns:a16="http://schemas.microsoft.com/office/drawing/2014/main" id="{A0CAA90D-2F7A-BE08-B0C1-17B6F62C9F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46780" y="5869048"/>
                <a:ext cx="304800" cy="304800"/>
              </a:xfrm>
              <a:prstGeom prst="rect">
                <a:avLst/>
              </a:prstGeom>
            </p:spPr>
          </p:pic>
          <p:pic>
            <p:nvPicPr>
              <p:cNvPr id="1076" name="Graphic 1075">
                <a:extLst>
                  <a:ext uri="{FF2B5EF4-FFF2-40B4-BE49-F238E27FC236}">
                    <a16:creationId xmlns:a16="http://schemas.microsoft.com/office/drawing/2014/main" id="{0FDEBF6A-8675-1FB3-9D95-9B52865573C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37187" y="5993801"/>
                <a:ext cx="138205" cy="191741"/>
              </a:xfrm>
              <a:prstGeom prst="rect">
                <a:avLst/>
              </a:prstGeom>
            </p:spPr>
          </p:pic>
        </p:grpSp>
      </p:grpSp>
      <p:sp>
        <p:nvSpPr>
          <p:cNvPr id="1078" name="TextBox 1077">
            <a:extLst>
              <a:ext uri="{FF2B5EF4-FFF2-40B4-BE49-F238E27FC236}">
                <a16:creationId xmlns:a16="http://schemas.microsoft.com/office/drawing/2014/main" id="{AF931C37-F8DF-7B0C-75F9-C112210F1DF5}"/>
              </a:ext>
            </a:extLst>
          </p:cNvPr>
          <p:cNvSpPr txBox="1"/>
          <p:nvPr/>
        </p:nvSpPr>
        <p:spPr>
          <a:xfrm>
            <a:off x="5740299" y="2139721"/>
            <a:ext cx="1726435" cy="153888"/>
          </a:xfrm>
          <a:prstGeom prst="rect">
            <a:avLst/>
          </a:prstGeom>
          <a:noFill/>
        </p:spPr>
        <p:txBody>
          <a:bodyPr wrap="none" lIns="0" tIns="0" rIns="0" bIns="0" rtlCol="0">
            <a:spAutoFit/>
          </a:bodyPr>
          <a:lstStyle/>
          <a:p>
            <a:pPr algn="l"/>
            <a:r>
              <a:rPr lang="en-US" sz="1000" dirty="0"/>
              <a:t>Azure Data Lake Gen2 Storage</a:t>
            </a:r>
          </a:p>
        </p:txBody>
      </p:sp>
      <p:pic>
        <p:nvPicPr>
          <p:cNvPr id="1080" name="Graphic 1079" descr="Cloud outline">
            <a:extLst>
              <a:ext uri="{FF2B5EF4-FFF2-40B4-BE49-F238E27FC236}">
                <a16:creationId xmlns:a16="http://schemas.microsoft.com/office/drawing/2014/main" id="{5B3D5640-0948-E72B-3C86-4EBC75F1B76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15498" y="2269845"/>
            <a:ext cx="1186862" cy="1186862"/>
          </a:xfrm>
          <a:prstGeom prst="rect">
            <a:avLst/>
          </a:prstGeom>
        </p:spPr>
      </p:pic>
      <p:grpSp>
        <p:nvGrpSpPr>
          <p:cNvPr id="1092" name="Group 1091">
            <a:extLst>
              <a:ext uri="{FF2B5EF4-FFF2-40B4-BE49-F238E27FC236}">
                <a16:creationId xmlns:a16="http://schemas.microsoft.com/office/drawing/2014/main" id="{8D34BAA7-F68E-7EE6-D2EA-CB49CDF53E14}"/>
              </a:ext>
            </a:extLst>
          </p:cNvPr>
          <p:cNvGrpSpPr/>
          <p:nvPr/>
        </p:nvGrpSpPr>
        <p:grpSpPr>
          <a:xfrm>
            <a:off x="8546748" y="2139721"/>
            <a:ext cx="3091223" cy="3788639"/>
            <a:chOff x="8546748" y="2139721"/>
            <a:chExt cx="3091223" cy="3788639"/>
          </a:xfrm>
        </p:grpSpPr>
        <p:pic>
          <p:nvPicPr>
            <p:cNvPr id="24" name="Graphic 23">
              <a:extLst>
                <a:ext uri="{FF2B5EF4-FFF2-40B4-BE49-F238E27FC236}">
                  <a16:creationId xmlns:a16="http://schemas.microsoft.com/office/drawing/2014/main" id="{E5CA8B70-9227-2F65-9868-8208047A080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035153" y="3792791"/>
              <a:ext cx="419974" cy="534512"/>
            </a:xfrm>
            <a:prstGeom prst="rect">
              <a:avLst/>
            </a:prstGeom>
          </p:spPr>
        </p:pic>
        <p:pic>
          <p:nvPicPr>
            <p:cNvPr id="26" name="Graphic 25">
              <a:extLst>
                <a:ext uri="{FF2B5EF4-FFF2-40B4-BE49-F238E27FC236}">
                  <a16:creationId xmlns:a16="http://schemas.microsoft.com/office/drawing/2014/main" id="{8E72EFF4-F601-29D5-005E-C02748601F0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34109" y="3792931"/>
              <a:ext cx="541824" cy="469580"/>
            </a:xfrm>
            <a:prstGeom prst="rect">
              <a:avLst/>
            </a:prstGeom>
          </p:spPr>
        </p:pic>
        <p:pic>
          <p:nvPicPr>
            <p:cNvPr id="28" name="Graphic 27">
              <a:extLst>
                <a:ext uri="{FF2B5EF4-FFF2-40B4-BE49-F238E27FC236}">
                  <a16:creationId xmlns:a16="http://schemas.microsoft.com/office/drawing/2014/main" id="{7315FEB8-F197-5F79-FD0D-22B3B07FEEF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954915" y="3792791"/>
              <a:ext cx="539496" cy="539496"/>
            </a:xfrm>
            <a:prstGeom prst="rect">
              <a:avLst/>
            </a:prstGeom>
          </p:spPr>
        </p:pic>
        <p:sp>
          <p:nvSpPr>
            <p:cNvPr id="35" name="Rectangle 34">
              <a:extLst>
                <a:ext uri="{FF2B5EF4-FFF2-40B4-BE49-F238E27FC236}">
                  <a16:creationId xmlns:a16="http://schemas.microsoft.com/office/drawing/2014/main" id="{6136A4E3-4C1E-9BE5-4F0C-E5A7EFD4CCC1}"/>
                </a:ext>
              </a:extLst>
            </p:cNvPr>
            <p:cNvSpPr/>
            <p:nvPr/>
          </p:nvSpPr>
          <p:spPr bwMode="auto">
            <a:xfrm>
              <a:off x="8831832" y="2372751"/>
              <a:ext cx="826615"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43B55331-BB16-CE4E-BBA8-C0EF1BBBAADE}"/>
                </a:ext>
              </a:extLst>
            </p:cNvPr>
            <p:cNvSpPr/>
            <p:nvPr/>
          </p:nvSpPr>
          <p:spPr bwMode="auto">
            <a:xfrm>
              <a:off x="9821594" y="2372751"/>
              <a:ext cx="826615"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9531C151-EECE-61AF-D367-3B8413F62639}"/>
                </a:ext>
              </a:extLst>
            </p:cNvPr>
            <p:cNvSpPr/>
            <p:nvPr/>
          </p:nvSpPr>
          <p:spPr bwMode="auto">
            <a:xfrm>
              <a:off x="10811356" y="2372750"/>
              <a:ext cx="826615"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083" name="TextBox 1082">
              <a:extLst>
                <a:ext uri="{FF2B5EF4-FFF2-40B4-BE49-F238E27FC236}">
                  <a16:creationId xmlns:a16="http://schemas.microsoft.com/office/drawing/2014/main" id="{EFEBC707-39E5-4884-1789-191B2276806B}"/>
                </a:ext>
              </a:extLst>
            </p:cNvPr>
            <p:cNvSpPr txBox="1"/>
            <p:nvPr/>
          </p:nvSpPr>
          <p:spPr>
            <a:xfrm>
              <a:off x="8831832" y="2139721"/>
              <a:ext cx="484107" cy="153888"/>
            </a:xfrm>
            <a:prstGeom prst="rect">
              <a:avLst/>
            </a:prstGeom>
            <a:noFill/>
          </p:spPr>
          <p:txBody>
            <a:bodyPr wrap="none" lIns="0" tIns="0" rIns="0" bIns="0" rtlCol="0">
              <a:spAutoFit/>
            </a:bodyPr>
            <a:lstStyle/>
            <a:p>
              <a:pPr algn="l"/>
              <a:r>
                <a:rPr lang="en-US" sz="1000" dirty="0"/>
                <a:t>Datasets</a:t>
              </a:r>
            </a:p>
          </p:txBody>
        </p:sp>
        <p:sp>
          <p:nvSpPr>
            <p:cNvPr id="1084" name="TextBox 1083">
              <a:extLst>
                <a:ext uri="{FF2B5EF4-FFF2-40B4-BE49-F238E27FC236}">
                  <a16:creationId xmlns:a16="http://schemas.microsoft.com/office/drawing/2014/main" id="{FFB455DF-0923-5063-AAF4-16D710EBD15F}"/>
                </a:ext>
              </a:extLst>
            </p:cNvPr>
            <p:cNvSpPr txBox="1"/>
            <p:nvPr/>
          </p:nvSpPr>
          <p:spPr>
            <a:xfrm>
              <a:off x="9830522" y="2144847"/>
              <a:ext cx="437620" cy="153888"/>
            </a:xfrm>
            <a:prstGeom prst="rect">
              <a:avLst/>
            </a:prstGeom>
            <a:noFill/>
          </p:spPr>
          <p:txBody>
            <a:bodyPr wrap="none" lIns="0" tIns="0" rIns="0" bIns="0" rtlCol="0">
              <a:spAutoFit/>
            </a:bodyPr>
            <a:lstStyle/>
            <a:p>
              <a:pPr algn="l"/>
              <a:r>
                <a:rPr lang="en-US" sz="1000" dirty="0"/>
                <a:t>Reports</a:t>
              </a:r>
            </a:p>
          </p:txBody>
        </p:sp>
        <p:sp>
          <p:nvSpPr>
            <p:cNvPr id="1085" name="TextBox 1084">
              <a:extLst>
                <a:ext uri="{FF2B5EF4-FFF2-40B4-BE49-F238E27FC236}">
                  <a16:creationId xmlns:a16="http://schemas.microsoft.com/office/drawing/2014/main" id="{D5108036-3534-D1A0-2A63-3381BFA3EF8C}"/>
                </a:ext>
              </a:extLst>
            </p:cNvPr>
            <p:cNvSpPr txBox="1"/>
            <p:nvPr/>
          </p:nvSpPr>
          <p:spPr>
            <a:xfrm>
              <a:off x="10811356" y="2141432"/>
              <a:ext cx="673261" cy="153888"/>
            </a:xfrm>
            <a:prstGeom prst="rect">
              <a:avLst/>
            </a:prstGeom>
            <a:noFill/>
          </p:spPr>
          <p:txBody>
            <a:bodyPr wrap="none" lIns="0" tIns="0" rIns="0" bIns="0" rtlCol="0">
              <a:spAutoFit/>
            </a:bodyPr>
            <a:lstStyle/>
            <a:p>
              <a:pPr algn="l"/>
              <a:r>
                <a:rPr lang="en-US" sz="1000" dirty="0"/>
                <a:t>Dashboards</a:t>
              </a:r>
            </a:p>
          </p:txBody>
        </p:sp>
        <p:cxnSp>
          <p:nvCxnSpPr>
            <p:cNvPr id="1088" name="Straight Arrow Connector 1087">
              <a:extLst>
                <a:ext uri="{FF2B5EF4-FFF2-40B4-BE49-F238E27FC236}">
                  <a16:creationId xmlns:a16="http://schemas.microsoft.com/office/drawing/2014/main" id="{562263A6-2525-4C7B-029E-632D56D62F49}"/>
                </a:ext>
              </a:extLst>
            </p:cNvPr>
            <p:cNvCxnSpPr>
              <a:cxnSpLocks/>
            </p:cNvCxnSpPr>
            <p:nvPr/>
          </p:nvCxnSpPr>
          <p:spPr>
            <a:xfrm>
              <a:off x="8546748" y="3221690"/>
              <a:ext cx="27873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90" name="Straight Arrow Connector 1089">
              <a:extLst>
                <a:ext uri="{FF2B5EF4-FFF2-40B4-BE49-F238E27FC236}">
                  <a16:creationId xmlns:a16="http://schemas.microsoft.com/office/drawing/2014/main" id="{5618173F-9F11-7729-B6D0-31885056851A}"/>
                </a:ext>
              </a:extLst>
            </p:cNvPr>
            <p:cNvCxnSpPr>
              <a:cxnSpLocks/>
            </p:cNvCxnSpPr>
            <p:nvPr/>
          </p:nvCxnSpPr>
          <p:spPr>
            <a:xfrm>
              <a:off x="8546748" y="4060047"/>
              <a:ext cx="27873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91" name="Straight Arrow Connector 1090">
              <a:extLst>
                <a:ext uri="{FF2B5EF4-FFF2-40B4-BE49-F238E27FC236}">
                  <a16:creationId xmlns:a16="http://schemas.microsoft.com/office/drawing/2014/main" id="{03D43DCA-0A80-4212-0831-0BD7545A566D}"/>
                </a:ext>
              </a:extLst>
            </p:cNvPr>
            <p:cNvCxnSpPr>
              <a:cxnSpLocks/>
            </p:cNvCxnSpPr>
            <p:nvPr/>
          </p:nvCxnSpPr>
          <p:spPr>
            <a:xfrm>
              <a:off x="8546748" y="5085245"/>
              <a:ext cx="27873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1093" name="TextBox 1092">
            <a:extLst>
              <a:ext uri="{FF2B5EF4-FFF2-40B4-BE49-F238E27FC236}">
                <a16:creationId xmlns:a16="http://schemas.microsoft.com/office/drawing/2014/main" id="{CB7CC441-D60D-C019-036D-23CC4F23352F}"/>
              </a:ext>
            </a:extLst>
          </p:cNvPr>
          <p:cNvSpPr txBox="1"/>
          <p:nvPr/>
        </p:nvSpPr>
        <p:spPr>
          <a:xfrm>
            <a:off x="5737794" y="6038786"/>
            <a:ext cx="2475037" cy="307777"/>
          </a:xfrm>
          <a:prstGeom prst="rect">
            <a:avLst/>
          </a:prstGeom>
          <a:noFill/>
        </p:spPr>
        <p:txBody>
          <a:bodyPr wrap="none" lIns="0" tIns="0" rIns="0" bIns="0" rtlCol="0">
            <a:spAutoFit/>
          </a:bodyPr>
          <a:lstStyle/>
          <a:p>
            <a:pPr algn="l"/>
            <a:r>
              <a:rPr lang="en-US" sz="1000" dirty="0">
                <a:solidFill>
                  <a:schemeClr val="tx1">
                    <a:lumMod val="50000"/>
                    <a:lumOff val="50000"/>
                  </a:schemeClr>
                </a:solidFill>
              </a:rPr>
              <a:t>Assigned to your Power BI tenant</a:t>
            </a:r>
          </a:p>
          <a:p>
            <a:pPr algn="l"/>
            <a:r>
              <a:rPr lang="en-US" sz="1000" dirty="0">
                <a:solidFill>
                  <a:schemeClr val="tx1">
                    <a:lumMod val="50000"/>
                    <a:lumOff val="50000"/>
                  </a:schemeClr>
                </a:solidFill>
              </a:rPr>
              <a:t>or Bring Your Own Data Lake Gen2 (BYODL)</a:t>
            </a:r>
          </a:p>
        </p:txBody>
      </p:sp>
    </p:spTree>
    <p:extLst>
      <p:ext uri="{BB962C8B-B14F-4D97-AF65-F5344CB8AC3E}">
        <p14:creationId xmlns:p14="http://schemas.microsoft.com/office/powerpoint/2010/main" val="2306054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87"/>
                                        </p:tgtEl>
                                        <p:attrNameLst>
                                          <p:attrName>style.visibility</p:attrName>
                                        </p:attrNameLst>
                                      </p:cBhvr>
                                      <p:to>
                                        <p:strVal val="visible"/>
                                      </p:to>
                                    </p:set>
                                    <p:animEffect transition="in" filter="fade">
                                      <p:cBhvr>
                                        <p:cTn id="7" dur="1000"/>
                                        <p:tgtEl>
                                          <p:spTgt spid="1087"/>
                                        </p:tgtEl>
                                      </p:cBhvr>
                                    </p:animEffect>
                                    <p:anim calcmode="lin" valueType="num">
                                      <p:cBhvr>
                                        <p:cTn id="8" dur="1000" fill="hold"/>
                                        <p:tgtEl>
                                          <p:spTgt spid="1087"/>
                                        </p:tgtEl>
                                        <p:attrNameLst>
                                          <p:attrName>ppt_x</p:attrName>
                                        </p:attrNameLst>
                                      </p:cBhvr>
                                      <p:tavLst>
                                        <p:tav tm="0">
                                          <p:val>
                                            <p:strVal val="#ppt_x"/>
                                          </p:val>
                                        </p:tav>
                                        <p:tav tm="100000">
                                          <p:val>
                                            <p:strVal val="#ppt_x"/>
                                          </p:val>
                                        </p:tav>
                                      </p:tavLst>
                                    </p:anim>
                                    <p:anim calcmode="lin" valueType="num">
                                      <p:cBhvr>
                                        <p:cTn id="9" dur="1000" fill="hold"/>
                                        <p:tgtEl>
                                          <p:spTgt spid="108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86"/>
                                        </p:tgtEl>
                                        <p:attrNameLst>
                                          <p:attrName>style.visibility</p:attrName>
                                        </p:attrNameLst>
                                      </p:cBhvr>
                                      <p:to>
                                        <p:strVal val="visible"/>
                                      </p:to>
                                    </p:set>
                                    <p:animEffect transition="in" filter="fade">
                                      <p:cBhvr>
                                        <p:cTn id="14" dur="1000"/>
                                        <p:tgtEl>
                                          <p:spTgt spid="1086"/>
                                        </p:tgtEl>
                                      </p:cBhvr>
                                    </p:animEffect>
                                    <p:anim calcmode="lin" valueType="num">
                                      <p:cBhvr>
                                        <p:cTn id="15" dur="1000" fill="hold"/>
                                        <p:tgtEl>
                                          <p:spTgt spid="1086"/>
                                        </p:tgtEl>
                                        <p:attrNameLst>
                                          <p:attrName>ppt_x</p:attrName>
                                        </p:attrNameLst>
                                      </p:cBhvr>
                                      <p:tavLst>
                                        <p:tav tm="0">
                                          <p:val>
                                            <p:strVal val="#ppt_x"/>
                                          </p:val>
                                        </p:tav>
                                        <p:tav tm="100000">
                                          <p:val>
                                            <p:strVal val="#ppt_x"/>
                                          </p:val>
                                        </p:tav>
                                      </p:tavLst>
                                    </p:anim>
                                    <p:anim calcmode="lin" valueType="num">
                                      <p:cBhvr>
                                        <p:cTn id="16" dur="1000" fill="hold"/>
                                        <p:tgtEl>
                                          <p:spTgt spid="108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077"/>
                                        </p:tgtEl>
                                        <p:attrNameLst>
                                          <p:attrName>style.visibility</p:attrName>
                                        </p:attrNameLst>
                                      </p:cBhvr>
                                      <p:to>
                                        <p:strVal val="visible"/>
                                      </p:to>
                                    </p:set>
                                    <p:animEffect transition="in" filter="fade">
                                      <p:cBhvr>
                                        <p:cTn id="21" dur="1000"/>
                                        <p:tgtEl>
                                          <p:spTgt spid="1077"/>
                                        </p:tgtEl>
                                      </p:cBhvr>
                                    </p:animEffect>
                                    <p:anim calcmode="lin" valueType="num">
                                      <p:cBhvr>
                                        <p:cTn id="22" dur="1000" fill="hold"/>
                                        <p:tgtEl>
                                          <p:spTgt spid="1077"/>
                                        </p:tgtEl>
                                        <p:attrNameLst>
                                          <p:attrName>ppt_x</p:attrName>
                                        </p:attrNameLst>
                                      </p:cBhvr>
                                      <p:tavLst>
                                        <p:tav tm="0">
                                          <p:val>
                                            <p:strVal val="#ppt_x"/>
                                          </p:val>
                                        </p:tav>
                                        <p:tav tm="100000">
                                          <p:val>
                                            <p:strVal val="#ppt_x"/>
                                          </p:val>
                                        </p:tav>
                                      </p:tavLst>
                                    </p:anim>
                                    <p:anim calcmode="lin" valueType="num">
                                      <p:cBhvr>
                                        <p:cTn id="23" dur="1000" fill="hold"/>
                                        <p:tgtEl>
                                          <p:spTgt spid="107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92"/>
                                        </p:tgtEl>
                                        <p:attrNameLst>
                                          <p:attrName>style.visibility</p:attrName>
                                        </p:attrNameLst>
                                      </p:cBhvr>
                                      <p:to>
                                        <p:strVal val="visible"/>
                                      </p:to>
                                    </p:set>
                                    <p:animEffect transition="in" filter="fade">
                                      <p:cBhvr>
                                        <p:cTn id="28" dur="1000"/>
                                        <p:tgtEl>
                                          <p:spTgt spid="1092"/>
                                        </p:tgtEl>
                                      </p:cBhvr>
                                    </p:animEffect>
                                    <p:anim calcmode="lin" valueType="num">
                                      <p:cBhvr>
                                        <p:cTn id="29" dur="1000" fill="hold"/>
                                        <p:tgtEl>
                                          <p:spTgt spid="1092"/>
                                        </p:tgtEl>
                                        <p:attrNameLst>
                                          <p:attrName>ppt_x</p:attrName>
                                        </p:attrNameLst>
                                      </p:cBhvr>
                                      <p:tavLst>
                                        <p:tav tm="0">
                                          <p:val>
                                            <p:strVal val="#ppt_x"/>
                                          </p:val>
                                        </p:tav>
                                        <p:tav tm="100000">
                                          <p:val>
                                            <p:strVal val="#ppt_x"/>
                                          </p:val>
                                        </p:tav>
                                      </p:tavLst>
                                    </p:anim>
                                    <p:anim calcmode="lin" valueType="num">
                                      <p:cBhvr>
                                        <p:cTn id="30" dur="1000" fill="hold"/>
                                        <p:tgtEl>
                                          <p:spTgt spid="109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2" descr="Image shows a diagram of enterprise B I, which is organization-wide content distribution at scale. Items in the diagram are described in the table below.">
            <a:extLst>
              <a:ext uri="{FF2B5EF4-FFF2-40B4-BE49-F238E27FC236}">
                <a16:creationId xmlns:a16="http://schemas.microsoft.com/office/drawing/2014/main" id="{2D557BF6-6B94-4ACE-9929-2101E270B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493" y="1841896"/>
            <a:ext cx="5882219" cy="35441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a:t>Power BI Implementation Planning</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type="body" sz="quarter" idx="10"/>
          </p:nvPr>
        </p:nvSpPr>
        <p:spPr>
          <a:xfrm>
            <a:off x="595914" y="1463670"/>
            <a:ext cx="11239463" cy="5101935"/>
          </a:xfrm>
        </p:spPr>
        <p:txBody>
          <a:bodyPr>
            <a:normAutofit fontScale="92500" lnSpcReduction="10000"/>
          </a:bodyPr>
          <a:lstStyle/>
          <a:p>
            <a:r>
              <a:rPr lang="en-US"/>
              <a:t>Content collaboration and delivery scenarios</a:t>
            </a:r>
          </a:p>
          <a:p>
            <a:pPr lvl="1"/>
            <a:r>
              <a:rPr lang="en-US"/>
              <a:t>Personal BI</a:t>
            </a:r>
          </a:p>
          <a:p>
            <a:pPr lvl="1"/>
            <a:r>
              <a:rPr lang="en-US"/>
              <a:t>Team BI</a:t>
            </a:r>
          </a:p>
          <a:p>
            <a:pPr lvl="1"/>
            <a:r>
              <a:rPr lang="en-US"/>
              <a:t>Departmental BI</a:t>
            </a:r>
          </a:p>
          <a:p>
            <a:pPr lvl="1"/>
            <a:r>
              <a:rPr lang="en-US"/>
              <a:t>Enterprise BI</a:t>
            </a:r>
          </a:p>
          <a:p>
            <a:r>
              <a:rPr lang="en-US"/>
              <a:t>Self-service BI scenarios</a:t>
            </a:r>
          </a:p>
          <a:p>
            <a:pPr lvl="1"/>
            <a:r>
              <a:rPr lang="en-US"/>
              <a:t>Managed self-service BI</a:t>
            </a:r>
          </a:p>
          <a:p>
            <a:pPr lvl="1"/>
            <a:r>
              <a:rPr lang="en-US"/>
              <a:t>Customizable managed self-service BI</a:t>
            </a:r>
          </a:p>
          <a:p>
            <a:pPr lvl="1"/>
            <a:r>
              <a:rPr lang="en-US"/>
              <a:t>Self-service data preparation</a:t>
            </a:r>
          </a:p>
          <a:p>
            <a:pPr lvl="1"/>
            <a:r>
              <a:rPr lang="en-US"/>
              <a:t>Prototyping and data sharing</a:t>
            </a:r>
          </a:p>
          <a:p>
            <a:pPr marL="0" lvl="1">
              <a:spcBef>
                <a:spcPts val="1248"/>
              </a:spcBef>
              <a:buClr>
                <a:schemeClr val="tx1"/>
              </a:buClr>
            </a:pPr>
            <a:r>
              <a:rPr lang="en-US" sz="2856">
                <a:latin typeface="Segoe UI" panose="020B0502040204020203" pitchFamily="34" charset="0"/>
                <a:cs typeface="Segoe UI" panose="020B0502040204020203" pitchFamily="34" charset="0"/>
              </a:rPr>
              <a:t>Content management and deployment scenarios</a:t>
            </a:r>
          </a:p>
          <a:p>
            <a:pPr lvl="1"/>
            <a:r>
              <a:rPr lang="en-US" sz="2100"/>
              <a:t>Self-service content publishing</a:t>
            </a:r>
          </a:p>
          <a:p>
            <a:pPr marL="0" lvl="1">
              <a:spcBef>
                <a:spcPts val="1248"/>
              </a:spcBef>
              <a:buClr>
                <a:schemeClr val="tx1"/>
              </a:buClr>
            </a:pPr>
            <a:r>
              <a:rPr lang="en-US" sz="2856">
                <a:latin typeface="Segoe UI" panose="020B0502040204020203" pitchFamily="34" charset="0"/>
                <a:cs typeface="Segoe UI" panose="020B0502040204020203" pitchFamily="34" charset="0"/>
              </a:rPr>
              <a:t>Additional scenarios and guidance coming soon!</a:t>
            </a:r>
          </a:p>
          <a:p>
            <a:pPr lvl="1"/>
            <a:endParaRPr lang="en-US"/>
          </a:p>
        </p:txBody>
      </p:sp>
    </p:spTree>
    <p:extLst>
      <p:ext uri="{BB962C8B-B14F-4D97-AF65-F5344CB8AC3E}">
        <p14:creationId xmlns:p14="http://schemas.microsoft.com/office/powerpoint/2010/main" val="4233497821"/>
      </p:ext>
    </p:extLst>
  </p:cSld>
  <p:clrMapOvr>
    <a:masterClrMapping/>
  </p:clrMapOvr>
  <p:transition spd="slow">
    <p:push dir="r"/>
  </p:transition>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0612-8A00-41C5-A21D-942AF2E5E2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B93E3DE-ED08-4045-9A33-BECE96AA925D}"/>
              </a:ext>
            </a:extLst>
          </p:cNvPr>
          <p:cNvSpPr>
            <a:spLocks noGrp="1"/>
          </p:cNvSpPr>
          <p:nvPr>
            <p:ph idx="1"/>
          </p:nvPr>
        </p:nvSpPr>
        <p:spPr>
          <a:xfrm>
            <a:off x="595915" y="1464080"/>
            <a:ext cx="11239464" cy="439479"/>
          </a:xfrm>
        </p:spPr>
        <p:txBody>
          <a:bodyPr/>
          <a:lstStyle/>
          <a:p>
            <a:endParaRPr lang="en-US"/>
          </a:p>
        </p:txBody>
      </p:sp>
      <p:pic>
        <p:nvPicPr>
          <p:cNvPr id="6" name="Picture 5">
            <a:extLst>
              <a:ext uri="{FF2B5EF4-FFF2-40B4-BE49-F238E27FC236}">
                <a16:creationId xmlns:a16="http://schemas.microsoft.com/office/drawing/2014/main" id="{00772C2D-0CB5-439F-AB3E-CCEC970BB23E}"/>
              </a:ext>
            </a:extLst>
          </p:cNvPr>
          <p:cNvPicPr>
            <a:picLocks noChangeAspect="1"/>
          </p:cNvPicPr>
          <p:nvPr/>
        </p:nvPicPr>
        <p:blipFill>
          <a:blip r:embed="rId3"/>
          <a:stretch>
            <a:fillRect/>
          </a:stretch>
        </p:blipFill>
        <p:spPr>
          <a:xfrm>
            <a:off x="0" y="365473"/>
            <a:ext cx="12436475" cy="6263579"/>
          </a:xfrm>
          <a:prstGeom prst="rect">
            <a:avLst/>
          </a:prstGeom>
        </p:spPr>
      </p:pic>
    </p:spTree>
    <p:extLst>
      <p:ext uri="{BB962C8B-B14F-4D97-AF65-F5344CB8AC3E}">
        <p14:creationId xmlns:p14="http://schemas.microsoft.com/office/powerpoint/2010/main" val="3933805859"/>
      </p:ext>
    </p:extLst>
  </p:cSld>
  <p:clrMapOvr>
    <a:masterClrMapping/>
  </p:clrMapOvr>
  <p:transition spd="slow">
    <p:push dir="d"/>
  </p:transition>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a:t>Thank you!</a:t>
            </a:r>
          </a:p>
        </p:txBody>
      </p:sp>
    </p:spTree>
    <p:extLst>
      <p:ext uri="{BB962C8B-B14F-4D97-AF65-F5344CB8AC3E}">
        <p14:creationId xmlns:p14="http://schemas.microsoft.com/office/powerpoint/2010/main" val="404217166"/>
      </p:ext>
    </p:extLst>
  </p:cSld>
  <p:clrMapOvr>
    <a:masterClrMapping/>
  </p:clrMapOvr>
  <p:transition spd="slow">
    <p:push dir="u"/>
  </p:transition>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9679796-962E-4DA5-9C87-F74B5370F0F7}"/>
              </a:ext>
            </a:extLst>
          </p:cNvPr>
          <p:cNvSpPr/>
          <p:nvPr/>
        </p:nvSpPr>
        <p:spPr>
          <a:xfrm>
            <a:off x="4112" y="3702661"/>
            <a:ext cx="12431481" cy="523372"/>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Calibri" panose="020F0502020204030204"/>
              <a:cs typeface="Segoe UI Semibold"/>
            </a:endParaRPr>
          </a:p>
        </p:txBody>
      </p:sp>
      <p:sp>
        <p:nvSpPr>
          <p:cNvPr id="24" name="Rectangle 23">
            <a:extLst>
              <a:ext uri="{FF2B5EF4-FFF2-40B4-BE49-F238E27FC236}">
                <a16:creationId xmlns:a16="http://schemas.microsoft.com/office/drawing/2014/main" id="{8A52C8CB-7582-4BD6-AABE-1C709F8A31FF}"/>
              </a:ext>
            </a:extLst>
          </p:cNvPr>
          <p:cNvSpPr/>
          <p:nvPr/>
        </p:nvSpPr>
        <p:spPr>
          <a:xfrm>
            <a:off x="-2868" y="3686347"/>
            <a:ext cx="12431178" cy="89052"/>
          </a:xfrm>
          <a:prstGeom prst="rect">
            <a:avLst/>
          </a:prstGeom>
          <a:solidFill>
            <a:srgbClr val="243A5E"/>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grpSp>
        <p:nvGrpSpPr>
          <p:cNvPr id="2" name="Group 1">
            <a:extLst>
              <a:ext uri="{FF2B5EF4-FFF2-40B4-BE49-F238E27FC236}">
                <a16:creationId xmlns:a16="http://schemas.microsoft.com/office/drawing/2014/main" id="{FF7BF60B-8AA4-4A62-8A9C-7F57C569380C}"/>
              </a:ext>
            </a:extLst>
          </p:cNvPr>
          <p:cNvGrpSpPr/>
          <p:nvPr/>
        </p:nvGrpSpPr>
        <p:grpSpPr>
          <a:xfrm>
            <a:off x="288840" y="4903895"/>
            <a:ext cx="11863790" cy="1090193"/>
            <a:chOff x="237499" y="7908448"/>
            <a:chExt cx="6918044" cy="548640"/>
          </a:xfrm>
        </p:grpSpPr>
        <p:sp>
          <p:nvSpPr>
            <p:cNvPr id="3" name="Oval 2">
              <a:extLst>
                <a:ext uri="{FF2B5EF4-FFF2-40B4-BE49-F238E27FC236}">
                  <a16:creationId xmlns:a16="http://schemas.microsoft.com/office/drawing/2014/main" id="{C76838FD-2087-47F4-9140-187930CDC04D}"/>
                </a:ext>
              </a:extLst>
            </p:cNvPr>
            <p:cNvSpPr/>
            <p:nvPr/>
          </p:nvSpPr>
          <p:spPr>
            <a:xfrm>
              <a:off x="6509670" y="7908448"/>
              <a:ext cx="645873" cy="548640"/>
            </a:xfrm>
            <a:prstGeom prst="ellipse">
              <a:avLst/>
            </a:prstGeom>
            <a:solidFill>
              <a:srgbClr val="E7E6E6"/>
            </a:solidFill>
            <a:ln w="12700" cap="flat" cmpd="sng" algn="ctr">
              <a:noFill/>
              <a:prstDash val="solid"/>
              <a:miter lim="800000"/>
            </a:ln>
            <a:effectLst/>
          </p:spPr>
          <p:txBody>
            <a:bodyPr rot="0" spcFirstLastPara="0" vertOverflow="overflow" horzOverflow="overflow" vert="horz" wrap="square" lIns="63578" tIns="31790" rIns="63578" bIns="31790" numCol="1" spcCol="0" rtlCol="0" fromWordArt="0" anchor="ctr" anchorCtr="0" forceAA="0" compatLnSpc="1">
              <a:prstTxWarp prst="textNoShape">
                <a:avLst/>
              </a:prstTxWarp>
              <a:noAutofit/>
            </a:bodyPr>
            <a:lstStyle/>
            <a:p>
              <a:pPr algn="ctr" defTabSz="635780">
                <a:defRPr/>
              </a:pPr>
              <a:endParaRPr lang="en-US" sz="1251" kern="0">
                <a:solidFill>
                  <a:prstClr val="white"/>
                </a:solidFill>
                <a:latin typeface="Calibri" panose="020F0502020204030204"/>
                <a:cs typeface="Segoe UI Semibold"/>
              </a:endParaRPr>
            </a:p>
          </p:txBody>
        </p:sp>
        <p:sp>
          <p:nvSpPr>
            <p:cNvPr id="4" name="Freeform: Shape 3">
              <a:extLst>
                <a:ext uri="{FF2B5EF4-FFF2-40B4-BE49-F238E27FC236}">
                  <a16:creationId xmlns:a16="http://schemas.microsoft.com/office/drawing/2014/main" id="{10BF560A-E435-4D4B-981D-9DAFBCDBE7EA}"/>
                </a:ext>
              </a:extLst>
            </p:cNvPr>
            <p:cNvSpPr/>
            <p:nvPr/>
          </p:nvSpPr>
          <p:spPr>
            <a:xfrm>
              <a:off x="237499" y="7908448"/>
              <a:ext cx="6570856" cy="548640"/>
            </a:xfrm>
            <a:custGeom>
              <a:avLst/>
              <a:gdLst>
                <a:gd name="connsiteX0" fmla="*/ 0 w 6570856"/>
                <a:gd name="connsiteY0" fmla="*/ 0 h 548640"/>
                <a:gd name="connsiteX1" fmla="*/ 6570856 w 6570856"/>
                <a:gd name="connsiteY1" fmla="*/ 0 h 548640"/>
                <a:gd name="connsiteX2" fmla="*/ 6570856 w 6570856"/>
                <a:gd name="connsiteY2" fmla="*/ 548640 h 548640"/>
                <a:gd name="connsiteX3" fmla="*/ 541107 w 6570856"/>
                <a:gd name="connsiteY3" fmla="*/ 548640 h 548640"/>
                <a:gd name="connsiteX4" fmla="*/ 0 w 6570856"/>
                <a:gd name="connsiteY4" fmla="*/ 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0856" h="548640">
                  <a:moveTo>
                    <a:pt x="0" y="0"/>
                  </a:moveTo>
                  <a:lnTo>
                    <a:pt x="6570856" y="0"/>
                  </a:lnTo>
                  <a:lnTo>
                    <a:pt x="6570856" y="548640"/>
                  </a:lnTo>
                  <a:lnTo>
                    <a:pt x="541107" y="548640"/>
                  </a:lnTo>
                  <a:lnTo>
                    <a:pt x="0" y="0"/>
                  </a:lnTo>
                  <a:close/>
                </a:path>
              </a:pathLst>
            </a:custGeom>
            <a:solidFill>
              <a:srgbClr val="E7E6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573969" hangingPunct="0"/>
              <a:endParaRPr lang="en-US" sz="2225">
                <a:solidFill>
                  <a:srgbClr val="FFFFFF"/>
                </a:solidFill>
                <a:latin typeface="Helvetica Neue Medium"/>
                <a:ea typeface="Helvetica Neue Medium"/>
                <a:cs typeface="Helvetica Neue Medium"/>
                <a:sym typeface="Helvetica Neue Medium"/>
              </a:endParaRPr>
            </a:p>
          </p:txBody>
        </p:sp>
      </p:grpSp>
      <p:sp>
        <p:nvSpPr>
          <p:cNvPr id="5" name="Rectangle 4">
            <a:extLst>
              <a:ext uri="{FF2B5EF4-FFF2-40B4-BE49-F238E27FC236}">
                <a16:creationId xmlns:a16="http://schemas.microsoft.com/office/drawing/2014/main" id="{BB6338A7-9286-4545-A0D0-F7F1A0E8ADDF}"/>
              </a:ext>
            </a:extLst>
          </p:cNvPr>
          <p:cNvSpPr/>
          <p:nvPr/>
        </p:nvSpPr>
        <p:spPr>
          <a:xfrm>
            <a:off x="249624"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Advance your career in cloud data engineering</a:t>
            </a:r>
          </a:p>
        </p:txBody>
      </p:sp>
      <p:sp>
        <p:nvSpPr>
          <p:cNvPr id="6" name="Rectangle 5">
            <a:extLst>
              <a:ext uri="{FF2B5EF4-FFF2-40B4-BE49-F238E27FC236}">
                <a16:creationId xmlns:a16="http://schemas.microsoft.com/office/drawing/2014/main" id="{E7E5F0FF-FD7C-4036-8DE3-4CFBDE906F46}"/>
              </a:ext>
            </a:extLst>
          </p:cNvPr>
          <p:cNvSpPr/>
          <p:nvPr/>
        </p:nvSpPr>
        <p:spPr>
          <a:xfrm>
            <a:off x="4246419" y="3837173"/>
            <a:ext cx="3815195" cy="290492"/>
          </a:xfrm>
          <a:prstGeom prst="rect">
            <a:avLst/>
          </a:prstGeom>
          <a:noFill/>
          <a:ln w="12700" cap="flat" cmpd="sng" algn="ctr">
            <a:noFill/>
            <a:prstDash val="solid"/>
            <a:miter lim="800000"/>
          </a:ln>
          <a:effectLst/>
        </p:spPr>
        <p:txBody>
          <a:bodyPr wrap="square" lIns="0" rIns="0" rtlCol="0" anchor="t">
            <a:spAutoFit/>
          </a:bodyPr>
          <a:lstStyle/>
          <a:p>
            <a:pPr algn="ctr" defTabSz="635780">
              <a:defRPr/>
            </a:pPr>
            <a:r>
              <a:rPr lang="en-US" sz="1251" kern="0">
                <a:solidFill>
                  <a:prstClr val="black"/>
                </a:solidFill>
                <a:latin typeface="Segoe UI Semibold"/>
                <a:cs typeface="Segoe UI Semibold"/>
              </a:rPr>
              <a:t>Build in-demand skills</a:t>
            </a:r>
          </a:p>
        </p:txBody>
      </p:sp>
      <p:sp>
        <p:nvSpPr>
          <p:cNvPr id="7" name="Freeform: Shape 6">
            <a:extLst>
              <a:ext uri="{FF2B5EF4-FFF2-40B4-BE49-F238E27FC236}">
                <a16:creationId xmlns:a16="http://schemas.microsoft.com/office/drawing/2014/main" id="{42354B4A-EEC1-4721-99FC-ADE14DD87DBB}"/>
              </a:ext>
            </a:extLst>
          </p:cNvPr>
          <p:cNvSpPr>
            <a:spLocks noChangeAspect="1"/>
          </p:cNvSpPr>
          <p:nvPr/>
        </p:nvSpPr>
        <p:spPr>
          <a:xfrm rot="348610" flipV="1">
            <a:off x="1822940"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8" name="Freeform: Shape 7">
            <a:extLst>
              <a:ext uri="{FF2B5EF4-FFF2-40B4-BE49-F238E27FC236}">
                <a16:creationId xmlns:a16="http://schemas.microsoft.com/office/drawing/2014/main" id="{B1BBE4ED-54F7-4AFE-AEB4-C1BF62C6A01A}"/>
              </a:ext>
            </a:extLst>
          </p:cNvPr>
          <p:cNvSpPr>
            <a:spLocks noChangeAspect="1"/>
          </p:cNvSpPr>
          <p:nvPr/>
        </p:nvSpPr>
        <p:spPr>
          <a:xfrm rot="348610" flipV="1">
            <a:off x="6111607"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sp>
        <p:nvSpPr>
          <p:cNvPr id="9" name="Rectangle 8">
            <a:extLst>
              <a:ext uri="{FF2B5EF4-FFF2-40B4-BE49-F238E27FC236}">
                <a16:creationId xmlns:a16="http://schemas.microsoft.com/office/drawing/2014/main" id="{5D090EEC-E88D-44C7-B7AE-4DB4E4904998}"/>
              </a:ext>
            </a:extLst>
          </p:cNvPr>
          <p:cNvSpPr/>
          <p:nvPr/>
        </p:nvSpPr>
        <p:spPr>
          <a:xfrm>
            <a:off x="8243213" y="3837173"/>
            <a:ext cx="3815195" cy="290492"/>
          </a:xfrm>
          <a:prstGeom prst="rect">
            <a:avLst/>
          </a:prstGeom>
          <a:noFill/>
          <a:ln w="12700" cap="flat" cmpd="sng" algn="ctr">
            <a:noFill/>
            <a:prstDash val="solid"/>
            <a:miter lim="800000"/>
          </a:ln>
          <a:effectLst/>
        </p:spPr>
        <p:txBody>
          <a:bodyPr lIns="0" rIns="0" rtlCol="0" anchor="t">
            <a:spAutoFit/>
          </a:bodyPr>
          <a:lstStyle/>
          <a:p>
            <a:pPr algn="ctr" defTabSz="635780">
              <a:defRPr/>
            </a:pPr>
            <a:r>
              <a:rPr lang="en-US" sz="1251" kern="0">
                <a:solidFill>
                  <a:prstClr val="black"/>
                </a:solidFill>
                <a:latin typeface="Segoe UI Semibold"/>
                <a:cs typeface="Segoe UI Semibold"/>
              </a:rPr>
              <a:t>Increase your productivity and efficiency </a:t>
            </a:r>
          </a:p>
        </p:txBody>
      </p:sp>
      <p:sp>
        <p:nvSpPr>
          <p:cNvPr id="10" name="Rectangle 9">
            <a:extLst>
              <a:ext uri="{FF2B5EF4-FFF2-40B4-BE49-F238E27FC236}">
                <a16:creationId xmlns:a16="http://schemas.microsoft.com/office/drawing/2014/main" id="{C5F7BA94-42D3-41A1-B5E1-6ABF20322FF2}"/>
              </a:ext>
            </a:extLst>
          </p:cNvPr>
          <p:cNvSpPr/>
          <p:nvPr/>
        </p:nvSpPr>
        <p:spPr>
          <a:xfrm>
            <a:off x="687944" y="5151033"/>
            <a:ext cx="11269829" cy="542399"/>
          </a:xfrm>
          <a:prstGeom prst="rect">
            <a:avLst/>
          </a:prstGeom>
        </p:spPr>
        <p:txBody>
          <a:bodyPr wrap="square" lIns="93248" tIns="46624" rIns="93248" bIns="46624" anchor="t">
            <a:spAutoFit/>
          </a:bodyPr>
          <a:lstStyle/>
          <a:p>
            <a:pPr marL="160598" defTabSz="635780">
              <a:defRPr/>
            </a:pPr>
            <a:r>
              <a:rPr lang="en-US" sz="2856" kern="0">
                <a:solidFill>
                  <a:prstClr val="black"/>
                </a:solidFill>
                <a:latin typeface="Segoe UI Semibold"/>
                <a:cs typeface="Segoe UI Semibold"/>
              </a:rPr>
              <a:t>Get started at </a:t>
            </a:r>
            <a:r>
              <a:rPr lang="en-US" sz="2856" b="1" kern="0">
                <a:solidFill>
                  <a:srgbClr val="0078D4"/>
                </a:solidFill>
                <a:latin typeface="Segoe UI Semibold"/>
                <a:cs typeface="Segoe UI Semibold"/>
                <a:hlinkClick r:id="rId3"/>
              </a:rPr>
              <a:t>aka.ms/azuresqlfundamentals</a:t>
            </a:r>
            <a:endParaRPr lang="en-US" sz="2856" b="1" kern="0">
              <a:solidFill>
                <a:srgbClr val="0078D4"/>
              </a:solidFill>
              <a:latin typeface="Segoe UI Semibold"/>
              <a:cs typeface="Segoe UI Semibold"/>
            </a:endParaRPr>
          </a:p>
        </p:txBody>
      </p:sp>
      <p:sp>
        <p:nvSpPr>
          <p:cNvPr id="11" name="Freeform: Shape 10">
            <a:extLst>
              <a:ext uri="{FF2B5EF4-FFF2-40B4-BE49-F238E27FC236}">
                <a16:creationId xmlns:a16="http://schemas.microsoft.com/office/drawing/2014/main" id="{2B4E4E92-CB5D-4CB5-B48E-8B754C394308}"/>
              </a:ext>
            </a:extLst>
          </p:cNvPr>
          <p:cNvSpPr>
            <a:spLocks noChangeAspect="1"/>
          </p:cNvSpPr>
          <p:nvPr/>
        </p:nvSpPr>
        <p:spPr>
          <a:xfrm rot="348610" flipV="1">
            <a:off x="10108401" y="3689542"/>
            <a:ext cx="84819" cy="82662"/>
          </a:xfrm>
          <a:custGeom>
            <a:avLst/>
            <a:gdLst>
              <a:gd name="connsiteX0" fmla="*/ 74486 w 74485"/>
              <a:gd name="connsiteY0" fmla="*/ 37243 h 74485"/>
              <a:gd name="connsiteX1" fmla="*/ 37243 w 74485"/>
              <a:gd name="connsiteY1" fmla="*/ 74486 h 74485"/>
              <a:gd name="connsiteX2" fmla="*/ 0 w 74485"/>
              <a:gd name="connsiteY2" fmla="*/ 37243 h 74485"/>
              <a:gd name="connsiteX3" fmla="*/ 37243 w 74485"/>
              <a:gd name="connsiteY3" fmla="*/ 0 h 74485"/>
              <a:gd name="connsiteX4" fmla="*/ 74486 w 74485"/>
              <a:gd name="connsiteY4" fmla="*/ 37243 h 7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85" h="74485">
                <a:moveTo>
                  <a:pt x="74486" y="37243"/>
                </a:moveTo>
                <a:cubicBezTo>
                  <a:pt x="74486" y="57811"/>
                  <a:pt x="57811" y="74486"/>
                  <a:pt x="37243" y="74486"/>
                </a:cubicBezTo>
                <a:cubicBezTo>
                  <a:pt x="16674" y="74486"/>
                  <a:pt x="0" y="57811"/>
                  <a:pt x="0" y="37243"/>
                </a:cubicBezTo>
                <a:cubicBezTo>
                  <a:pt x="0" y="16674"/>
                  <a:pt x="16674" y="0"/>
                  <a:pt x="37243" y="0"/>
                </a:cubicBezTo>
                <a:cubicBezTo>
                  <a:pt x="57811" y="0"/>
                  <a:pt x="74486" y="16674"/>
                  <a:pt x="74486" y="37243"/>
                </a:cubicBezTo>
                <a:close/>
              </a:path>
            </a:pathLst>
          </a:custGeom>
          <a:solidFill>
            <a:srgbClr val="28C2D1"/>
          </a:solidFill>
          <a:ln w="744" cap="flat">
            <a:noFill/>
            <a:prstDash val="solid"/>
            <a:miter/>
          </a:ln>
        </p:spPr>
        <p:txBody>
          <a:bodyPr rtlCol="0" anchor="ctr"/>
          <a:lstStyle/>
          <a:p>
            <a:pPr defTabSz="635780"/>
            <a:endParaRPr lang="en-IN" sz="1251">
              <a:solidFill>
                <a:prstClr val="black"/>
              </a:solidFill>
              <a:latin typeface="Calibri" panose="020F0502020204030204"/>
              <a:cs typeface="Segoe UI Semibold"/>
            </a:endParaRPr>
          </a:p>
        </p:txBody>
      </p:sp>
      <p:pic>
        <p:nvPicPr>
          <p:cNvPr id="12" name="logo 1.png" descr="logo 1.png">
            <a:extLst>
              <a:ext uri="{FF2B5EF4-FFF2-40B4-BE49-F238E27FC236}">
                <a16:creationId xmlns:a16="http://schemas.microsoft.com/office/drawing/2014/main" id="{7067B944-EDE9-4E5B-AFC3-4E69B583AE10}"/>
              </a:ext>
            </a:extLst>
          </p:cNvPr>
          <p:cNvPicPr>
            <a:picLocks noChangeAspect="1"/>
          </p:cNvPicPr>
          <p:nvPr/>
        </p:nvPicPr>
        <p:blipFill>
          <a:blip r:embed="rId4"/>
          <a:stretch>
            <a:fillRect/>
          </a:stretch>
        </p:blipFill>
        <p:spPr>
          <a:xfrm>
            <a:off x="564483" y="339127"/>
            <a:ext cx="1556745" cy="331896"/>
          </a:xfrm>
          <a:prstGeom prst="rect">
            <a:avLst/>
          </a:prstGeom>
          <a:ln w="12700">
            <a:miter lim="400000"/>
          </a:ln>
        </p:spPr>
      </p:pic>
      <p:sp>
        <p:nvSpPr>
          <p:cNvPr id="13" name="TextBox 12">
            <a:extLst>
              <a:ext uri="{FF2B5EF4-FFF2-40B4-BE49-F238E27FC236}">
                <a16:creationId xmlns:a16="http://schemas.microsoft.com/office/drawing/2014/main" id="{B684FEC6-AC15-451A-BB90-8090E986C6A2}"/>
              </a:ext>
            </a:extLst>
          </p:cNvPr>
          <p:cNvSpPr txBox="1"/>
          <p:nvPr/>
        </p:nvSpPr>
        <p:spPr>
          <a:xfrm>
            <a:off x="529034" y="788565"/>
            <a:ext cx="11775261" cy="742513"/>
          </a:xfrm>
          <a:prstGeom prst="rect">
            <a:avLst/>
          </a:prstGeom>
          <a:noFill/>
        </p:spPr>
        <p:txBody>
          <a:bodyPr wrap="square" lIns="0" tIns="46624" rIns="0" bIns="46624" anchor="t">
            <a:spAutoFit/>
          </a:bodyPr>
          <a:lstStyle/>
          <a:p>
            <a:pPr defTabSz="635780">
              <a:defRPr/>
            </a:pPr>
            <a:r>
              <a:rPr lang="en-US" sz="4131" kern="0">
                <a:solidFill>
                  <a:prstClr val="black"/>
                </a:solidFill>
                <a:latin typeface="Segoe UI Semibold"/>
                <a:cs typeface="Segoe UI Semibold"/>
              </a:rPr>
              <a:t>Continue your SQL journey on Microsoft Learn </a:t>
            </a:r>
          </a:p>
        </p:txBody>
      </p:sp>
      <p:sp>
        <p:nvSpPr>
          <p:cNvPr id="14" name="Rectangle 13">
            <a:extLst>
              <a:ext uri="{FF2B5EF4-FFF2-40B4-BE49-F238E27FC236}">
                <a16:creationId xmlns:a16="http://schemas.microsoft.com/office/drawing/2014/main" id="{F5E6FC16-FF83-49D8-8C89-F88BABB337CD}"/>
              </a:ext>
            </a:extLst>
          </p:cNvPr>
          <p:cNvSpPr/>
          <p:nvPr/>
        </p:nvSpPr>
        <p:spPr>
          <a:xfrm>
            <a:off x="2421" y="2219097"/>
            <a:ext cx="12425889" cy="1232281"/>
          </a:xfrm>
          <a:prstGeom prst="rect">
            <a:avLst/>
          </a:prstGeom>
          <a:solidFill>
            <a:srgbClr val="F2F2F2"/>
          </a:solidFill>
          <a:ln w="12700" cap="flat" cmpd="sng" algn="ctr">
            <a:noFill/>
            <a:prstDash val="solid"/>
            <a:miter lim="800000"/>
          </a:ln>
          <a:effectLst/>
        </p:spPr>
        <p:txBody>
          <a:bodyPr rtlCol="0" anchor="ctr"/>
          <a:lstStyle/>
          <a:p>
            <a:pPr algn="ctr" defTabSz="635780">
              <a:defRPr/>
            </a:pPr>
            <a:endParaRPr lang="en-IN" sz="1251" kern="0">
              <a:solidFill>
                <a:prstClr val="white"/>
              </a:solidFill>
              <a:latin typeface="Segoe UI"/>
              <a:cs typeface="Segoe UI Semibold"/>
            </a:endParaRPr>
          </a:p>
        </p:txBody>
      </p:sp>
      <p:sp>
        <p:nvSpPr>
          <p:cNvPr id="15" name="Rectangle 14">
            <a:extLst>
              <a:ext uri="{FF2B5EF4-FFF2-40B4-BE49-F238E27FC236}">
                <a16:creationId xmlns:a16="http://schemas.microsoft.com/office/drawing/2014/main" id="{8A946D75-80D2-4A0F-9637-FC6144A5F87F}"/>
              </a:ext>
            </a:extLst>
          </p:cNvPr>
          <p:cNvSpPr/>
          <p:nvPr/>
        </p:nvSpPr>
        <p:spPr>
          <a:xfrm>
            <a:off x="529035" y="2301618"/>
            <a:ext cx="6016725" cy="1067241"/>
          </a:xfrm>
          <a:prstGeom prst="rect">
            <a:avLst/>
          </a:prstGeom>
          <a:noFill/>
          <a:ln w="12700" cap="flat" cmpd="sng" algn="ctr">
            <a:noFill/>
            <a:prstDash val="solid"/>
            <a:miter lim="800000"/>
          </a:ln>
          <a:effectLst/>
        </p:spPr>
        <p:txBody>
          <a:bodyPr lIns="0" rIns="0" rtlCol="0" anchor="ctr"/>
          <a:lstStyle/>
          <a:p>
            <a:pPr defTabSz="635780">
              <a:spcAft>
                <a:spcPts val="278"/>
              </a:spcAft>
              <a:defRPr/>
            </a:pPr>
            <a:r>
              <a:rPr lang="en-US" sz="1632" kern="0">
                <a:solidFill>
                  <a:srgbClr val="2F2F2F"/>
                </a:solidFill>
                <a:latin typeface="Segoe UI"/>
                <a:cs typeface="Segoe UI Semibold"/>
              </a:rPr>
              <a:t>Sharpen the technical skills you need to advance your career with free courses and designated learning paths.</a:t>
            </a:r>
          </a:p>
        </p:txBody>
      </p:sp>
      <p:sp>
        <p:nvSpPr>
          <p:cNvPr id="16" name="Rectangle 15">
            <a:extLst>
              <a:ext uri="{FF2B5EF4-FFF2-40B4-BE49-F238E27FC236}">
                <a16:creationId xmlns:a16="http://schemas.microsoft.com/office/drawing/2014/main" id="{0FCE4254-44BA-4C95-BB7C-BDB953BED6D2}"/>
              </a:ext>
            </a:extLst>
          </p:cNvPr>
          <p:cNvSpPr/>
          <p:nvPr/>
        </p:nvSpPr>
        <p:spPr>
          <a:xfrm>
            <a:off x="7077071" y="2142267"/>
            <a:ext cx="4959754" cy="1359136"/>
          </a:xfrm>
          <a:prstGeom prst="rect">
            <a:avLst/>
          </a:prstGeom>
          <a:solidFill>
            <a:sysClr val="window" lastClr="FFFFFF"/>
          </a:solidFill>
          <a:ln w="12700" cap="flat" cmpd="sng" algn="ctr">
            <a:solidFill>
              <a:srgbClr val="E7E6E6"/>
            </a:solidFill>
            <a:prstDash val="solid"/>
            <a:miter lim="800000"/>
          </a:ln>
          <a:effectLst/>
        </p:spPr>
        <p:txBody>
          <a:bodyPr rtlCol="0" anchor="ctr"/>
          <a:lstStyle/>
          <a:p>
            <a:pPr algn="ctr" defTabSz="635780">
              <a:defRPr/>
            </a:pPr>
            <a:endParaRPr lang="en-US" sz="1251" kern="0">
              <a:solidFill>
                <a:prstClr val="white"/>
              </a:solidFill>
              <a:latin typeface="Segoe UI"/>
              <a:cs typeface="Segoe UI Semibold"/>
            </a:endParaRPr>
          </a:p>
        </p:txBody>
      </p:sp>
      <p:grpSp>
        <p:nvGrpSpPr>
          <p:cNvPr id="17" name="Group 16">
            <a:extLst>
              <a:ext uri="{FF2B5EF4-FFF2-40B4-BE49-F238E27FC236}">
                <a16:creationId xmlns:a16="http://schemas.microsoft.com/office/drawing/2014/main" id="{02CB2D14-9600-46E4-A2E3-96676F2D458B}"/>
              </a:ext>
            </a:extLst>
          </p:cNvPr>
          <p:cNvGrpSpPr/>
          <p:nvPr/>
        </p:nvGrpSpPr>
        <p:grpSpPr>
          <a:xfrm>
            <a:off x="7380050" y="2382185"/>
            <a:ext cx="4377533" cy="870056"/>
            <a:chOff x="4197703" y="2103048"/>
            <a:chExt cx="3468152" cy="1251335"/>
          </a:xfrm>
        </p:grpSpPr>
        <p:grpSp>
          <p:nvGrpSpPr>
            <p:cNvPr id="18" name="Group 17">
              <a:extLst>
                <a:ext uri="{FF2B5EF4-FFF2-40B4-BE49-F238E27FC236}">
                  <a16:creationId xmlns:a16="http://schemas.microsoft.com/office/drawing/2014/main" id="{FB5835DE-C2FD-4C51-A97F-6BBA8C3BED7B}"/>
                </a:ext>
              </a:extLst>
            </p:cNvPr>
            <p:cNvGrpSpPr/>
            <p:nvPr/>
          </p:nvGrpSpPr>
          <p:grpSpPr>
            <a:xfrm>
              <a:off x="4197704" y="2103048"/>
              <a:ext cx="3334180" cy="690652"/>
              <a:chOff x="4019585" y="2103048"/>
              <a:chExt cx="3334180" cy="690652"/>
            </a:xfrm>
          </p:grpSpPr>
          <p:sp>
            <p:nvSpPr>
              <p:cNvPr id="20" name="Rectangle 19">
                <a:extLst>
                  <a:ext uri="{FF2B5EF4-FFF2-40B4-BE49-F238E27FC236}">
                    <a16:creationId xmlns:a16="http://schemas.microsoft.com/office/drawing/2014/main" id="{C9C21662-D043-4F89-8DDC-9711EBF94603}"/>
                  </a:ext>
                </a:extLst>
              </p:cNvPr>
              <p:cNvSpPr/>
              <p:nvPr/>
            </p:nvSpPr>
            <p:spPr>
              <a:xfrm>
                <a:off x="4657754" y="2327933"/>
                <a:ext cx="2696011" cy="416999"/>
              </a:xfrm>
              <a:prstGeom prst="rect">
                <a:avLst/>
              </a:prstGeom>
              <a:noFill/>
              <a:ln w="12700" cap="flat" cmpd="sng" algn="ctr">
                <a:noFill/>
                <a:prstDash val="solid"/>
                <a:miter lim="800000"/>
              </a:ln>
              <a:effectLst/>
            </p:spPr>
            <p:txBody>
              <a:bodyPr wrap="square" lIns="0" tIns="0" rIns="0" bIns="0" rtlCol="0" anchor="b">
                <a:noAutofit/>
              </a:bodyPr>
              <a:lstStyle/>
              <a:p>
                <a:pPr defTabSz="635780">
                  <a:defRPr/>
                </a:pPr>
                <a:r>
                  <a:rPr lang="en-US" sz="1391" b="1" kern="0">
                    <a:solidFill>
                      <a:srgbClr val="3B2E59"/>
                    </a:solidFill>
                    <a:latin typeface="Segoe UI"/>
                    <a:cs typeface="Segoe UI Semibold"/>
                  </a:rPr>
                  <a:t>career opportunities improvement</a:t>
                </a:r>
              </a:p>
            </p:txBody>
          </p:sp>
          <p:sp>
            <p:nvSpPr>
              <p:cNvPr id="21" name="Rectangle 20">
                <a:extLst>
                  <a:ext uri="{FF2B5EF4-FFF2-40B4-BE49-F238E27FC236}">
                    <a16:creationId xmlns:a16="http://schemas.microsoft.com/office/drawing/2014/main" id="{CC04FD65-D283-4150-8900-3AB713B269EA}"/>
                  </a:ext>
                </a:extLst>
              </p:cNvPr>
              <p:cNvSpPr/>
              <p:nvPr/>
            </p:nvSpPr>
            <p:spPr>
              <a:xfrm>
                <a:off x="4019585" y="2103048"/>
                <a:ext cx="705838" cy="690652"/>
              </a:xfrm>
              <a:prstGeom prst="rect">
                <a:avLst/>
              </a:prstGeom>
            </p:spPr>
            <p:txBody>
              <a:bodyPr wrap="none" lIns="0" tIns="0" rIns="0" bIns="0" anchor="b">
                <a:spAutoFit/>
              </a:bodyPr>
              <a:lstStyle/>
              <a:p>
                <a:pPr defTabSz="635780">
                  <a:defRPr/>
                </a:pPr>
                <a:r>
                  <a:rPr lang="en-US" sz="3060" kern="0">
                    <a:solidFill>
                      <a:srgbClr val="3B2E59"/>
                    </a:solidFill>
                    <a:latin typeface="Segoe UI Semibold"/>
                    <a:cs typeface="Segoe UI Semibold"/>
                  </a:rPr>
                  <a:t>58% </a:t>
                </a:r>
              </a:p>
            </p:txBody>
          </p:sp>
        </p:grpSp>
        <p:sp>
          <p:nvSpPr>
            <p:cNvPr id="19" name="Rectangle 18">
              <a:extLst>
                <a:ext uri="{FF2B5EF4-FFF2-40B4-BE49-F238E27FC236}">
                  <a16:creationId xmlns:a16="http://schemas.microsoft.com/office/drawing/2014/main" id="{14B09881-E89D-4897-B17F-07A2E63F107C}"/>
                </a:ext>
              </a:extLst>
            </p:cNvPr>
            <p:cNvSpPr/>
            <p:nvPr/>
          </p:nvSpPr>
          <p:spPr>
            <a:xfrm>
              <a:off x="4197703" y="2832117"/>
              <a:ext cx="3468152" cy="522266"/>
            </a:xfrm>
            <a:prstGeom prst="rect">
              <a:avLst/>
            </a:prstGeom>
            <a:noFill/>
            <a:ln w="12700" cap="flat" cmpd="sng" algn="ctr">
              <a:noFill/>
              <a:prstDash val="solid"/>
              <a:miter lim="800000"/>
            </a:ln>
            <a:effectLst/>
          </p:spPr>
          <p:txBody>
            <a:bodyPr wrap="square" lIns="0" tIns="0" rIns="0" bIns="0" rtlCol="0" anchor="t">
              <a:noAutofit/>
            </a:bodyPr>
            <a:lstStyle/>
            <a:p>
              <a:pPr defTabSz="635780">
                <a:defRPr/>
              </a:pPr>
              <a:r>
                <a:rPr lang="en-US" sz="1113" kern="0">
                  <a:solidFill>
                    <a:srgbClr val="2F2F2F"/>
                  </a:solidFill>
                  <a:latin typeface="Segoe UI"/>
                  <a:cs typeface="Segoe UI" panose="020B0502040204020203" pitchFamily="34" charset="0"/>
                </a:rPr>
                <a:t>58% of certified professionals report Azure certifications </a:t>
              </a:r>
              <a:br>
                <a:rPr lang="en-US" sz="1113" kern="0">
                  <a:solidFill>
                    <a:srgbClr val="2F2F2F"/>
                  </a:solidFill>
                  <a:latin typeface="Segoe UI"/>
                  <a:cs typeface="Segoe UI" panose="020B0502040204020203" pitchFamily="34" charset="0"/>
                </a:rPr>
              </a:br>
              <a:r>
                <a:rPr lang="en-US" sz="1113" kern="0">
                  <a:solidFill>
                    <a:srgbClr val="2F2F2F"/>
                  </a:solidFill>
                  <a:latin typeface="Segoe UI"/>
                  <a:cs typeface="Segoe UI" panose="020B0502040204020203" pitchFamily="34" charset="0"/>
                </a:rPr>
                <a:t>have helped them improve their career progression opportunities </a:t>
              </a:r>
              <a:r>
                <a:rPr lang="en-US" sz="1113" kern="0" baseline="30000">
                  <a:solidFill>
                    <a:prstClr val="black"/>
                  </a:solidFill>
                  <a:latin typeface="Segoe UI"/>
                  <a:cs typeface="Segoe UI Semibold"/>
                </a:rPr>
                <a:t>*</a:t>
              </a:r>
            </a:p>
          </p:txBody>
        </p:sp>
      </p:grpSp>
      <p:sp>
        <p:nvSpPr>
          <p:cNvPr id="22" name="TextBox 21">
            <a:extLst>
              <a:ext uri="{FF2B5EF4-FFF2-40B4-BE49-F238E27FC236}">
                <a16:creationId xmlns:a16="http://schemas.microsoft.com/office/drawing/2014/main" id="{1052BBD0-5E09-4068-9D97-A932A493F68C}"/>
              </a:ext>
            </a:extLst>
          </p:cNvPr>
          <p:cNvSpPr txBox="1"/>
          <p:nvPr/>
        </p:nvSpPr>
        <p:spPr>
          <a:xfrm>
            <a:off x="-12554" y="1515264"/>
            <a:ext cx="6485832" cy="445106"/>
          </a:xfrm>
          <a:custGeom>
            <a:avLst/>
            <a:gdLst>
              <a:gd name="connsiteX0" fmla="*/ 0 w 7011422"/>
              <a:gd name="connsiteY0" fmla="*/ 0 h 562630"/>
              <a:gd name="connsiteX1" fmla="*/ 6730107 w 7011422"/>
              <a:gd name="connsiteY1" fmla="*/ 0 h 562630"/>
              <a:gd name="connsiteX2" fmla="*/ 7011422 w 7011422"/>
              <a:gd name="connsiteY2" fmla="*/ 281315 h 562630"/>
              <a:gd name="connsiteX3" fmla="*/ 6730107 w 7011422"/>
              <a:gd name="connsiteY3" fmla="*/ 562630 h 562630"/>
              <a:gd name="connsiteX4" fmla="*/ 0 w 7011422"/>
              <a:gd name="connsiteY4" fmla="*/ 562630 h 56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1422" h="562630">
                <a:moveTo>
                  <a:pt x="0" y="0"/>
                </a:moveTo>
                <a:lnTo>
                  <a:pt x="6730107" y="0"/>
                </a:lnTo>
                <a:cubicBezTo>
                  <a:pt x="6885473" y="0"/>
                  <a:pt x="7011422" y="125949"/>
                  <a:pt x="7011422" y="281315"/>
                </a:cubicBezTo>
                <a:cubicBezTo>
                  <a:pt x="7011422" y="436681"/>
                  <a:pt x="6885473" y="562630"/>
                  <a:pt x="6730107" y="562630"/>
                </a:cubicBezTo>
                <a:lnTo>
                  <a:pt x="0" y="562630"/>
                </a:lnTo>
                <a:close/>
              </a:path>
            </a:pathLst>
          </a:custGeom>
          <a:solidFill>
            <a:srgbClr val="243A5E"/>
          </a:solidFill>
          <a:ln w="12700" cap="flat">
            <a:noFill/>
            <a:miter lim="400000"/>
          </a:ln>
          <a:effectLst/>
          <a:sp3d/>
        </p:spPr>
        <p:style>
          <a:lnRef idx="0">
            <a:scrgbClr r="0" g="0" b="0"/>
          </a:lnRef>
          <a:fillRef idx="0">
            <a:scrgbClr r="0" g="0" b="0"/>
          </a:fillRef>
          <a:effectRef idx="0">
            <a:scrgbClr r="0" g="0" b="0"/>
          </a:effectRef>
          <a:fontRef idx="none"/>
        </p:style>
        <p:txBody>
          <a:bodyPr wrap="square" lIns="0" tIns="0" rIns="0" anchor="ctr">
            <a:noAutofit/>
          </a:bodyPr>
          <a:lstStyle/>
          <a:p>
            <a:pPr marL="551893" defTabSz="932499">
              <a:defRPr/>
            </a:pPr>
            <a:r>
              <a:rPr lang="en-US" sz="1947">
                <a:solidFill>
                  <a:srgbClr val="FFFFFF"/>
                </a:solidFill>
                <a:latin typeface="Segoe UI Semibold"/>
                <a:cs typeface="Segoe UI Semibold"/>
              </a:rPr>
              <a:t>The next step to expanding your technical skills </a:t>
            </a:r>
            <a:endParaRPr lang="en-US" sz="1947" i="1">
              <a:solidFill>
                <a:srgbClr val="FFFFFF"/>
              </a:solidFill>
              <a:latin typeface="Segoe UI Semibold"/>
              <a:cs typeface="Segoe UI Semibold"/>
            </a:endParaRPr>
          </a:p>
        </p:txBody>
      </p:sp>
      <p:sp>
        <p:nvSpPr>
          <p:cNvPr id="28" name="Rectangle 27">
            <a:extLst>
              <a:ext uri="{FF2B5EF4-FFF2-40B4-BE49-F238E27FC236}">
                <a16:creationId xmlns:a16="http://schemas.microsoft.com/office/drawing/2014/main" id="{7E4F26D2-17B1-4B9D-903D-4B0B2FFCA59C}"/>
              </a:ext>
            </a:extLst>
          </p:cNvPr>
          <p:cNvSpPr/>
          <p:nvPr/>
        </p:nvSpPr>
        <p:spPr>
          <a:xfrm>
            <a:off x="177733" y="6719038"/>
            <a:ext cx="5929907" cy="225095"/>
          </a:xfrm>
          <a:prstGeom prst="rect">
            <a:avLst/>
          </a:prstGeom>
          <a:solidFill>
            <a:sysClr val="window" lastClr="FFFFFF">
              <a:alpha val="50000"/>
            </a:sysClr>
          </a:solidFill>
        </p:spPr>
        <p:txBody>
          <a:bodyPr wrap="square" lIns="0">
            <a:spAutoFit/>
          </a:bodyPr>
          <a:lstStyle/>
          <a:p>
            <a:pPr defTabSz="635780">
              <a:defRPr/>
            </a:pPr>
            <a:r>
              <a:rPr lang="en-US" sz="834" kern="0" baseline="30000">
                <a:solidFill>
                  <a:srgbClr val="2F2F2F"/>
                </a:solidFill>
                <a:latin typeface="Segoe UI" panose="020B0502040204020203" pitchFamily="34" charset="0"/>
                <a:cs typeface="Segoe UI" panose="020B0502040204020203" pitchFamily="34" charset="0"/>
              </a:rPr>
              <a:t>* </a:t>
            </a:r>
            <a:r>
              <a:rPr lang="en-US" sz="834" kern="0">
                <a:solidFill>
                  <a:srgbClr val="2F2F2F"/>
                </a:solidFill>
                <a:latin typeface="Segoe UI" panose="020B0502040204020203" pitchFamily="34" charset="0"/>
                <a:cs typeface="Segoe UI" panose="020B0502040204020203" pitchFamily="34" charset="0"/>
              </a:rPr>
              <a:t>Nigel Frank Microsoft Azure Salary Survey (June 2020) </a:t>
            </a:r>
            <a:r>
              <a:rPr lang="en-US" sz="834" u="sng" kern="0">
                <a:solidFill>
                  <a:srgbClr val="0078D4"/>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https://www.nigelfrank.com/microsoft-azure-salary-survey/</a:t>
            </a:r>
            <a:endParaRPr lang="en-US" sz="834" kern="0">
              <a:solidFill>
                <a:srgbClr val="0078D4"/>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6060827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631BD2-F4F1-498B-9943-5965BFCED19A}"/>
              </a:ext>
            </a:extLst>
          </p:cNvPr>
          <p:cNvSpPr>
            <a:spLocks noGrp="1"/>
          </p:cNvSpPr>
          <p:nvPr>
            <p:ph type="title"/>
          </p:nvPr>
        </p:nvSpPr>
        <p:spPr>
          <a:xfrm>
            <a:off x="598505" y="2758598"/>
            <a:ext cx="11239464" cy="1477328"/>
          </a:xfrm>
        </p:spPr>
        <p:txBody>
          <a:bodyPr/>
          <a:lstStyle/>
          <a:p>
            <a:r>
              <a:rPr lang="en-US" sz="9599" dirty="0"/>
              <a:t>Appendix</a:t>
            </a:r>
          </a:p>
        </p:txBody>
      </p:sp>
    </p:spTree>
    <p:extLst>
      <p:ext uri="{BB962C8B-B14F-4D97-AF65-F5344CB8AC3E}">
        <p14:creationId xmlns:p14="http://schemas.microsoft.com/office/powerpoint/2010/main" val="2278235748"/>
      </p:ext>
    </p:extLst>
  </p:cSld>
  <p:clrMapOvr>
    <a:masterClrMapping/>
  </p:clrMapOvr>
  <p:transition spd="slow">
    <p:push dir="u"/>
  </p:transition>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9588" name="Picture 4" descr="Image shows a bar chart for six products. The bar chart is sorted in descending order of sales.">
            <a:extLst>
              <a:ext uri="{FF2B5EF4-FFF2-40B4-BE49-F238E27FC236}">
                <a16:creationId xmlns:a16="http://schemas.microsoft.com/office/drawing/2014/main" id="{9388A59C-D9AB-4F51-BD05-2B1D674D25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6475" y="3682146"/>
            <a:ext cx="5760000" cy="2796348"/>
          </a:xfrm>
          <a:prstGeom prst="rect">
            <a:avLst/>
          </a:prstGeom>
          <a:noFill/>
          <a:extLst>
            <a:ext uri="{909E8E84-426E-40DD-AFC4-6F175D3DCCD1}">
              <a14:hiddenFill xmlns:a14="http://schemas.microsoft.com/office/drawing/2010/main">
                <a:solidFill>
                  <a:srgbClr val="FFFFFF"/>
                </a:solidFill>
              </a14:hiddenFill>
            </a:ext>
          </a:extLst>
        </p:spPr>
      </p:pic>
      <p:pic>
        <p:nvPicPr>
          <p:cNvPr id="579586" name="Picture 2" descr="Image shows a line chart with product categories on the X-axis. The line implies a relationship between the products, which isn't correct.">
            <a:extLst>
              <a:ext uri="{FF2B5EF4-FFF2-40B4-BE49-F238E27FC236}">
                <a16:creationId xmlns:a16="http://schemas.microsoft.com/office/drawing/2014/main" id="{4A4746B4-FA26-46AB-BAA5-FAB5BCC0FB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6475" y="718180"/>
            <a:ext cx="5760000" cy="25941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Categorical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across multiple categories</a:t>
            </a:r>
          </a:p>
          <a:p>
            <a:r>
              <a:rPr lang="en-US"/>
              <a:t>Sort by value, not alphabetical</a:t>
            </a:r>
          </a:p>
        </p:txBody>
      </p:sp>
    </p:spTree>
    <p:extLst>
      <p:ext uri="{BB962C8B-B14F-4D97-AF65-F5344CB8AC3E}">
        <p14:creationId xmlns:p14="http://schemas.microsoft.com/office/powerpoint/2010/main" val="1954379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579586"/>
                                        </p:tgtEl>
                                        <p:attrNameLst>
                                          <p:attrName>style.visibility</p:attrName>
                                        </p:attrNameLst>
                                      </p:cBhvr>
                                      <p:to>
                                        <p:strVal val="visible"/>
                                      </p:to>
                                    </p:set>
                                    <p:anim calcmode="lin" valueType="num">
                                      <p:cBhvr additive="base">
                                        <p:cTn id="11" dur="500" fill="hold"/>
                                        <p:tgtEl>
                                          <p:spTgt spid="579586"/>
                                        </p:tgtEl>
                                        <p:attrNameLst>
                                          <p:attrName>ppt_x</p:attrName>
                                        </p:attrNameLst>
                                      </p:cBhvr>
                                      <p:tavLst>
                                        <p:tav tm="0">
                                          <p:val>
                                            <p:strVal val="1+#ppt_w/2"/>
                                          </p:val>
                                        </p:tav>
                                        <p:tav tm="100000">
                                          <p:val>
                                            <p:strVal val="#ppt_x"/>
                                          </p:val>
                                        </p:tav>
                                      </p:tavLst>
                                    </p:anim>
                                    <p:anim calcmode="lin" valueType="num">
                                      <p:cBhvr additive="base">
                                        <p:cTn id="12" dur="500" fill="hold"/>
                                        <p:tgtEl>
                                          <p:spTgt spid="57958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579588"/>
                                        </p:tgtEl>
                                        <p:attrNameLst>
                                          <p:attrName>style.visibility</p:attrName>
                                        </p:attrNameLst>
                                      </p:cBhvr>
                                      <p:to>
                                        <p:strVal val="visible"/>
                                      </p:to>
                                    </p:set>
                                    <p:anim calcmode="lin" valueType="num">
                                      <p:cBhvr additive="base">
                                        <p:cTn id="17" dur="500" fill="hold"/>
                                        <p:tgtEl>
                                          <p:spTgt spid="579588"/>
                                        </p:tgtEl>
                                        <p:attrNameLst>
                                          <p:attrName>ppt_x</p:attrName>
                                        </p:attrNameLst>
                                      </p:cBhvr>
                                      <p:tavLst>
                                        <p:tav tm="0">
                                          <p:val>
                                            <p:strVal val="1+#ppt_w/2"/>
                                          </p:val>
                                        </p:tav>
                                        <p:tav tm="100000">
                                          <p:val>
                                            <p:strVal val="#ppt_x"/>
                                          </p:val>
                                        </p:tav>
                                      </p:tavLst>
                                    </p:anim>
                                    <p:anim calcmode="lin" valueType="num">
                                      <p:cBhvr additive="base">
                                        <p:cTn id="18" dur="500" fill="hold"/>
                                        <p:tgtEl>
                                          <p:spTgt spid="5795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endParaRPr lang="en-US"/>
          </a:p>
        </p:txBody>
      </p:sp>
      <p:pic>
        <p:nvPicPr>
          <p:cNvPr id="578562" name="Picture 2" descr="Image shows a line chart of historic sales over the month of April.">
            <a:extLst>
              <a:ext uri="{FF2B5EF4-FFF2-40B4-BE49-F238E27FC236}">
                <a16:creationId xmlns:a16="http://schemas.microsoft.com/office/drawing/2014/main" id="{F932F1A4-4C2D-4126-BF34-83F355F0C2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237" y="3530829"/>
            <a:ext cx="5760000" cy="2526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9163C92-3F16-4122-996B-30702C2EEAE1}"/>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for all days</a:t>
            </a:r>
          </a:p>
        </p:txBody>
      </p:sp>
    </p:spTree>
    <p:extLst>
      <p:ext uri="{BB962C8B-B14F-4D97-AF65-F5344CB8AC3E}">
        <p14:creationId xmlns:p14="http://schemas.microsoft.com/office/powerpoint/2010/main" val="2085900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8562"/>
                                        </p:tgtEl>
                                        <p:attrNameLst>
                                          <p:attrName>style.visibility</p:attrName>
                                        </p:attrNameLst>
                                      </p:cBhvr>
                                      <p:to>
                                        <p:strVal val="visible"/>
                                      </p:to>
                                    </p:set>
                                    <p:anim calcmode="lin" valueType="num">
                                      <p:cBhvr additive="base">
                                        <p:cTn id="15" dur="500" fill="hold"/>
                                        <p:tgtEl>
                                          <p:spTgt spid="578562"/>
                                        </p:tgtEl>
                                        <p:attrNameLst>
                                          <p:attrName>ppt_x</p:attrName>
                                        </p:attrNameLst>
                                      </p:cBhvr>
                                      <p:tavLst>
                                        <p:tav tm="0">
                                          <p:val>
                                            <p:strVal val="#ppt_x"/>
                                          </p:val>
                                        </p:tav>
                                        <p:tav tm="100000">
                                          <p:val>
                                            <p:strVal val="#ppt_x"/>
                                          </p:val>
                                        </p:tav>
                                      </p:tavLst>
                                    </p:anim>
                                    <p:anim calcmode="lin" valueType="num">
                                      <p:cBhvr additive="base">
                                        <p:cTn id="16" dur="500" fill="hold"/>
                                        <p:tgtEl>
                                          <p:spTgt spid="5785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Time Series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Data over time</a:t>
            </a:r>
          </a:p>
          <a:p>
            <a:r>
              <a:rPr lang="en-US"/>
              <a:t>Always user line or column chart</a:t>
            </a:r>
          </a:p>
          <a:p>
            <a:pPr marL="0" indent="0">
              <a:buNone/>
            </a:pPr>
            <a:endParaRPr lang="en-US"/>
          </a:p>
        </p:txBody>
      </p:sp>
      <p:pic>
        <p:nvPicPr>
          <p:cNvPr id="4" name="Picture 4">
            <a:extLst>
              <a:ext uri="{FF2B5EF4-FFF2-40B4-BE49-F238E27FC236}">
                <a16:creationId xmlns:a16="http://schemas.microsoft.com/office/drawing/2014/main" id="{E119CF15-346A-49BE-A2E0-5A799A3170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2808"/>
          <a:stretch/>
        </p:blipFill>
        <p:spPr bwMode="auto">
          <a:xfrm>
            <a:off x="300220" y="3521713"/>
            <a:ext cx="5760000" cy="244560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4FBD316-0D40-4852-85A0-B86B5A2A62FB}"/>
              </a:ext>
            </a:extLst>
          </p:cNvPr>
          <p:cNvSpPr txBox="1"/>
          <p:nvPr/>
        </p:nvSpPr>
        <p:spPr>
          <a:xfrm>
            <a:off x="2978237" y="2936391"/>
            <a:ext cx="6480000"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missing for some days</a:t>
            </a:r>
          </a:p>
        </p:txBody>
      </p:sp>
      <p:pic>
        <p:nvPicPr>
          <p:cNvPr id="5" name="Picture 4">
            <a:extLst>
              <a:ext uri="{FF2B5EF4-FFF2-40B4-BE49-F238E27FC236}">
                <a16:creationId xmlns:a16="http://schemas.microsoft.com/office/drawing/2014/main" id="{78BFDABA-2A4D-4BE3-9228-415C55F233E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178"/>
          <a:stretch/>
        </p:blipFill>
        <p:spPr bwMode="auto">
          <a:xfrm>
            <a:off x="6290429" y="3509680"/>
            <a:ext cx="6094396" cy="2457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96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roportion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607428"/>
          </a:xfrm>
        </p:spPr>
        <p:txBody>
          <a:bodyPr/>
          <a:lstStyle/>
          <a:p>
            <a:r>
              <a:rPr lang="en-US"/>
              <a:t>Show data part of a whole</a:t>
            </a:r>
          </a:p>
          <a:p>
            <a:r>
              <a:rPr lang="en-US"/>
              <a:t>Stacked Column/Bar chart, Funnel chart, </a:t>
            </a:r>
            <a:r>
              <a:rPr lang="en-US" err="1"/>
              <a:t>Treemap</a:t>
            </a:r>
            <a:r>
              <a:rPr lang="en-US"/>
              <a:t>, Pie chart Doughnut chart</a:t>
            </a:r>
          </a:p>
        </p:txBody>
      </p:sp>
      <p:pic>
        <p:nvPicPr>
          <p:cNvPr id="577538" name="Picture 2" descr="Image shows a stacked bar chart showing product sales by store. Each bar length totals 100 per cent.">
            <a:extLst>
              <a:ext uri="{FF2B5EF4-FFF2-40B4-BE49-F238E27FC236}">
                <a16:creationId xmlns:a16="http://schemas.microsoft.com/office/drawing/2014/main" id="{39DBBFDF-41C6-43CC-AEF2-EA8B2950B2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5460" y="2881414"/>
            <a:ext cx="6480000" cy="4046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32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7538"/>
                                        </p:tgtEl>
                                        <p:attrNameLst>
                                          <p:attrName>style.visibility</p:attrName>
                                        </p:attrNameLst>
                                      </p:cBhvr>
                                      <p:to>
                                        <p:strVal val="visible"/>
                                      </p:to>
                                    </p:set>
                                    <p:anim calcmode="lin" valueType="num">
                                      <p:cBhvr additive="base">
                                        <p:cTn id="11" dur="500" fill="hold"/>
                                        <p:tgtEl>
                                          <p:spTgt spid="577538"/>
                                        </p:tgtEl>
                                        <p:attrNameLst>
                                          <p:attrName>ppt_x</p:attrName>
                                        </p:attrNameLst>
                                      </p:cBhvr>
                                      <p:tavLst>
                                        <p:tav tm="0">
                                          <p:val>
                                            <p:strVal val="#ppt_x"/>
                                          </p:val>
                                        </p:tav>
                                        <p:tav tm="100000">
                                          <p:val>
                                            <p:strVal val="#ppt_x"/>
                                          </p:val>
                                        </p:tav>
                                      </p:tavLst>
                                    </p:anim>
                                    <p:anim calcmode="lin" valueType="num">
                                      <p:cBhvr additive="base">
                                        <p:cTn id="12" dur="500" fill="hold"/>
                                        <p:tgtEl>
                                          <p:spTgt spid="5775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Numeric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High-level callouts</a:t>
            </a:r>
          </a:p>
        </p:txBody>
      </p:sp>
      <p:pic>
        <p:nvPicPr>
          <p:cNvPr id="576514" name="Picture 2" descr="Image shows a single sales value in card.">
            <a:extLst>
              <a:ext uri="{FF2B5EF4-FFF2-40B4-BE49-F238E27FC236}">
                <a16:creationId xmlns:a16="http://schemas.microsoft.com/office/drawing/2014/main" id="{DD0C642B-0FEA-40D8-838A-05A6003AE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2336300"/>
            <a:ext cx="4320000" cy="2036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33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76514"/>
                                        </p:tgtEl>
                                        <p:attrNameLst>
                                          <p:attrName>style.visibility</p:attrName>
                                        </p:attrNameLst>
                                      </p:cBhvr>
                                      <p:to>
                                        <p:strVal val="visible"/>
                                      </p:to>
                                    </p:set>
                                    <p:anim calcmode="lin" valueType="num">
                                      <p:cBhvr additive="base">
                                        <p:cTn id="7" dur="500" fill="hold"/>
                                        <p:tgtEl>
                                          <p:spTgt spid="576514"/>
                                        </p:tgtEl>
                                        <p:attrNameLst>
                                          <p:attrName>ppt_x</p:attrName>
                                        </p:attrNameLst>
                                      </p:cBhvr>
                                      <p:tavLst>
                                        <p:tav tm="0">
                                          <p:val>
                                            <p:strVal val="#ppt_x"/>
                                          </p:val>
                                        </p:tav>
                                        <p:tav tm="100000">
                                          <p:val>
                                            <p:strVal val="#ppt_x"/>
                                          </p:val>
                                        </p:tav>
                                      </p:tavLst>
                                    </p:anim>
                                    <p:anim calcmode="lin" valueType="num">
                                      <p:cBhvr additive="base">
                                        <p:cTn id="8" dur="500" fill="hold"/>
                                        <p:tgtEl>
                                          <p:spTgt spid="5765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ataflows</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1" y="1631427"/>
            <a:ext cx="6590040" cy="4845972"/>
          </a:xfrm>
        </p:spPr>
        <p:txBody>
          <a:bodyPr vert="horz" lIns="91428" tIns="45714" rIns="91428" bIns="45714" rtlCol="0" anchor="t">
            <a:normAutofit/>
          </a:bodyPr>
          <a:lstStyle/>
          <a:p>
            <a:pPr marL="466043" indent="-466043">
              <a:buFont typeface="+mj-lt"/>
              <a:buAutoNum type="arabicPeriod"/>
            </a:pPr>
            <a:r>
              <a:rPr lang="en-US" sz="2448" b="1" dirty="0">
                <a:gradFill>
                  <a:gsLst>
                    <a:gs pos="2917">
                      <a:srgbClr val="505050"/>
                    </a:gs>
                    <a:gs pos="30000">
                      <a:srgbClr val="505050"/>
                    </a:gs>
                  </a:gsLst>
                  <a:lin ang="5400000" scaled="0"/>
                </a:gradFill>
                <a:latin typeface="Segoe UI"/>
              </a:rPr>
              <a:t>Advantages</a:t>
            </a:r>
            <a:endParaRPr lang="en-US" dirty="0"/>
          </a:p>
          <a:p>
            <a:pPr marL="699065" lvl="1" indent="-233022"/>
            <a:r>
              <a:rPr lang="en-US" sz="1800" dirty="0">
                <a:gradFill>
                  <a:gsLst>
                    <a:gs pos="2917">
                      <a:srgbClr val="505050"/>
                    </a:gs>
                    <a:gs pos="30000">
                      <a:srgbClr val="505050"/>
                    </a:gs>
                  </a:gsLst>
                  <a:lin ang="5400000" scaled="0"/>
                </a:gradFill>
                <a:latin typeface="Segoe UI"/>
              </a:rPr>
              <a:t>Creates a single source of truth (Endorsements)</a:t>
            </a:r>
          </a:p>
          <a:p>
            <a:pPr marL="699065" lvl="1" indent="-233022"/>
            <a:r>
              <a:rPr lang="en-US" sz="1800" dirty="0">
                <a:gradFill>
                  <a:gsLst>
                    <a:gs pos="2917">
                      <a:srgbClr val="505050"/>
                    </a:gs>
                    <a:gs pos="30000">
                      <a:srgbClr val="505050"/>
                    </a:gs>
                  </a:gsLst>
                  <a:lin ang="5400000" scaled="0"/>
                </a:gradFill>
                <a:latin typeface="Segoe UI"/>
              </a:rPr>
              <a:t>Reduces load at the source by copying the data once and then sharing broadly</a:t>
            </a:r>
          </a:p>
          <a:p>
            <a:pPr marL="699065" lvl="1" indent="-233022"/>
            <a:r>
              <a:rPr lang="en-US" sz="1800" dirty="0">
                <a:gradFill>
                  <a:gsLst>
                    <a:gs pos="2917">
                      <a:srgbClr val="505050"/>
                    </a:gs>
                    <a:gs pos="30000">
                      <a:srgbClr val="505050"/>
                    </a:gs>
                  </a:gsLst>
                  <a:lin ang="5400000" scaled="0"/>
                </a:gradFill>
                <a:latin typeface="Segoe UI"/>
              </a:rPr>
              <a:t>Protects the underlying data sources from direct access</a:t>
            </a:r>
          </a:p>
          <a:p>
            <a:pPr marL="699065" lvl="1" indent="-233022"/>
            <a:r>
              <a:rPr lang="en-US" sz="1800" dirty="0">
                <a:gradFill>
                  <a:gsLst>
                    <a:gs pos="2917">
                      <a:srgbClr val="505050"/>
                    </a:gs>
                    <a:gs pos="30000">
                      <a:srgbClr val="505050"/>
                    </a:gs>
                  </a:gsLst>
                  <a:lin ang="5400000" scaled="0"/>
                </a:gradFill>
                <a:latin typeface="Segoe UI"/>
              </a:rPr>
              <a:t>Allows a direct connection within Excel</a:t>
            </a:r>
          </a:p>
          <a:p>
            <a:pPr marL="699065" lvl="1" indent="-233022"/>
            <a:endParaRPr lang="en-US" sz="1800" dirty="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dirty="0">
                <a:gradFill>
                  <a:gsLst>
                    <a:gs pos="2917">
                      <a:srgbClr val="505050"/>
                    </a:gs>
                    <a:gs pos="30000">
                      <a:srgbClr val="505050"/>
                    </a:gs>
                  </a:gsLst>
                  <a:lin ang="5400000" scaled="0"/>
                </a:gradFill>
                <a:latin typeface="Segoe UI"/>
              </a:rPr>
              <a:t>Disadvantages</a:t>
            </a:r>
            <a:endParaRPr lang="en-US" sz="2448" b="1" dirty="0">
              <a:gradFill>
                <a:gsLst>
                  <a:gs pos="2917">
                    <a:srgbClr val="505050"/>
                  </a:gs>
                  <a:gs pos="30000">
                    <a:srgbClr val="505050"/>
                  </a:gs>
                </a:gsLst>
                <a:lin ang="5400000" scaled="0"/>
              </a:gradFill>
              <a:latin typeface="Segoe UI"/>
              <a:cs typeface="Segoe UI"/>
            </a:endParaRPr>
          </a:p>
          <a:p>
            <a:pPr marL="699065" lvl="1" indent="-233022"/>
            <a:r>
              <a:rPr lang="en-US" sz="1800" dirty="0">
                <a:gradFill>
                  <a:gsLst>
                    <a:gs pos="2917">
                      <a:srgbClr val="505050"/>
                    </a:gs>
                    <a:gs pos="30000">
                      <a:srgbClr val="505050"/>
                    </a:gs>
                  </a:gsLst>
                  <a:lin ang="5400000" scaled="0"/>
                </a:gradFill>
                <a:latin typeface="Segoe UI"/>
              </a:rPr>
              <a:t>Cloud-only development</a:t>
            </a:r>
          </a:p>
          <a:p>
            <a:pPr marL="699065" lvl="1" indent="-233022"/>
            <a:r>
              <a:rPr lang="en-US" sz="1800" dirty="0">
                <a:gradFill>
                  <a:gsLst>
                    <a:gs pos="2917">
                      <a:srgbClr val="505050"/>
                    </a:gs>
                    <a:gs pos="30000">
                      <a:srgbClr val="505050"/>
                    </a:gs>
                  </a:gsLst>
                  <a:lin ang="5400000" scaled="0"/>
                </a:gradFill>
                <a:latin typeface="Segoe UI"/>
              </a:rPr>
              <a:t>Lacks multi-author editing/auditing features</a:t>
            </a:r>
          </a:p>
          <a:p>
            <a:pPr marL="699065" lvl="1" indent="-233022"/>
            <a:r>
              <a:rPr lang="en-US" sz="1800" dirty="0">
                <a:gradFill>
                  <a:gsLst>
                    <a:gs pos="2917">
                      <a:srgbClr val="505050"/>
                    </a:gs>
                    <a:gs pos="30000">
                      <a:srgbClr val="505050"/>
                    </a:gs>
                  </a:gsLst>
                  <a:lin ang="5400000" scaled="0"/>
                </a:gradFill>
                <a:latin typeface="Segoe UI"/>
              </a:rPr>
              <a:t>Lacks parameter editing post-authoring</a:t>
            </a:r>
          </a:p>
        </p:txBody>
      </p:sp>
      <p:pic>
        <p:nvPicPr>
          <p:cNvPr id="7" name="Graphic 6">
            <a:extLst>
              <a:ext uri="{FF2B5EF4-FFF2-40B4-BE49-F238E27FC236}">
                <a16:creationId xmlns:a16="http://schemas.microsoft.com/office/drawing/2014/main" id="{66CE50B9-0EB0-A611-6485-84B4B996A7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82040" y="1808559"/>
            <a:ext cx="3528102" cy="4032114"/>
          </a:xfrm>
          <a:prstGeom prst="rect">
            <a:avLst/>
          </a:prstGeom>
        </p:spPr>
      </p:pic>
    </p:spTree>
    <p:extLst>
      <p:ext uri="{BB962C8B-B14F-4D97-AF65-F5344CB8AC3E}">
        <p14:creationId xmlns:p14="http://schemas.microsoft.com/office/powerpoint/2010/main" val="40047433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rid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Show more details</a:t>
            </a:r>
          </a:p>
          <a:p>
            <a:r>
              <a:rPr lang="en-US"/>
              <a:t>Table and Matrix </a:t>
            </a:r>
          </a:p>
          <a:p>
            <a:r>
              <a:rPr lang="en-US"/>
              <a:t>Add conditional formatting for easier consumption</a:t>
            </a:r>
          </a:p>
        </p:txBody>
      </p:sp>
      <p:pic>
        <p:nvPicPr>
          <p:cNvPr id="575494" name="Picture 6">
            <a:extLst>
              <a:ext uri="{FF2B5EF4-FFF2-40B4-BE49-F238E27FC236}">
                <a16:creationId xmlns:a16="http://schemas.microsoft.com/office/drawing/2014/main" id="{6ED6401E-38D9-4F80-B4E6-E9E2075FAE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3422015"/>
            <a:ext cx="6480000" cy="240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4396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75494"/>
                                        </p:tgtEl>
                                        <p:attrNameLst>
                                          <p:attrName>style.visibility</p:attrName>
                                        </p:attrNameLst>
                                      </p:cBhvr>
                                      <p:to>
                                        <p:strVal val="visible"/>
                                      </p:to>
                                    </p:set>
                                    <p:anim calcmode="lin" valueType="num">
                                      <p:cBhvr additive="base">
                                        <p:cTn id="15" dur="500" fill="hold"/>
                                        <p:tgtEl>
                                          <p:spTgt spid="575494"/>
                                        </p:tgtEl>
                                        <p:attrNameLst>
                                          <p:attrName>ppt_x</p:attrName>
                                        </p:attrNameLst>
                                      </p:cBhvr>
                                      <p:tavLst>
                                        <p:tav tm="0">
                                          <p:val>
                                            <p:strVal val="#ppt_x"/>
                                          </p:val>
                                        </p:tav>
                                        <p:tav tm="100000">
                                          <p:val>
                                            <p:strVal val="#ppt_x"/>
                                          </p:val>
                                        </p:tav>
                                      </p:tavLst>
                                    </p:anim>
                                    <p:anim calcmode="lin" valueType="num">
                                      <p:cBhvr additive="base">
                                        <p:cTn id="16" dur="500" fill="hold"/>
                                        <p:tgtEl>
                                          <p:spTgt spid="5754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Performance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Comparison to target</a:t>
            </a:r>
          </a:p>
          <a:p>
            <a:r>
              <a:rPr lang="en-US"/>
              <a:t>Gauge, KPI, Table/Matrix with conditional formatting</a:t>
            </a:r>
          </a:p>
        </p:txBody>
      </p:sp>
      <p:pic>
        <p:nvPicPr>
          <p:cNvPr id="584708" name="Picture 4">
            <a:extLst>
              <a:ext uri="{FF2B5EF4-FFF2-40B4-BE49-F238E27FC236}">
                <a16:creationId xmlns:a16="http://schemas.microsoft.com/office/drawing/2014/main" id="{7E9EB0E5-5DFA-4FFF-882B-FAAC1B289A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237" y="3423600"/>
            <a:ext cx="4320000" cy="1481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729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84708"/>
                                        </p:tgtEl>
                                        <p:attrNameLst>
                                          <p:attrName>style.visibility</p:attrName>
                                        </p:attrNameLst>
                                      </p:cBhvr>
                                      <p:to>
                                        <p:strVal val="visible"/>
                                      </p:to>
                                    </p:set>
                                    <p:anim calcmode="lin" valueType="num">
                                      <p:cBhvr additive="base">
                                        <p:cTn id="11" dur="500" fill="hold"/>
                                        <p:tgtEl>
                                          <p:spTgt spid="584708"/>
                                        </p:tgtEl>
                                        <p:attrNameLst>
                                          <p:attrName>ppt_x</p:attrName>
                                        </p:attrNameLst>
                                      </p:cBhvr>
                                      <p:tavLst>
                                        <p:tav tm="0">
                                          <p:val>
                                            <p:strVal val="#ppt_x"/>
                                          </p:val>
                                        </p:tav>
                                        <p:tav tm="100000">
                                          <p:val>
                                            <p:strVal val="#ppt_x"/>
                                          </p:val>
                                        </p:tav>
                                      </p:tavLst>
                                    </p:anim>
                                    <p:anim calcmode="lin" valueType="num">
                                      <p:cBhvr additive="base">
                                        <p:cTn id="12" dur="500" fill="hold"/>
                                        <p:tgtEl>
                                          <p:spTgt spid="5847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Geospatial Visuals </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Data on a map</a:t>
            </a:r>
          </a:p>
          <a:p>
            <a:r>
              <a:rPr lang="en-US"/>
              <a:t>Can take up lot of space, consider categorical visual instead</a:t>
            </a:r>
          </a:p>
        </p:txBody>
      </p:sp>
      <p:pic>
        <p:nvPicPr>
          <p:cNvPr id="583684" name="Picture 4">
            <a:extLst>
              <a:ext uri="{FF2B5EF4-FFF2-40B4-BE49-F238E27FC236}">
                <a16:creationId xmlns:a16="http://schemas.microsoft.com/office/drawing/2014/main" id="{99D1EADD-AF7A-42C0-8DD8-C300FE2BAD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p:blipFill>
        <p:spPr bwMode="auto">
          <a:xfrm>
            <a:off x="1301120" y="3423600"/>
            <a:ext cx="4917118" cy="31793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251348-956F-46F8-A60F-BB6CF35C6795}"/>
              </a:ext>
            </a:extLst>
          </p:cNvPr>
          <p:cNvSpPr txBox="1"/>
          <p:nvPr/>
        </p:nvSpPr>
        <p:spPr>
          <a:xfrm>
            <a:off x="1301119" y="3024056"/>
            <a:ext cx="9834237" cy="307777"/>
          </a:xfrm>
          <a:prstGeom prst="rect">
            <a:avLst/>
          </a:prstGeom>
          <a:noFill/>
        </p:spPr>
        <p:txBody>
          <a:bodyPr wrap="square" lIns="0" tIns="0" rIns="0" bIns="0" rtlCol="0">
            <a:spAutoFit/>
          </a:bodyPr>
          <a:lstStyle/>
          <a:p>
            <a:pPr algn="ctr" defTabSz="932649">
              <a:defRPr/>
            </a:pPr>
            <a:r>
              <a:rPr lang="en-US" sz="2000" i="1">
                <a:solidFill>
                  <a:srgbClr val="000000"/>
                </a:solidFill>
                <a:latin typeface="Segoe UI"/>
              </a:rPr>
              <a:t>Sales are by city</a:t>
            </a:r>
          </a:p>
        </p:txBody>
      </p:sp>
      <p:pic>
        <p:nvPicPr>
          <p:cNvPr id="4" name="Picture 4">
            <a:extLst>
              <a:ext uri="{FF2B5EF4-FFF2-40B4-BE49-F238E27FC236}">
                <a16:creationId xmlns:a16="http://schemas.microsoft.com/office/drawing/2014/main" id="{0B17E4E7-4418-4B8C-A177-64B3D59F72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a:stretch/>
        </p:blipFill>
        <p:spPr bwMode="auto">
          <a:xfrm>
            <a:off x="6215647" y="3426924"/>
            <a:ext cx="4917118" cy="317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44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583684"/>
                                        </p:tgtEl>
                                        <p:attrNameLst>
                                          <p:attrName>style.visibility</p:attrName>
                                        </p:attrNameLst>
                                      </p:cBhvr>
                                      <p:to>
                                        <p:strVal val="visible"/>
                                      </p:to>
                                    </p:set>
                                    <p:anim calcmode="lin" valueType="num">
                                      <p:cBhvr additive="base">
                                        <p:cTn id="15" dur="500" fill="hold"/>
                                        <p:tgtEl>
                                          <p:spTgt spid="583684"/>
                                        </p:tgtEl>
                                        <p:attrNameLst>
                                          <p:attrName>ppt_x</p:attrName>
                                        </p:attrNameLst>
                                      </p:cBhvr>
                                      <p:tavLst>
                                        <p:tav tm="0">
                                          <p:val>
                                            <p:strVal val="#ppt_x"/>
                                          </p:val>
                                        </p:tav>
                                        <p:tav tm="100000">
                                          <p:val>
                                            <p:strVal val="#ppt_x"/>
                                          </p:val>
                                        </p:tav>
                                      </p:tavLst>
                                    </p:anim>
                                    <p:anim calcmode="lin" valueType="num">
                                      <p:cBhvr additive="base">
                                        <p:cTn id="16" dur="500" fill="hold"/>
                                        <p:tgtEl>
                                          <p:spTgt spid="58368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1858220"/>
          </a:xfrm>
        </p:spPr>
        <p:txBody>
          <a:bodyPr/>
          <a:lstStyle/>
          <a:p>
            <a:r>
              <a:rPr lang="en-US"/>
              <a:t>Filter on</a:t>
            </a:r>
          </a:p>
          <a:p>
            <a:pPr lvl="1"/>
            <a:r>
              <a:rPr lang="en-US"/>
              <a:t>All pages</a:t>
            </a:r>
          </a:p>
          <a:p>
            <a:pPr lvl="1"/>
            <a:r>
              <a:rPr lang="en-US"/>
              <a:t>This page</a:t>
            </a:r>
          </a:p>
          <a:p>
            <a:pPr lvl="1"/>
            <a:r>
              <a:rPr lang="en-US"/>
              <a:t>This visual</a:t>
            </a:r>
          </a:p>
        </p:txBody>
      </p:sp>
      <p:pic>
        <p:nvPicPr>
          <p:cNvPr id="11" name="Picture 10">
            <a:extLst>
              <a:ext uri="{FF2B5EF4-FFF2-40B4-BE49-F238E27FC236}">
                <a16:creationId xmlns:a16="http://schemas.microsoft.com/office/drawing/2014/main" id="{108F1824-C829-44E3-907D-5B410C571E03}"/>
              </a:ext>
            </a:extLst>
          </p:cNvPr>
          <p:cNvPicPr>
            <a:picLocks noChangeAspect="1"/>
          </p:cNvPicPr>
          <p:nvPr/>
        </p:nvPicPr>
        <p:blipFill>
          <a:blip r:embed="rId2"/>
          <a:stretch>
            <a:fillRect/>
          </a:stretch>
        </p:blipFill>
        <p:spPr>
          <a:xfrm>
            <a:off x="5279221" y="1501751"/>
            <a:ext cx="1876447" cy="3991022"/>
          </a:xfrm>
          <a:prstGeom prst="rect">
            <a:avLst/>
          </a:prstGeom>
        </p:spPr>
      </p:pic>
      <p:sp>
        <p:nvSpPr>
          <p:cNvPr id="9" name="Rectangle 8">
            <a:extLst>
              <a:ext uri="{FF2B5EF4-FFF2-40B4-BE49-F238E27FC236}">
                <a16:creationId xmlns:a16="http://schemas.microsoft.com/office/drawing/2014/main" id="{3C94577D-EB7F-4F22-B181-49B535B6CC2E}"/>
              </a:ext>
            </a:extLst>
          </p:cNvPr>
          <p:cNvSpPr/>
          <p:nvPr/>
        </p:nvSpPr>
        <p:spPr bwMode="auto">
          <a:xfrm>
            <a:off x="5292867" y="2306523"/>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FC8A1EE2-7477-4B36-8189-7B27FACE9B34}"/>
              </a:ext>
            </a:extLst>
          </p:cNvPr>
          <p:cNvSpPr/>
          <p:nvPr/>
        </p:nvSpPr>
        <p:spPr bwMode="auto">
          <a:xfrm>
            <a:off x="5279221" y="3725488"/>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EF582DA9-D2C4-4576-B05B-BCA2A664C9AB}"/>
              </a:ext>
            </a:extLst>
          </p:cNvPr>
          <p:cNvSpPr/>
          <p:nvPr/>
        </p:nvSpPr>
        <p:spPr bwMode="auto">
          <a:xfrm>
            <a:off x="5279221" y="4656892"/>
            <a:ext cx="1803622"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85053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animBg="1"/>
      <p:bldP spid="8" grpId="0" animBg="1"/>
    </p:bld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912926"/>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p:txBody>
      </p:sp>
      <p:pic>
        <p:nvPicPr>
          <p:cNvPr id="5" name="Picture 4">
            <a:extLst>
              <a:ext uri="{FF2B5EF4-FFF2-40B4-BE49-F238E27FC236}">
                <a16:creationId xmlns:a16="http://schemas.microsoft.com/office/drawing/2014/main" id="{C928317D-284A-485F-B944-C90C6C35BF79}"/>
              </a:ext>
            </a:extLst>
          </p:cNvPr>
          <p:cNvPicPr>
            <a:picLocks noChangeAspect="1"/>
          </p:cNvPicPr>
          <p:nvPr/>
        </p:nvPicPr>
        <p:blipFill>
          <a:blip r:embed="rId2"/>
          <a:stretch>
            <a:fillRect/>
          </a:stretch>
        </p:blipFill>
        <p:spPr>
          <a:xfrm>
            <a:off x="5317321" y="2178035"/>
            <a:ext cx="1800246" cy="2638456"/>
          </a:xfrm>
          <a:prstGeom prst="rect">
            <a:avLst/>
          </a:prstGeom>
        </p:spPr>
      </p:pic>
    </p:spTree>
    <p:extLst>
      <p:ext uri="{BB962C8B-B14F-4D97-AF65-F5344CB8AC3E}">
        <p14:creationId xmlns:p14="http://schemas.microsoft.com/office/powerpoint/2010/main" val="2443659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36491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p:txBody>
      </p:sp>
      <p:pic>
        <p:nvPicPr>
          <p:cNvPr id="6" name="Picture 5">
            <a:extLst>
              <a:ext uri="{FF2B5EF4-FFF2-40B4-BE49-F238E27FC236}">
                <a16:creationId xmlns:a16="http://schemas.microsoft.com/office/drawing/2014/main" id="{9506CE52-1743-4F9A-B0B2-72C04161AB1A}"/>
              </a:ext>
            </a:extLst>
          </p:cNvPr>
          <p:cNvPicPr>
            <a:picLocks noChangeAspect="1"/>
          </p:cNvPicPr>
          <p:nvPr/>
        </p:nvPicPr>
        <p:blipFill>
          <a:blip r:embed="rId2"/>
          <a:stretch>
            <a:fillRect/>
          </a:stretch>
        </p:blipFill>
        <p:spPr>
          <a:xfrm>
            <a:off x="5283983" y="545613"/>
            <a:ext cx="1866923" cy="3829095"/>
          </a:xfrm>
          <a:prstGeom prst="rect">
            <a:avLst/>
          </a:prstGeom>
        </p:spPr>
      </p:pic>
    </p:spTree>
    <p:extLst>
      <p:ext uri="{BB962C8B-B14F-4D97-AF65-F5344CB8AC3E}">
        <p14:creationId xmlns:p14="http://schemas.microsoft.com/office/powerpoint/2010/main" val="4250888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3"/>
            <a:ext cx="11238029" cy="3816905"/>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p:txBody>
      </p:sp>
      <p:pic>
        <p:nvPicPr>
          <p:cNvPr id="6" name="Picture 5">
            <a:extLst>
              <a:ext uri="{FF2B5EF4-FFF2-40B4-BE49-F238E27FC236}">
                <a16:creationId xmlns:a16="http://schemas.microsoft.com/office/drawing/2014/main" id="{4CC3AEE4-8FB6-46AA-87AB-A198FEAA201B}"/>
              </a:ext>
            </a:extLst>
          </p:cNvPr>
          <p:cNvPicPr>
            <a:picLocks noChangeAspect="1"/>
          </p:cNvPicPr>
          <p:nvPr/>
        </p:nvPicPr>
        <p:blipFill>
          <a:blip r:embed="rId2"/>
          <a:stretch>
            <a:fillRect/>
          </a:stretch>
        </p:blipFill>
        <p:spPr>
          <a:xfrm>
            <a:off x="5317321" y="2109259"/>
            <a:ext cx="1800246" cy="2257452"/>
          </a:xfrm>
          <a:prstGeom prst="rect">
            <a:avLst/>
          </a:prstGeom>
        </p:spPr>
      </p:pic>
    </p:spTree>
    <p:extLst>
      <p:ext uri="{BB962C8B-B14F-4D97-AF65-F5344CB8AC3E}">
        <p14:creationId xmlns:p14="http://schemas.microsoft.com/office/powerpoint/2010/main" val="2814063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268894"/>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p:txBody>
      </p:sp>
      <p:pic>
        <p:nvPicPr>
          <p:cNvPr id="5" name="Picture 4">
            <a:extLst>
              <a:ext uri="{FF2B5EF4-FFF2-40B4-BE49-F238E27FC236}">
                <a16:creationId xmlns:a16="http://schemas.microsoft.com/office/drawing/2014/main" id="{AF327597-13F9-44BB-9469-1A20FE4461B8}"/>
              </a:ext>
            </a:extLst>
          </p:cNvPr>
          <p:cNvPicPr>
            <a:picLocks noChangeAspect="1"/>
          </p:cNvPicPr>
          <p:nvPr/>
        </p:nvPicPr>
        <p:blipFill>
          <a:blip r:embed="rId2"/>
          <a:stretch>
            <a:fillRect/>
          </a:stretch>
        </p:blipFill>
        <p:spPr>
          <a:xfrm>
            <a:off x="5317321" y="2139934"/>
            <a:ext cx="1800246" cy="2714657"/>
          </a:xfrm>
          <a:prstGeom prst="rect">
            <a:avLst/>
          </a:prstGeom>
        </p:spPr>
      </p:pic>
    </p:spTree>
    <p:extLst>
      <p:ext uri="{BB962C8B-B14F-4D97-AF65-F5344CB8AC3E}">
        <p14:creationId xmlns:p14="http://schemas.microsoft.com/office/powerpoint/2010/main" val="374669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Filter Pane</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4871609"/>
          </a:xfrm>
        </p:spPr>
        <p:txBody>
          <a:bodyPr/>
          <a:lstStyle/>
          <a:p>
            <a:r>
              <a:rPr lang="en-US"/>
              <a:t>Filter on</a:t>
            </a:r>
          </a:p>
          <a:p>
            <a:pPr lvl="1"/>
            <a:r>
              <a:rPr lang="en-US"/>
              <a:t>All pages</a:t>
            </a:r>
          </a:p>
          <a:p>
            <a:pPr lvl="1"/>
            <a:r>
              <a:rPr lang="en-US"/>
              <a:t>This page</a:t>
            </a:r>
          </a:p>
          <a:p>
            <a:pPr lvl="1"/>
            <a:r>
              <a:rPr lang="en-US"/>
              <a:t>This visual</a:t>
            </a:r>
          </a:p>
          <a:p>
            <a:r>
              <a:rPr lang="en-US"/>
              <a:t>Types of filters</a:t>
            </a:r>
          </a:p>
          <a:p>
            <a:pPr lvl="1"/>
            <a:r>
              <a:rPr lang="en-US"/>
              <a:t>Basic (select item(s) from list)</a:t>
            </a:r>
          </a:p>
          <a:p>
            <a:pPr lvl="1"/>
            <a:r>
              <a:rPr lang="en-US"/>
              <a:t>Advanced (text, numeric or data field operators, combine with AND/OR)</a:t>
            </a:r>
          </a:p>
          <a:p>
            <a:pPr lvl="1"/>
            <a:r>
              <a:rPr lang="en-US"/>
              <a:t>Top N (only visual-level filter)</a:t>
            </a:r>
          </a:p>
          <a:p>
            <a:pPr lvl="1"/>
            <a:r>
              <a:rPr lang="en-US"/>
              <a:t>Relative date and Relative time</a:t>
            </a:r>
          </a:p>
          <a:p>
            <a:r>
              <a:rPr lang="en-US"/>
              <a:t>Filters can be hidden/visible, locked/unlocked</a:t>
            </a:r>
          </a:p>
        </p:txBody>
      </p:sp>
      <p:pic>
        <p:nvPicPr>
          <p:cNvPr id="16" name="Picture 15">
            <a:extLst>
              <a:ext uri="{FF2B5EF4-FFF2-40B4-BE49-F238E27FC236}">
                <a16:creationId xmlns:a16="http://schemas.microsoft.com/office/drawing/2014/main" id="{4F11C980-75AB-4163-9BC7-E79D6A40204E}"/>
              </a:ext>
            </a:extLst>
          </p:cNvPr>
          <p:cNvPicPr>
            <a:picLocks noChangeAspect="1"/>
          </p:cNvPicPr>
          <p:nvPr/>
        </p:nvPicPr>
        <p:blipFill>
          <a:blip r:embed="rId2"/>
          <a:stretch>
            <a:fillRect/>
          </a:stretch>
        </p:blipFill>
        <p:spPr>
          <a:xfrm>
            <a:off x="5264933" y="1487464"/>
            <a:ext cx="1905023" cy="4019598"/>
          </a:xfrm>
          <a:prstGeom prst="rect">
            <a:avLst/>
          </a:prstGeom>
        </p:spPr>
      </p:pic>
      <p:sp>
        <p:nvSpPr>
          <p:cNvPr id="10" name="Rectangle 9">
            <a:extLst>
              <a:ext uri="{FF2B5EF4-FFF2-40B4-BE49-F238E27FC236}">
                <a16:creationId xmlns:a16="http://schemas.microsoft.com/office/drawing/2014/main" id="{F63EA889-EF47-422B-AD4B-2E0D7F0D60F0}"/>
              </a:ext>
            </a:extLst>
          </p:cNvPr>
          <p:cNvSpPr/>
          <p:nvPr/>
        </p:nvSpPr>
        <p:spPr bwMode="auto">
          <a:xfrm>
            <a:off x="6555836" y="1446931"/>
            <a:ext cx="322686" cy="300587"/>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F20387D-F915-4BB6-B97C-A80CA3C878AD}"/>
              </a:ext>
            </a:extLst>
          </p:cNvPr>
          <p:cNvSpPr/>
          <p:nvPr/>
        </p:nvSpPr>
        <p:spPr bwMode="auto">
          <a:xfrm>
            <a:off x="6789732" y="2613936"/>
            <a:ext cx="225440" cy="427918"/>
          </a:xfrm>
          <a:prstGeom prst="rect">
            <a:avLst/>
          </a:prstGeom>
          <a:noFill/>
          <a:ln w="38100">
            <a:solidFill>
              <a:srgbClr val="A5152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DK"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30017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2310402"/>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p:txBody>
      </p:sp>
      <p:pic>
        <p:nvPicPr>
          <p:cNvPr id="6" name="Picture 5">
            <a:extLst>
              <a:ext uri="{FF2B5EF4-FFF2-40B4-BE49-F238E27FC236}">
                <a16:creationId xmlns:a16="http://schemas.microsoft.com/office/drawing/2014/main" id="{CD153005-E541-4CF8-921F-F6A3C040B00E}"/>
              </a:ext>
            </a:extLst>
          </p:cNvPr>
          <p:cNvPicPr>
            <a:picLocks noChangeAspect="1"/>
          </p:cNvPicPr>
          <p:nvPr/>
        </p:nvPicPr>
        <p:blipFill>
          <a:blip r:embed="rId2"/>
          <a:stretch>
            <a:fillRect/>
          </a:stretch>
        </p:blipFill>
        <p:spPr>
          <a:xfrm>
            <a:off x="4507687" y="3853590"/>
            <a:ext cx="3419515" cy="1552594"/>
          </a:xfrm>
          <a:prstGeom prst="rect">
            <a:avLst/>
          </a:prstGeom>
        </p:spPr>
      </p:pic>
    </p:spTree>
    <p:extLst>
      <p:ext uri="{BB962C8B-B14F-4D97-AF65-F5344CB8AC3E}">
        <p14:creationId xmlns:p14="http://schemas.microsoft.com/office/powerpoint/2010/main" val="3585386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Graphic 59" descr="Database outline">
            <a:extLst>
              <a:ext uri="{FF2B5EF4-FFF2-40B4-BE49-F238E27FC236}">
                <a16:creationId xmlns:a16="http://schemas.microsoft.com/office/drawing/2014/main" id="{773A50FC-1B9A-E986-C9EA-5667BF760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61285" y="2592245"/>
            <a:ext cx="1638245" cy="1638245"/>
          </a:xfrm>
          <a:prstGeom prst="rect">
            <a:avLst/>
          </a:prstGeom>
        </p:spPr>
      </p:pic>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Computed Tables</a:t>
            </a:r>
          </a:p>
        </p:txBody>
      </p:sp>
      <p:sp>
        <p:nvSpPr>
          <p:cNvPr id="4" name="TextBox 3">
            <a:extLst>
              <a:ext uri="{FF2B5EF4-FFF2-40B4-BE49-F238E27FC236}">
                <a16:creationId xmlns:a16="http://schemas.microsoft.com/office/drawing/2014/main" id="{D4917F3F-DCCF-4C8F-B2BF-8DFC2DD1037A}"/>
              </a:ext>
            </a:extLst>
          </p:cNvPr>
          <p:cNvSpPr txBox="1"/>
          <p:nvPr/>
        </p:nvSpPr>
        <p:spPr>
          <a:xfrm>
            <a:off x="374185" y="2318425"/>
            <a:ext cx="2929036" cy="2769989"/>
          </a:xfrm>
          <a:prstGeom prst="rect">
            <a:avLst/>
          </a:prstGeom>
          <a:noFill/>
        </p:spPr>
        <p:txBody>
          <a:bodyPr wrap="square" lIns="0" tIns="0" rIns="0" bIns="0" rtlCol="0" anchor="t">
            <a:spAutoFit/>
          </a:bodyPr>
          <a:lstStyle/>
          <a:p>
            <a:r>
              <a:rPr lang="en-US" sz="1400" dirty="0">
                <a:solidFill>
                  <a:srgbClr val="171717"/>
                </a:solidFill>
                <a:latin typeface="Segoe UI"/>
                <a:cs typeface="Segoe UI"/>
              </a:rPr>
              <a:t>The enhanced compute engine in Power BI enables Power BI Premium subscribers to use their capacity to optimize the use of dataflows. </a:t>
            </a:r>
          </a:p>
          <a:p>
            <a:endParaRPr lang="en-US" sz="1200" dirty="0">
              <a:solidFill>
                <a:srgbClr val="171717"/>
              </a:solidFill>
              <a:latin typeface="Segoe UI"/>
              <a:cs typeface="Segoe UI"/>
            </a:endParaRPr>
          </a:p>
          <a:p>
            <a:pPr marL="228600" indent="-228600">
              <a:buFont typeface="+mj-lt"/>
              <a:buAutoNum type="arabicPeriod"/>
            </a:pPr>
            <a:r>
              <a:rPr lang="en-US" sz="1400" dirty="0">
                <a:gradFill>
                  <a:gsLst>
                    <a:gs pos="2917">
                      <a:srgbClr val="505050"/>
                    </a:gs>
                    <a:gs pos="30000">
                      <a:srgbClr val="505050"/>
                    </a:gs>
                  </a:gsLst>
                  <a:lin ang="5400000" scaled="0"/>
                </a:gradFill>
                <a:latin typeface="Segoe UI"/>
              </a:rPr>
              <a:t>Connect to your data and create a reference query to use the lake storage.</a:t>
            </a:r>
          </a:p>
          <a:p>
            <a:pPr marL="228600" indent="-228600">
              <a:buFont typeface="+mj-lt"/>
              <a:buAutoNum type="arabicPeriod"/>
            </a:pPr>
            <a:endParaRPr lang="en-US" sz="1400" dirty="0">
              <a:gradFill>
                <a:gsLst>
                  <a:gs pos="2917">
                    <a:srgbClr val="505050"/>
                  </a:gs>
                  <a:gs pos="30000">
                    <a:srgbClr val="505050"/>
                  </a:gs>
                </a:gsLst>
                <a:lin ang="5400000" scaled="0"/>
              </a:gradFill>
              <a:latin typeface="Segoe UI"/>
            </a:endParaRPr>
          </a:p>
          <a:p>
            <a:pPr marL="228600" indent="-228600">
              <a:buFont typeface="+mj-lt"/>
              <a:buAutoNum type="arabicPeriod"/>
            </a:pPr>
            <a:r>
              <a:rPr lang="en-US" sz="1400" dirty="0">
                <a:gradFill>
                  <a:gsLst>
                    <a:gs pos="2917">
                      <a:srgbClr val="505050"/>
                    </a:gs>
                    <a:gs pos="30000">
                      <a:srgbClr val="505050"/>
                    </a:gs>
                  </a:gsLst>
                  <a:lin ang="5400000" scaled="0"/>
                </a:gradFill>
                <a:latin typeface="Segoe UI"/>
              </a:rPr>
              <a:t>Apply transformation steps to the computed table for complex ETL operations such as joins, </a:t>
            </a:r>
            <a:r>
              <a:rPr lang="en-US" sz="1400" dirty="0" err="1">
                <a:gradFill>
                  <a:gsLst>
                    <a:gs pos="2917">
                      <a:srgbClr val="505050"/>
                    </a:gs>
                    <a:gs pos="30000">
                      <a:srgbClr val="505050"/>
                    </a:gs>
                  </a:gsLst>
                  <a:lin ang="5400000" scaled="0"/>
                </a:gradFill>
                <a:latin typeface="Segoe UI"/>
              </a:rPr>
              <a:t>distincts</a:t>
            </a:r>
            <a:r>
              <a:rPr lang="en-US" sz="1400" dirty="0">
                <a:gradFill>
                  <a:gsLst>
                    <a:gs pos="2917">
                      <a:srgbClr val="505050"/>
                    </a:gs>
                    <a:gs pos="30000">
                      <a:srgbClr val="505050"/>
                    </a:gs>
                  </a:gsLst>
                  <a:lin ang="5400000" scaled="0"/>
                </a:gradFill>
                <a:latin typeface="Segoe UI"/>
              </a:rPr>
              <a:t>, filters and group </a:t>
            </a:r>
            <a:r>
              <a:rPr lang="en-US" sz="1400" dirty="0" err="1">
                <a:gradFill>
                  <a:gsLst>
                    <a:gs pos="2917">
                      <a:srgbClr val="505050"/>
                    </a:gs>
                    <a:gs pos="30000">
                      <a:srgbClr val="505050"/>
                    </a:gs>
                  </a:gsLst>
                  <a:lin ang="5400000" scaled="0"/>
                </a:gradFill>
                <a:latin typeface="Segoe UI"/>
              </a:rPr>
              <a:t>bys</a:t>
            </a:r>
            <a:r>
              <a:rPr lang="en-US" sz="1400" dirty="0">
                <a:gradFill>
                  <a:gsLst>
                    <a:gs pos="2917">
                      <a:srgbClr val="505050"/>
                    </a:gs>
                    <a:gs pos="30000">
                      <a:srgbClr val="505050"/>
                    </a:gs>
                  </a:gsLst>
                  <a:lin ang="5400000" scaled="0"/>
                </a:gradFill>
                <a:latin typeface="Segoe UI"/>
              </a:rPr>
              <a:t>.</a:t>
            </a:r>
          </a:p>
        </p:txBody>
      </p:sp>
      <p:pic>
        <p:nvPicPr>
          <p:cNvPr id="16" name="Graphic 15" descr="Database outline">
            <a:extLst>
              <a:ext uri="{FF2B5EF4-FFF2-40B4-BE49-F238E27FC236}">
                <a16:creationId xmlns:a16="http://schemas.microsoft.com/office/drawing/2014/main" id="{1E6952E8-DE27-5791-99CA-4358D3D071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8740" y="4836237"/>
            <a:ext cx="1220152" cy="1220152"/>
          </a:xfrm>
          <a:prstGeom prst="rect">
            <a:avLst/>
          </a:prstGeom>
        </p:spPr>
      </p:pic>
      <p:grpSp>
        <p:nvGrpSpPr>
          <p:cNvPr id="29" name="Group 28">
            <a:extLst>
              <a:ext uri="{FF2B5EF4-FFF2-40B4-BE49-F238E27FC236}">
                <a16:creationId xmlns:a16="http://schemas.microsoft.com/office/drawing/2014/main" id="{A1B0A015-0EFC-647F-840D-96CA97BA38B1}"/>
              </a:ext>
            </a:extLst>
          </p:cNvPr>
          <p:cNvGrpSpPr/>
          <p:nvPr/>
        </p:nvGrpSpPr>
        <p:grpSpPr>
          <a:xfrm>
            <a:off x="3588149" y="3477132"/>
            <a:ext cx="914400" cy="1205506"/>
            <a:chOff x="3617222" y="5150050"/>
            <a:chExt cx="914400" cy="1205506"/>
          </a:xfrm>
        </p:grpSpPr>
        <p:pic>
          <p:nvPicPr>
            <p:cNvPr id="13" name="Graphic 12" descr="Open folder outline">
              <a:extLst>
                <a:ext uri="{FF2B5EF4-FFF2-40B4-BE49-F238E27FC236}">
                  <a16:creationId xmlns:a16="http://schemas.microsoft.com/office/drawing/2014/main" id="{54E61980-228D-7894-3958-08650C6FD8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17222" y="5150050"/>
              <a:ext cx="914400" cy="914400"/>
            </a:xfrm>
            <a:prstGeom prst="rect">
              <a:avLst/>
            </a:prstGeom>
          </p:spPr>
        </p:pic>
        <p:pic>
          <p:nvPicPr>
            <p:cNvPr id="15" name="Graphic 14" descr="Document outline">
              <a:extLst>
                <a:ext uri="{FF2B5EF4-FFF2-40B4-BE49-F238E27FC236}">
                  <a16:creationId xmlns:a16="http://schemas.microsoft.com/office/drawing/2014/main" id="{0FEAB499-D54C-F5F7-FAE8-21472AD933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7222" y="5894252"/>
              <a:ext cx="461304" cy="461304"/>
            </a:xfrm>
            <a:prstGeom prst="rect">
              <a:avLst/>
            </a:prstGeom>
          </p:spPr>
        </p:pic>
        <p:pic>
          <p:nvPicPr>
            <p:cNvPr id="17" name="Graphic 16" descr="Document outline">
              <a:extLst>
                <a:ext uri="{FF2B5EF4-FFF2-40B4-BE49-F238E27FC236}">
                  <a16:creationId xmlns:a16="http://schemas.microsoft.com/office/drawing/2014/main" id="{3BBEB372-A8C9-31D2-E159-3F19E0EB56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83485" y="5894252"/>
              <a:ext cx="461304" cy="461304"/>
            </a:xfrm>
            <a:prstGeom prst="rect">
              <a:avLst/>
            </a:prstGeom>
          </p:spPr>
        </p:pic>
      </p:grpSp>
      <p:sp>
        <p:nvSpPr>
          <p:cNvPr id="19" name="Rectangle 18">
            <a:extLst>
              <a:ext uri="{FF2B5EF4-FFF2-40B4-BE49-F238E27FC236}">
                <a16:creationId xmlns:a16="http://schemas.microsoft.com/office/drawing/2014/main" id="{C9E4195A-C6CD-3E76-EE13-C54500180E68}"/>
              </a:ext>
            </a:extLst>
          </p:cNvPr>
          <p:cNvSpPr/>
          <p:nvPr/>
        </p:nvSpPr>
        <p:spPr bwMode="auto">
          <a:xfrm>
            <a:off x="5737792" y="2372751"/>
            <a:ext cx="5687128" cy="3555609"/>
          </a:xfrm>
          <a:prstGeom prst="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31" name="Straight Arrow Connector 30">
            <a:extLst>
              <a:ext uri="{FF2B5EF4-FFF2-40B4-BE49-F238E27FC236}">
                <a16:creationId xmlns:a16="http://schemas.microsoft.com/office/drawing/2014/main" id="{5398892E-3E61-156B-1211-00B5B6034393}"/>
              </a:ext>
            </a:extLst>
          </p:cNvPr>
          <p:cNvCxnSpPr>
            <a:cxnSpLocks/>
          </p:cNvCxnSpPr>
          <p:nvPr/>
        </p:nvCxnSpPr>
        <p:spPr>
          <a:xfrm>
            <a:off x="4618892" y="2909723"/>
            <a:ext cx="1012874"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276025C-24CB-287C-FF1E-4E1944DFA491}"/>
              </a:ext>
            </a:extLst>
          </p:cNvPr>
          <p:cNvCxnSpPr>
            <a:cxnSpLocks/>
          </p:cNvCxnSpPr>
          <p:nvPr/>
        </p:nvCxnSpPr>
        <p:spPr>
          <a:xfrm>
            <a:off x="4502549" y="5479194"/>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700C7F-CDCE-F30C-3880-AD7B5A2F1668}"/>
              </a:ext>
            </a:extLst>
          </p:cNvPr>
          <p:cNvCxnSpPr>
            <a:cxnSpLocks/>
          </p:cNvCxnSpPr>
          <p:nvPr/>
        </p:nvCxnSpPr>
        <p:spPr>
          <a:xfrm>
            <a:off x="4502549" y="4130031"/>
            <a:ext cx="1167618" cy="0"/>
          </a:xfrm>
          <a:prstGeom prst="straightConnector1">
            <a:avLst/>
          </a:prstGeom>
          <a:ln w="28575">
            <a:solidFill>
              <a:schemeClr val="tx1"/>
            </a:solidFill>
            <a:prstDash val="lgDash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78" name="TextBox 1077">
            <a:extLst>
              <a:ext uri="{FF2B5EF4-FFF2-40B4-BE49-F238E27FC236}">
                <a16:creationId xmlns:a16="http://schemas.microsoft.com/office/drawing/2014/main" id="{AF931C37-F8DF-7B0C-75F9-C112210F1DF5}"/>
              </a:ext>
            </a:extLst>
          </p:cNvPr>
          <p:cNvSpPr txBox="1"/>
          <p:nvPr/>
        </p:nvSpPr>
        <p:spPr>
          <a:xfrm>
            <a:off x="5740299" y="2139721"/>
            <a:ext cx="1726435" cy="153888"/>
          </a:xfrm>
          <a:prstGeom prst="rect">
            <a:avLst/>
          </a:prstGeom>
          <a:noFill/>
        </p:spPr>
        <p:txBody>
          <a:bodyPr wrap="none" lIns="0" tIns="0" rIns="0" bIns="0" rtlCol="0">
            <a:spAutoFit/>
          </a:bodyPr>
          <a:lstStyle/>
          <a:p>
            <a:pPr algn="l"/>
            <a:r>
              <a:rPr lang="en-US" sz="1000" dirty="0"/>
              <a:t>Azure Data Lake Gen2 Storage</a:t>
            </a:r>
          </a:p>
        </p:txBody>
      </p:sp>
      <p:pic>
        <p:nvPicPr>
          <p:cNvPr id="1080" name="Graphic 1079" descr="Cloud outline">
            <a:extLst>
              <a:ext uri="{FF2B5EF4-FFF2-40B4-BE49-F238E27FC236}">
                <a16:creationId xmlns:a16="http://schemas.microsoft.com/office/drawing/2014/main" id="{5B3D5640-0948-E72B-3C86-4EBC75F1B7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15498" y="2269845"/>
            <a:ext cx="1186862" cy="1186862"/>
          </a:xfrm>
          <a:prstGeom prst="rect">
            <a:avLst/>
          </a:prstGeom>
        </p:spPr>
      </p:pic>
      <p:sp>
        <p:nvSpPr>
          <p:cNvPr id="1093" name="TextBox 1092">
            <a:extLst>
              <a:ext uri="{FF2B5EF4-FFF2-40B4-BE49-F238E27FC236}">
                <a16:creationId xmlns:a16="http://schemas.microsoft.com/office/drawing/2014/main" id="{CB7CC441-D60D-C019-036D-23CC4F23352F}"/>
              </a:ext>
            </a:extLst>
          </p:cNvPr>
          <p:cNvSpPr txBox="1"/>
          <p:nvPr/>
        </p:nvSpPr>
        <p:spPr>
          <a:xfrm>
            <a:off x="5737794" y="6038786"/>
            <a:ext cx="2475037" cy="307777"/>
          </a:xfrm>
          <a:prstGeom prst="rect">
            <a:avLst/>
          </a:prstGeom>
          <a:noFill/>
        </p:spPr>
        <p:txBody>
          <a:bodyPr wrap="none" lIns="0" tIns="0" rIns="0" bIns="0" rtlCol="0">
            <a:spAutoFit/>
          </a:bodyPr>
          <a:lstStyle/>
          <a:p>
            <a:pPr algn="l"/>
            <a:r>
              <a:rPr lang="en-US" sz="1000" dirty="0">
                <a:solidFill>
                  <a:schemeClr val="tx1">
                    <a:lumMod val="50000"/>
                    <a:lumOff val="50000"/>
                  </a:schemeClr>
                </a:solidFill>
              </a:rPr>
              <a:t>Assigned to your Power BI tenant</a:t>
            </a:r>
          </a:p>
          <a:p>
            <a:pPr algn="l"/>
            <a:r>
              <a:rPr lang="en-US" sz="1000" dirty="0">
                <a:solidFill>
                  <a:schemeClr val="tx1">
                    <a:lumMod val="50000"/>
                    <a:lumOff val="50000"/>
                  </a:schemeClr>
                </a:solidFill>
              </a:rPr>
              <a:t>or Bring Your Own Data Lake Gen2 (BYODL)</a:t>
            </a:r>
          </a:p>
        </p:txBody>
      </p:sp>
      <p:pic>
        <p:nvPicPr>
          <p:cNvPr id="8" name="Graphic 7">
            <a:extLst>
              <a:ext uri="{FF2B5EF4-FFF2-40B4-BE49-F238E27FC236}">
                <a16:creationId xmlns:a16="http://schemas.microsoft.com/office/drawing/2014/main" id="{600F87CA-4F82-43D6-AA46-02F38CB23A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87818" y="4750717"/>
            <a:ext cx="850025" cy="850025"/>
          </a:xfrm>
          <a:prstGeom prst="rect">
            <a:avLst/>
          </a:prstGeom>
        </p:spPr>
      </p:pic>
      <p:pic>
        <p:nvPicPr>
          <p:cNvPr id="9" name="Graphic 8">
            <a:extLst>
              <a:ext uri="{FF2B5EF4-FFF2-40B4-BE49-F238E27FC236}">
                <a16:creationId xmlns:a16="http://schemas.microsoft.com/office/drawing/2014/main" id="{8F58B164-EEDE-109E-286B-B06A502EA0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54800" y="4750718"/>
            <a:ext cx="850025" cy="850025"/>
          </a:xfrm>
          <a:prstGeom prst="rect">
            <a:avLst/>
          </a:prstGeom>
        </p:spPr>
      </p:pic>
      <p:pic>
        <p:nvPicPr>
          <p:cNvPr id="10" name="Graphic 9">
            <a:extLst>
              <a:ext uri="{FF2B5EF4-FFF2-40B4-BE49-F238E27FC236}">
                <a16:creationId xmlns:a16="http://schemas.microsoft.com/office/drawing/2014/main" id="{C45F612D-E9AD-88DE-218F-755280C3319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1309" y="4750718"/>
            <a:ext cx="850025" cy="850025"/>
          </a:xfrm>
          <a:prstGeom prst="rect">
            <a:avLst/>
          </a:prstGeom>
        </p:spPr>
      </p:pic>
      <p:cxnSp>
        <p:nvCxnSpPr>
          <p:cNvPr id="12" name="Straight Connector 11">
            <a:extLst>
              <a:ext uri="{FF2B5EF4-FFF2-40B4-BE49-F238E27FC236}">
                <a16:creationId xmlns:a16="http://schemas.microsoft.com/office/drawing/2014/main" id="{C6F81F86-8BD9-A180-E5E7-269ABDF0FC0A}"/>
              </a:ext>
            </a:extLst>
          </p:cNvPr>
          <p:cNvCxnSpPr>
            <a:cxnSpLocks/>
          </p:cNvCxnSpPr>
          <p:nvPr/>
        </p:nvCxnSpPr>
        <p:spPr>
          <a:xfrm>
            <a:off x="5973980" y="4611518"/>
            <a:ext cx="51817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3834409F-E16E-200F-FE8E-2FA31D870E53}"/>
              </a:ext>
            </a:extLst>
          </p:cNvPr>
          <p:cNvGrpSpPr/>
          <p:nvPr/>
        </p:nvGrpSpPr>
        <p:grpSpPr>
          <a:xfrm>
            <a:off x="8555301" y="3529729"/>
            <a:ext cx="1018357" cy="857487"/>
            <a:chOff x="9756744" y="4814375"/>
            <a:chExt cx="1018357" cy="857487"/>
          </a:xfrm>
        </p:grpSpPr>
        <p:pic>
          <p:nvPicPr>
            <p:cNvPr id="25" name="Graphic 24">
              <a:extLst>
                <a:ext uri="{FF2B5EF4-FFF2-40B4-BE49-F238E27FC236}">
                  <a16:creationId xmlns:a16="http://schemas.microsoft.com/office/drawing/2014/main" id="{F7A16294-0E94-ED1C-C98D-502549DDC6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756744" y="4814375"/>
              <a:ext cx="850025" cy="850025"/>
            </a:xfrm>
            <a:prstGeom prst="rect">
              <a:avLst/>
            </a:prstGeom>
          </p:spPr>
        </p:pic>
        <p:pic>
          <p:nvPicPr>
            <p:cNvPr id="22" name="Graphic 21">
              <a:extLst>
                <a:ext uri="{FF2B5EF4-FFF2-40B4-BE49-F238E27FC236}">
                  <a16:creationId xmlns:a16="http://schemas.microsoft.com/office/drawing/2014/main" id="{7FEA1831-9D96-9CF7-9DE5-BEBDE62C961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27661" y="5051099"/>
              <a:ext cx="447440" cy="620763"/>
            </a:xfrm>
            <a:prstGeom prst="rect">
              <a:avLst/>
            </a:prstGeom>
          </p:spPr>
        </p:pic>
      </p:grpSp>
      <p:sp>
        <p:nvSpPr>
          <p:cNvPr id="1029" name="TextBox 1028">
            <a:extLst>
              <a:ext uri="{FF2B5EF4-FFF2-40B4-BE49-F238E27FC236}">
                <a16:creationId xmlns:a16="http://schemas.microsoft.com/office/drawing/2014/main" id="{F9804F50-EAFF-E858-A844-4BBE3ACFBF89}"/>
              </a:ext>
            </a:extLst>
          </p:cNvPr>
          <p:cNvSpPr txBox="1"/>
          <p:nvPr/>
        </p:nvSpPr>
        <p:spPr>
          <a:xfrm>
            <a:off x="5973980" y="4395375"/>
            <a:ext cx="689291" cy="153888"/>
          </a:xfrm>
          <a:prstGeom prst="rect">
            <a:avLst/>
          </a:prstGeom>
          <a:noFill/>
        </p:spPr>
        <p:txBody>
          <a:bodyPr wrap="none" lIns="0" tIns="0" rIns="0" bIns="0" rtlCol="0">
            <a:spAutoFit/>
          </a:bodyPr>
          <a:lstStyle/>
          <a:p>
            <a:pPr algn="l"/>
            <a:r>
              <a:rPr lang="en-US" sz="1000" dirty="0"/>
              <a:t>Copied data</a:t>
            </a:r>
          </a:p>
        </p:txBody>
      </p:sp>
      <p:sp>
        <p:nvSpPr>
          <p:cNvPr id="1039" name="TextBox 1038">
            <a:extLst>
              <a:ext uri="{FF2B5EF4-FFF2-40B4-BE49-F238E27FC236}">
                <a16:creationId xmlns:a16="http://schemas.microsoft.com/office/drawing/2014/main" id="{ADC40D8D-FFCA-36CD-766B-7AA8FE94303B}"/>
              </a:ext>
            </a:extLst>
          </p:cNvPr>
          <p:cNvSpPr txBox="1"/>
          <p:nvPr/>
        </p:nvSpPr>
        <p:spPr>
          <a:xfrm>
            <a:off x="9488930" y="4141330"/>
            <a:ext cx="974626" cy="153888"/>
          </a:xfrm>
          <a:prstGeom prst="rect">
            <a:avLst/>
          </a:prstGeom>
          <a:noFill/>
        </p:spPr>
        <p:txBody>
          <a:bodyPr wrap="none" lIns="0" tIns="0" rIns="0" bIns="0" rtlCol="0">
            <a:spAutoFit/>
          </a:bodyPr>
          <a:lstStyle/>
          <a:p>
            <a:pPr algn="l"/>
            <a:r>
              <a:rPr lang="en-US" sz="1000" dirty="0"/>
              <a:t>SQL-based cache</a:t>
            </a:r>
          </a:p>
        </p:txBody>
      </p:sp>
      <p:sp>
        <p:nvSpPr>
          <p:cNvPr id="1043" name="Arrow: Bent-Up 1042">
            <a:extLst>
              <a:ext uri="{FF2B5EF4-FFF2-40B4-BE49-F238E27FC236}">
                <a16:creationId xmlns:a16="http://schemas.microsoft.com/office/drawing/2014/main" id="{A7ACE756-7490-75CC-32B8-C4DB8EEAA048}"/>
              </a:ext>
            </a:extLst>
          </p:cNvPr>
          <p:cNvSpPr/>
          <p:nvPr/>
        </p:nvSpPr>
        <p:spPr bwMode="auto">
          <a:xfrm rot="10800000" flipH="1" flipV="1">
            <a:off x="8704327" y="4458896"/>
            <a:ext cx="393679" cy="759275"/>
          </a:xfrm>
          <a:prstGeom prst="bentUp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46" name="Graphic 1045">
            <a:extLst>
              <a:ext uri="{FF2B5EF4-FFF2-40B4-BE49-F238E27FC236}">
                <a16:creationId xmlns:a16="http://schemas.microsoft.com/office/drawing/2014/main" id="{76FB850E-5920-140C-F635-617D9CC116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59135" y="4744822"/>
            <a:ext cx="850025" cy="850025"/>
          </a:xfrm>
          <a:prstGeom prst="rect">
            <a:avLst/>
          </a:prstGeom>
        </p:spPr>
      </p:pic>
      <p:sp>
        <p:nvSpPr>
          <p:cNvPr id="1052" name="TextBox 1051">
            <a:extLst>
              <a:ext uri="{FF2B5EF4-FFF2-40B4-BE49-F238E27FC236}">
                <a16:creationId xmlns:a16="http://schemas.microsoft.com/office/drawing/2014/main" id="{247D13A3-08D8-1104-CAF5-12E0078CFFEB}"/>
              </a:ext>
            </a:extLst>
          </p:cNvPr>
          <p:cNvSpPr txBox="1"/>
          <p:nvPr/>
        </p:nvSpPr>
        <p:spPr>
          <a:xfrm>
            <a:off x="8419654" y="3399483"/>
            <a:ext cx="920124" cy="153888"/>
          </a:xfrm>
          <a:prstGeom prst="rect">
            <a:avLst/>
          </a:prstGeom>
          <a:noFill/>
        </p:spPr>
        <p:txBody>
          <a:bodyPr wrap="none" lIns="0" tIns="0" rIns="0" bIns="0" rtlCol="0">
            <a:spAutoFit/>
          </a:bodyPr>
          <a:lstStyle/>
          <a:p>
            <a:pPr algn="l"/>
            <a:r>
              <a:rPr lang="en-US" sz="1000" dirty="0"/>
              <a:t>Reference query</a:t>
            </a:r>
          </a:p>
        </p:txBody>
      </p:sp>
      <p:sp>
        <p:nvSpPr>
          <p:cNvPr id="1053" name="Arrow: Bent-Up 1052">
            <a:extLst>
              <a:ext uri="{FF2B5EF4-FFF2-40B4-BE49-F238E27FC236}">
                <a16:creationId xmlns:a16="http://schemas.microsoft.com/office/drawing/2014/main" id="{BDDB259D-B129-4152-D11B-C403B261ED51}"/>
              </a:ext>
            </a:extLst>
          </p:cNvPr>
          <p:cNvSpPr/>
          <p:nvPr/>
        </p:nvSpPr>
        <p:spPr bwMode="auto">
          <a:xfrm flipV="1">
            <a:off x="10466503" y="3682974"/>
            <a:ext cx="393679" cy="1067743"/>
          </a:xfrm>
          <a:prstGeom prst="bentUp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9094411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599983" y="466689"/>
            <a:ext cx="11238029" cy="627784"/>
          </a:xfrm>
        </p:spPr>
        <p:txBody>
          <a:bodyPr/>
          <a:lstStyle/>
          <a:p>
            <a:r>
              <a:rPr lang="en-US"/>
              <a:t>Slic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840" y="1464334"/>
            <a:ext cx="11238029" cy="3515835"/>
          </a:xfrm>
        </p:spPr>
        <p:txBody>
          <a:bodyPr/>
          <a:lstStyle/>
          <a:p>
            <a:r>
              <a:rPr lang="en-US"/>
              <a:t>Core visual, used to filter other visuals</a:t>
            </a:r>
          </a:p>
          <a:p>
            <a:r>
              <a:rPr lang="en-US"/>
              <a:t>By default, filter all other visuals, optionally edit interactions</a:t>
            </a:r>
          </a:p>
          <a:p>
            <a:r>
              <a:rPr lang="en-US"/>
              <a:t>Can be applied to multiple pages if synced</a:t>
            </a:r>
          </a:p>
          <a:p>
            <a:r>
              <a:rPr lang="en-US"/>
              <a:t>Layout is responsive to the data type of the field</a:t>
            </a:r>
          </a:p>
          <a:p>
            <a:r>
              <a:rPr lang="en-US"/>
              <a:t>Using a date field offers relative date or time</a:t>
            </a:r>
          </a:p>
          <a:p>
            <a:pPr marL="0" indent="0">
              <a:buNone/>
            </a:pPr>
            <a:endParaRPr lang="en-US"/>
          </a:p>
        </p:txBody>
      </p:sp>
      <p:pic>
        <p:nvPicPr>
          <p:cNvPr id="5" name="Picture 4">
            <a:extLst>
              <a:ext uri="{FF2B5EF4-FFF2-40B4-BE49-F238E27FC236}">
                <a16:creationId xmlns:a16="http://schemas.microsoft.com/office/drawing/2014/main" id="{80F08044-C90A-47CD-97BD-AA27192ABD37}"/>
              </a:ext>
            </a:extLst>
          </p:cNvPr>
          <p:cNvPicPr>
            <a:picLocks noChangeAspect="1"/>
          </p:cNvPicPr>
          <p:nvPr/>
        </p:nvPicPr>
        <p:blipFill>
          <a:blip r:embed="rId2"/>
          <a:stretch>
            <a:fillRect/>
          </a:stretch>
        </p:blipFill>
        <p:spPr>
          <a:xfrm>
            <a:off x="5107769" y="4362419"/>
            <a:ext cx="2219352" cy="2390804"/>
          </a:xfrm>
          <a:prstGeom prst="rect">
            <a:avLst/>
          </a:prstGeom>
        </p:spPr>
      </p:pic>
    </p:spTree>
    <p:extLst>
      <p:ext uri="{BB962C8B-B14F-4D97-AF65-F5344CB8AC3E}">
        <p14:creationId xmlns:p14="http://schemas.microsoft.com/office/powerpoint/2010/main" val="1957059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Visual Header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840560" cy="5525487"/>
          </a:xfrm>
        </p:spPr>
        <p:txBody>
          <a:bodyPr/>
          <a:lstStyle/>
          <a:p>
            <a:endParaRPr lang="en-US"/>
          </a:p>
          <a:p>
            <a:endParaRPr lang="en-US"/>
          </a:p>
          <a:p>
            <a:pPr lvl="1"/>
            <a:endParaRPr lang="en-US"/>
          </a:p>
          <a:p>
            <a:pPr lvl="1"/>
            <a:endParaRPr lang="en-US"/>
          </a:p>
          <a:p>
            <a:r>
              <a:rPr lang="en-US"/>
              <a:t>Interactions available to report authors and consumers</a:t>
            </a:r>
          </a:p>
          <a:p>
            <a:r>
              <a:rPr lang="en-US"/>
              <a:t>Located in upper right corner if sufficient space </a:t>
            </a:r>
          </a:p>
          <a:p>
            <a:pPr lvl="1"/>
            <a:r>
              <a:rPr lang="en-US"/>
              <a:t>Leave enough space</a:t>
            </a:r>
          </a:p>
          <a:p>
            <a:r>
              <a:rPr lang="en-US"/>
              <a:t>Can be disabled for all visuals or for single visuals. </a:t>
            </a:r>
            <a:br>
              <a:rPr lang="en-US"/>
            </a:br>
            <a:r>
              <a:rPr lang="en-US"/>
              <a:t>Turn off when not needed, e.g., slicers and buttons</a:t>
            </a:r>
          </a:p>
          <a:p>
            <a:endParaRPr lang="en-US"/>
          </a:p>
        </p:txBody>
      </p:sp>
      <p:pic>
        <p:nvPicPr>
          <p:cNvPr id="10242" name="Picture 2" descr="Image shows visual headers More options menu including options to export data, spotlight, and sort.">
            <a:extLst>
              <a:ext uri="{FF2B5EF4-FFF2-40B4-BE49-F238E27FC236}">
                <a16:creationId xmlns:a16="http://schemas.microsoft.com/office/drawing/2014/main" id="{E3117000-DE4F-4A5D-B427-9A1C67976F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051611"/>
            <a:ext cx="6480000" cy="234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7808"/>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502317"/>
          </a:xfrm>
        </p:spPr>
        <p:txBody>
          <a:bodyPr/>
          <a:lstStyle/>
          <a:p>
            <a:r>
              <a:rPr lang="en-US"/>
              <a:t>Key influencers</a:t>
            </a:r>
          </a:p>
        </p:txBody>
      </p:sp>
      <p:pic>
        <p:nvPicPr>
          <p:cNvPr id="11266" name="Picture 2">
            <a:extLst>
              <a:ext uri="{FF2B5EF4-FFF2-40B4-BE49-F238E27FC236}">
                <a16:creationId xmlns:a16="http://schemas.microsoft.com/office/drawing/2014/main" id="{E221E5A1-E5EF-4DE5-85AB-51E83E7744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042555"/>
            <a:ext cx="6480000" cy="424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5107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105111"/>
          </a:xfrm>
        </p:spPr>
        <p:txBody>
          <a:bodyPr/>
          <a:lstStyle/>
          <a:p>
            <a:r>
              <a:rPr lang="en-US"/>
              <a:t>Key influencers</a:t>
            </a:r>
          </a:p>
          <a:p>
            <a:r>
              <a:rPr lang="en-US"/>
              <a:t>Decomposition tree</a:t>
            </a:r>
          </a:p>
        </p:txBody>
      </p:sp>
      <p:pic>
        <p:nvPicPr>
          <p:cNvPr id="4" name="Picture 2" descr="Image shows a Decomposition tree visual helping report consumers to analyze sales opportunity revenue across two dimensions: Product category and Region.">
            <a:extLst>
              <a:ext uri="{FF2B5EF4-FFF2-40B4-BE49-F238E27FC236}">
                <a16:creationId xmlns:a16="http://schemas.microsoft.com/office/drawing/2014/main" id="{786CCC75-40BB-44B3-8EDA-65A81652D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2705846"/>
            <a:ext cx="6480000" cy="4216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640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1707903"/>
          </a:xfrm>
        </p:spPr>
        <p:txBody>
          <a:bodyPr/>
          <a:lstStyle/>
          <a:p>
            <a:r>
              <a:rPr lang="en-US"/>
              <a:t>Key influencers</a:t>
            </a:r>
          </a:p>
          <a:p>
            <a:r>
              <a:rPr lang="en-US"/>
              <a:t>Decomposition tree</a:t>
            </a:r>
          </a:p>
          <a:p>
            <a:r>
              <a:rPr lang="en-US"/>
              <a:t>Q&amp;A</a:t>
            </a:r>
          </a:p>
        </p:txBody>
      </p:sp>
      <p:pic>
        <p:nvPicPr>
          <p:cNvPr id="6" name="Picture 2">
            <a:extLst>
              <a:ext uri="{FF2B5EF4-FFF2-40B4-BE49-F238E27FC236}">
                <a16:creationId xmlns:a16="http://schemas.microsoft.com/office/drawing/2014/main" id="{F3BC65C7-AFFF-4980-A200-AF9498C895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237" y="1694154"/>
            <a:ext cx="6480000" cy="517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345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5EDA8-6474-4E66-B07E-D2FE19AA2733}"/>
              </a:ext>
            </a:extLst>
          </p:cNvPr>
          <p:cNvSpPr>
            <a:spLocks noGrp="1"/>
          </p:cNvSpPr>
          <p:nvPr>
            <p:ph type="title"/>
          </p:nvPr>
        </p:nvSpPr>
        <p:spPr>
          <a:xfrm>
            <a:off x="600059" y="466302"/>
            <a:ext cx="11239464" cy="627864"/>
          </a:xfrm>
        </p:spPr>
        <p:txBody>
          <a:bodyPr/>
          <a:lstStyle/>
          <a:p>
            <a:r>
              <a:rPr lang="en-US"/>
              <a:t>AI Visuals</a:t>
            </a:r>
          </a:p>
        </p:txBody>
      </p:sp>
      <p:sp>
        <p:nvSpPr>
          <p:cNvPr id="3" name="Text Placeholder 2">
            <a:extLst>
              <a:ext uri="{FF2B5EF4-FFF2-40B4-BE49-F238E27FC236}">
                <a16:creationId xmlns:a16="http://schemas.microsoft.com/office/drawing/2014/main" id="{FF077364-3A7D-4E22-BA03-7B8A6AEDB417}"/>
              </a:ext>
            </a:extLst>
          </p:cNvPr>
          <p:cNvSpPr>
            <a:spLocks noGrp="1"/>
          </p:cNvSpPr>
          <p:nvPr>
            <p:ph type="body" sz="quarter" idx="10"/>
          </p:nvPr>
        </p:nvSpPr>
        <p:spPr>
          <a:xfrm>
            <a:off x="595915" y="1464074"/>
            <a:ext cx="11239464" cy="3516284"/>
          </a:xfrm>
        </p:spPr>
        <p:txBody>
          <a:bodyPr/>
          <a:lstStyle/>
          <a:p>
            <a:r>
              <a:rPr lang="en-US"/>
              <a:t>Key influencers</a:t>
            </a:r>
          </a:p>
          <a:p>
            <a:r>
              <a:rPr lang="en-US"/>
              <a:t>Decomposition tree</a:t>
            </a:r>
          </a:p>
          <a:p>
            <a:r>
              <a:rPr lang="en-US"/>
              <a:t>Q&amp;A</a:t>
            </a:r>
          </a:p>
          <a:p>
            <a:endParaRPr lang="en-US"/>
          </a:p>
          <a:p>
            <a:r>
              <a:rPr lang="en-US"/>
              <a:t>Make sure the AI visual is large enough to fully interact</a:t>
            </a:r>
          </a:p>
          <a:p>
            <a:endParaRPr lang="en-US"/>
          </a:p>
        </p:txBody>
      </p:sp>
    </p:spTree>
    <p:extLst>
      <p:ext uri="{BB962C8B-B14F-4D97-AF65-F5344CB8AC3E}">
        <p14:creationId xmlns:p14="http://schemas.microsoft.com/office/powerpoint/2010/main" val="373507758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AADEFE3-F834-052F-AF0C-36FD39E68470}"/>
              </a:ext>
            </a:extLst>
          </p:cNvPr>
          <p:cNvSpPr txBox="1">
            <a:spLocks/>
          </p:cNvSpPr>
          <p:nvPr/>
        </p:nvSpPr>
        <p:spPr>
          <a:xfrm>
            <a:off x="1751577" y="901328"/>
            <a:ext cx="9049921" cy="2464136"/>
          </a:xfrm>
          <a:prstGeom prst="rect">
            <a:avLst/>
          </a:prstGeom>
        </p:spPr>
        <p:txBody>
          <a:bodyPr vert="horz" wrap="square" lIns="0" tIns="0" rIns="0" bIns="0" rtlCol="0" anchor="t">
            <a:spAutoFit/>
          </a:bodyPr>
          <a:lstStyle>
            <a:lvl1pPr algn="l" defTabSz="951209" rtl="0" eaLnBrk="1" latinLnBrk="0" hangingPunct="1">
              <a:lnSpc>
                <a:spcPts val="3199"/>
              </a:lnSpc>
              <a:spcBef>
                <a:spcPct val="0"/>
              </a:spcBef>
              <a:buNone/>
              <a:defRPr lang="en-US" sz="3264" b="0" strike="noStrike" kern="1200" cap="none" spc="-51" baseline="0">
                <a:ln w="3175">
                  <a:noFill/>
                </a:ln>
                <a:solidFill>
                  <a:srgbClr val="191919"/>
                </a:solidFill>
                <a:effectLst/>
                <a:latin typeface="+mj-lt"/>
                <a:ea typeface="+mn-ea"/>
                <a:cs typeface="Segoe UI" pitchFamily="34" charset="0"/>
              </a:defRPr>
            </a:lvl1pPr>
          </a:lstStyle>
          <a:p>
            <a:pPr algn="ctr"/>
            <a:r>
              <a:rPr lang="en-US" dirty="0">
                <a:solidFill>
                  <a:schemeClr val="bg1">
                    <a:lumMod val="65000"/>
                  </a:schemeClr>
                </a:solidFill>
              </a:rPr>
              <a:t>No premium? No problem!</a:t>
            </a:r>
          </a:p>
          <a:p>
            <a:pPr algn="ctr"/>
            <a:endParaRPr lang="en-US" dirty="0">
              <a:solidFill>
                <a:schemeClr val="bg1">
                  <a:lumMod val="65000"/>
                </a:schemeClr>
              </a:solidFill>
            </a:endParaRPr>
          </a:p>
          <a:p>
            <a:pPr algn="ctr"/>
            <a:r>
              <a:rPr lang="en-US" dirty="0">
                <a:solidFill>
                  <a:schemeClr val="bg1">
                    <a:lumMod val="65000"/>
                  </a:schemeClr>
                </a:solidFill>
              </a:rPr>
              <a:t>Submit the form below and we’ll share a trial profile and Premium Per User license for the day.</a:t>
            </a:r>
          </a:p>
          <a:p>
            <a:pPr algn="ctr"/>
            <a:endParaRPr lang="en-US" dirty="0">
              <a:solidFill>
                <a:schemeClr val="bg1">
                  <a:lumMod val="65000"/>
                </a:schemeClr>
              </a:solidFill>
            </a:endParaRPr>
          </a:p>
          <a:p>
            <a:pPr algn="ctr"/>
            <a:r>
              <a:rPr lang="en-US" sz="3600" dirty="0"/>
              <a:t>https://aka.ms/insert_link</a:t>
            </a:r>
          </a:p>
        </p:txBody>
      </p:sp>
      <p:cxnSp>
        <p:nvCxnSpPr>
          <p:cNvPr id="6" name="Straight Connector 5">
            <a:extLst>
              <a:ext uri="{FF2B5EF4-FFF2-40B4-BE49-F238E27FC236}">
                <a16:creationId xmlns:a16="http://schemas.microsoft.com/office/drawing/2014/main" id="{4CB7DC4D-ABEA-EF64-35B6-9731FB6DB9E5}"/>
              </a:ext>
            </a:extLst>
          </p:cNvPr>
          <p:cNvCxnSpPr>
            <a:cxnSpLocks/>
          </p:cNvCxnSpPr>
          <p:nvPr/>
        </p:nvCxnSpPr>
        <p:spPr>
          <a:xfrm>
            <a:off x="1467731" y="3903128"/>
            <a:ext cx="961761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A18972E8-BCF3-0341-00A6-CF7F048883BB}"/>
              </a:ext>
            </a:extLst>
          </p:cNvPr>
          <p:cNvSpPr>
            <a:spLocks noGrp="1"/>
          </p:cNvSpPr>
          <p:nvPr>
            <p:ph type="title"/>
          </p:nvPr>
        </p:nvSpPr>
        <p:spPr>
          <a:xfrm>
            <a:off x="1750257" y="4440792"/>
            <a:ext cx="9052560" cy="1643399"/>
          </a:xfrm>
        </p:spPr>
        <p:txBody>
          <a:bodyPr/>
          <a:lstStyle/>
          <a:p>
            <a:pPr algn="ctr"/>
            <a:r>
              <a:rPr lang="en-US" dirty="0">
                <a:solidFill>
                  <a:schemeClr val="bg1">
                    <a:lumMod val="65000"/>
                  </a:schemeClr>
                </a:solidFill>
              </a:rPr>
              <a:t>All workshop materials available at:</a:t>
            </a:r>
            <a:br>
              <a:rPr lang="en-US" dirty="0">
                <a:solidFill>
                  <a:schemeClr val="bg1">
                    <a:lumMod val="65000"/>
                  </a:schemeClr>
                </a:solidFill>
              </a:rPr>
            </a:br>
            <a:r>
              <a:rPr lang="en-US" sz="3600" dirty="0"/>
              <a:t>https://aka.ms/pbiworkshops</a:t>
            </a:r>
            <a:br>
              <a:rPr lang="en-US" sz="3600" dirty="0"/>
            </a:br>
            <a:br>
              <a:rPr lang="en-US" sz="3600" dirty="0"/>
            </a:br>
            <a:r>
              <a:rPr lang="en-US" sz="3600" dirty="0">
                <a:solidFill>
                  <a:schemeClr val="bg1">
                    <a:lumMod val="65000"/>
                  </a:schemeClr>
                </a:solidFill>
              </a:rPr>
              <a:t>Folder: </a:t>
            </a:r>
            <a:r>
              <a:rPr lang="en-US" sz="3600" dirty="0">
                <a:solidFill>
                  <a:schemeClr val="tx1"/>
                </a:solidFill>
              </a:rPr>
              <a:t>Day After Dashboard in a Day</a:t>
            </a:r>
            <a:endParaRPr lang="en-US" dirty="0">
              <a:solidFill>
                <a:schemeClr val="bg1">
                  <a:lumMod val="65000"/>
                </a:schemeClr>
              </a:solidFill>
            </a:endParaRPr>
          </a:p>
        </p:txBody>
      </p:sp>
    </p:spTree>
    <p:extLst>
      <p:ext uri="{BB962C8B-B14F-4D97-AF65-F5344CB8AC3E}">
        <p14:creationId xmlns:p14="http://schemas.microsoft.com/office/powerpoint/2010/main" val="302026629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70042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a:solidFill>
                  <a:schemeClr val="tx1">
                    <a:lumMod val="50000"/>
                    <a:lumOff val="50000"/>
                  </a:schemeClr>
                </a:solidFill>
                <a:latin typeface="Segoe UI" panose="020B0502040204020203" pitchFamily="34" charset="0"/>
                <a:cs typeface="Segoe UI" panose="020B0502040204020203" pitchFamily="34" charset="0"/>
              </a:rPr>
              <a:t>One of the most powerful capabilities of Power Query and the M Language is Query Folding (also referred to as query delegation, and predicate push-down). Query Folding allows the Mashup Engine to </a:t>
            </a:r>
            <a:r>
              <a:rPr lang="en-US" sz="1900" b="1">
                <a:gradFill>
                  <a:gsLst>
                    <a:gs pos="2917">
                      <a:srgbClr val="505050"/>
                    </a:gs>
                    <a:gs pos="30000">
                      <a:srgbClr val="505050"/>
                    </a:gs>
                  </a:gsLst>
                  <a:lin ang="5400000" scaled="0"/>
                </a:gradFill>
                <a:latin typeface="Segoe UI"/>
              </a:rPr>
              <a:t>push the transformations expressed in an M (mashup) query to the source, in the source's native query language</a:t>
            </a:r>
            <a:r>
              <a:rPr lang="en-US" sz="2040">
                <a:solidFill>
                  <a:schemeClr val="tx1">
                    <a:lumMod val="50000"/>
                    <a:lumOff val="50000"/>
                  </a:schemeClr>
                </a:solidFill>
                <a:latin typeface="Segoe UI" panose="020B0502040204020203" pitchFamily="34" charset="0"/>
                <a:cs typeface="Segoe UI" panose="020B0502040204020203" pitchFamily="34" charset="0"/>
              </a:rPr>
              <a:t>, resulting in more efficient data processing.</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4369520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48" name="Group 47">
            <a:extLst>
              <a:ext uri="{FF2B5EF4-FFF2-40B4-BE49-F238E27FC236}">
                <a16:creationId xmlns:a16="http://schemas.microsoft.com/office/drawing/2014/main" id="{34EEF0AD-7075-486C-B662-9640D85E8DE7}"/>
              </a:ext>
            </a:extLst>
          </p:cNvPr>
          <p:cNvGrpSpPr/>
          <p:nvPr/>
        </p:nvGrpSpPr>
        <p:grpSpPr>
          <a:xfrm>
            <a:off x="4493700" y="404278"/>
            <a:ext cx="932484" cy="932484"/>
            <a:chOff x="4405685" y="396000"/>
            <a:chExt cx="914400" cy="914400"/>
          </a:xfrm>
        </p:grpSpPr>
        <p:pic>
          <p:nvPicPr>
            <p:cNvPr id="25" name="Graphic 24" descr="Line arrow: Counter-clockwise curve">
              <a:extLst>
                <a:ext uri="{FF2B5EF4-FFF2-40B4-BE49-F238E27FC236}">
                  <a16:creationId xmlns:a16="http://schemas.microsoft.com/office/drawing/2014/main" id="{4EF1E29D-7D8D-4495-9040-ACE90F22E0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4405685" y="396000"/>
              <a:ext cx="914400" cy="914400"/>
            </a:xfrm>
            <a:prstGeom prst="rect">
              <a:avLst/>
            </a:prstGeom>
          </p:spPr>
        </p:pic>
        <p:cxnSp>
          <p:nvCxnSpPr>
            <p:cNvPr id="35" name="Straight Connector 34">
              <a:extLst>
                <a:ext uri="{FF2B5EF4-FFF2-40B4-BE49-F238E27FC236}">
                  <a16:creationId xmlns:a16="http://schemas.microsoft.com/office/drawing/2014/main" id="{1A42248D-D546-40FD-9046-FEC95AE8A58C}"/>
                </a:ext>
              </a:extLst>
            </p:cNvPr>
            <p:cNvCxnSpPr>
              <a:cxnSpLocks/>
            </p:cNvCxnSpPr>
            <p:nvPr/>
          </p:nvCxnSpPr>
          <p:spPr>
            <a:xfrm>
              <a:off x="4625009" y="1300593"/>
              <a:ext cx="47575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B3E0C8A5-3B3F-4BB4-B7BA-4D772368AB52}"/>
              </a:ext>
            </a:extLst>
          </p:cNvPr>
          <p:cNvGrpSpPr/>
          <p:nvPr/>
        </p:nvGrpSpPr>
        <p:grpSpPr>
          <a:xfrm>
            <a:off x="9362215" y="1269664"/>
            <a:ext cx="1407400" cy="2720194"/>
            <a:chOff x="9179781" y="1137037"/>
            <a:chExt cx="1380106" cy="2775005"/>
          </a:xfrm>
        </p:grpSpPr>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137037"/>
              <a:ext cx="0" cy="2775005"/>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80003CA-3E94-4F7E-A202-2621ADACBBEC}"/>
                </a:ext>
              </a:extLst>
            </p:cNvPr>
            <p:cNvSpPr txBox="1"/>
            <p:nvPr/>
          </p:nvSpPr>
          <p:spPr>
            <a:xfrm>
              <a:off x="9255175" y="2201373"/>
              <a:ext cx="1304712" cy="670651"/>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Translated to </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grpSp>
        <p:nvGrpSpPr>
          <p:cNvPr id="50" name="Group 49">
            <a:extLst>
              <a:ext uri="{FF2B5EF4-FFF2-40B4-BE49-F238E27FC236}">
                <a16:creationId xmlns:a16="http://schemas.microsoft.com/office/drawing/2014/main" id="{D4F81343-C5E2-4F27-BD46-DA9C00BEE156}"/>
              </a:ext>
            </a:extLst>
          </p:cNvPr>
          <p:cNvGrpSpPr/>
          <p:nvPr/>
        </p:nvGrpSpPr>
        <p:grpSpPr>
          <a:xfrm>
            <a:off x="5233655" y="951256"/>
            <a:ext cx="4051676" cy="771014"/>
            <a:chOff x="5131289" y="932370"/>
            <a:chExt cx="3973099" cy="756061"/>
          </a:xfrm>
        </p:grpSpPr>
        <p:cxnSp>
          <p:nvCxnSpPr>
            <p:cNvPr id="23" name="Straight Connector 22">
              <a:extLst>
                <a:ext uri="{FF2B5EF4-FFF2-40B4-BE49-F238E27FC236}">
                  <a16:creationId xmlns:a16="http://schemas.microsoft.com/office/drawing/2014/main" id="{9C8C485C-B574-4B17-8D4B-A0D9CCE8617C}"/>
                </a:ext>
              </a:extLst>
            </p:cNvPr>
            <p:cNvCxnSpPr>
              <a:cxnSpLocks/>
            </p:cNvCxnSpPr>
            <p:nvPr/>
          </p:nvCxnSpPr>
          <p:spPr>
            <a:xfrm>
              <a:off x="7656095" y="1255536"/>
              <a:ext cx="1448293"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3C5CEDD-A0E8-4776-A489-C1AAA77670CF}"/>
                </a:ext>
              </a:extLst>
            </p:cNvPr>
            <p:cNvSpPr/>
            <p:nvPr/>
          </p:nvSpPr>
          <p:spPr>
            <a:xfrm>
              <a:off x="5131289" y="932370"/>
              <a:ext cx="2449405" cy="7560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38" name="TextBox 37">
              <a:extLst>
                <a:ext uri="{FF2B5EF4-FFF2-40B4-BE49-F238E27FC236}">
                  <a16:creationId xmlns:a16="http://schemas.microsoft.com/office/drawing/2014/main" id="{5902E744-BD35-472F-9A49-6B3A10955C16}"/>
                </a:ext>
              </a:extLst>
            </p:cNvPr>
            <p:cNvSpPr txBox="1"/>
            <p:nvPr/>
          </p:nvSpPr>
          <p:spPr>
            <a:xfrm>
              <a:off x="5237191" y="977427"/>
              <a:ext cx="2237599" cy="644655"/>
            </a:xfrm>
            <a:prstGeom prst="rect">
              <a:avLst/>
            </a:prstGeom>
            <a:noFill/>
          </p:spPr>
          <p:txBody>
            <a:bodyPr wrap="square" rtlCol="0">
              <a:spAutoFit/>
            </a:bodyPr>
            <a:lstStyle/>
            <a:p>
              <a:pPr defTabSz="932504"/>
              <a:r>
                <a:rPr lang="en-US" sz="1224">
                  <a:solidFill>
                    <a:prstClr val="black"/>
                  </a:solidFill>
                  <a:latin typeface="Calibri" panose="020F0502020204030204"/>
                </a:rPr>
                <a:t>select *</a:t>
              </a:r>
            </a:p>
            <a:p>
              <a:pPr defTabSz="932504"/>
              <a:r>
                <a:rPr lang="en-US" sz="1224">
                  <a:solidFill>
                    <a:prstClr val="black"/>
                  </a:solidFill>
                  <a:latin typeface="Calibri" panose="020F0502020204030204"/>
                </a:rPr>
                <a:t>from [</a:t>
              </a:r>
              <a:r>
                <a:rPr lang="en-US" sz="1224" err="1">
                  <a:solidFill>
                    <a:prstClr val="black"/>
                  </a:solidFill>
                  <a:latin typeface="Calibri" panose="020F0502020204030204"/>
                </a:rPr>
                <a:t>dbo</a:t>
              </a:r>
              <a:r>
                <a:rPr lang="en-US" sz="1224">
                  <a:solidFill>
                    <a:prstClr val="black"/>
                  </a:solidFill>
                  <a:latin typeface="Calibri" panose="020F0502020204030204"/>
                </a:rPr>
                <a:t>].[</a:t>
              </a:r>
              <a:r>
                <a:rPr lang="en-US" sz="1224" err="1">
                  <a:solidFill>
                    <a:prstClr val="black"/>
                  </a:solidFill>
                  <a:latin typeface="Calibri" panose="020F0502020204030204"/>
                </a:rPr>
                <a:t>DimCustomer</a:t>
              </a:r>
              <a:r>
                <a:rPr lang="en-US" sz="1224">
                  <a:solidFill>
                    <a:prstClr val="black"/>
                  </a:solidFill>
                  <a:latin typeface="Calibri" panose="020F0502020204030204"/>
                </a:rPr>
                <a:t>] as [_]</a:t>
              </a:r>
            </a:p>
            <a:p>
              <a:pPr defTabSz="932504"/>
              <a:r>
                <a:rPr lang="en-US" sz="1224">
                  <a:solidFill>
                    <a:prstClr val="black"/>
                  </a:solidFill>
                  <a:latin typeface="Calibri" panose="020F0502020204030204"/>
                </a:rPr>
                <a:t>where [_].[Gender] = 'F'</a:t>
              </a:r>
            </a:p>
          </p:txBody>
        </p:sp>
      </p:grpSp>
      <p:grpSp>
        <p:nvGrpSpPr>
          <p:cNvPr id="44" name="Group 43">
            <a:extLst>
              <a:ext uri="{FF2B5EF4-FFF2-40B4-BE49-F238E27FC236}">
                <a16:creationId xmlns:a16="http://schemas.microsoft.com/office/drawing/2014/main" id="{AE40B32B-FF24-4CCB-8DC5-01917CF55F90}"/>
              </a:ext>
            </a:extLst>
          </p:cNvPr>
          <p:cNvGrpSpPr/>
          <p:nvPr/>
        </p:nvGrpSpPr>
        <p:grpSpPr>
          <a:xfrm>
            <a:off x="4809259" y="3484278"/>
            <a:ext cx="8692764" cy="2240583"/>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411027"/>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s</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DatabaseName</a:t>
              </a:r>
              <a:r>
                <a:rPr lang="en-US" sz="1224">
                  <a:solidFill>
                    <a:prstClr val="black"/>
                  </a:solidFill>
                  <a:latin typeface="Calibri" panose="020F0502020204030204"/>
                </a:rPr>
                <a:t> = Source{[Name=""]}[Data],</a:t>
              </a:r>
            </a:p>
            <a:p>
              <a:pPr defTabSz="932504"/>
              <a:r>
                <a:rPr lang="en-US" sz="1224">
                  <a:solidFill>
                    <a:prstClr val="black"/>
                  </a:solidFill>
                  <a:latin typeface="Calibri" panose="020F0502020204030204"/>
                </a:rPr>
                <a:t>    </a:t>
              </a:r>
              <a:r>
                <a:rPr lang="en-US" sz="1224" err="1">
                  <a:solidFill>
                    <a:prstClr val="black"/>
                  </a:solidFill>
                  <a:latin typeface="Calibri" panose="020F0502020204030204"/>
                </a:rPr>
                <a:t>schema_ItemName</a:t>
              </a:r>
              <a:r>
                <a:rPr lang="en-US" sz="1224">
                  <a:solidFill>
                    <a:prstClr val="black"/>
                  </a:solidFill>
                  <a:latin typeface="Calibri" panose="020F0502020204030204"/>
                </a:rPr>
                <a:t> = AdventureWorksDW2017{[Schema="",Item=""]}[Data],</a:t>
              </a:r>
            </a:p>
            <a:p>
              <a:pPr defTabSz="932504"/>
              <a:r>
                <a:rPr lang="en-US" sz="1224">
                  <a:solidFill>
                    <a:prstClr val="black"/>
                  </a:solidFill>
                  <a:latin typeface="Calibri" panose="020F0502020204030204"/>
                </a:rPr>
                <a:t>    #"Filtered Rows" = </a:t>
              </a:r>
              <a:r>
                <a:rPr lang="en-US" sz="1224" err="1">
                  <a:solidFill>
                    <a:prstClr val="black"/>
                  </a:solidFill>
                  <a:latin typeface="Calibri" panose="020F0502020204030204"/>
                </a:rPr>
                <a:t>Table.SelectRows</a:t>
              </a:r>
              <a:r>
                <a:rPr lang="en-US" sz="1224">
                  <a:solidFill>
                    <a:prstClr val="black"/>
                  </a:solidFill>
                  <a:latin typeface="Calibri" panose="020F0502020204030204"/>
                </a:rPr>
                <a:t>(</a:t>
              </a:r>
              <a:r>
                <a:rPr lang="en-US" sz="1224" err="1">
                  <a:solidFill>
                    <a:prstClr val="black"/>
                  </a:solidFill>
                  <a:latin typeface="Calibri" panose="020F0502020204030204"/>
                </a:rPr>
                <a:t>schema_ItemName</a:t>
              </a:r>
              <a:r>
                <a:rPr lang="en-US" sz="1224">
                  <a:solidFill>
                    <a:prstClr val="black"/>
                  </a:solidFill>
                  <a:latin typeface="Calibri" panose="020F0502020204030204"/>
                </a:rPr>
                <a:t>, each ([Gender] = "F"))</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Filtered Rows"</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6"/>
            <a:stretch>
              <a:fillRect/>
            </a:stretch>
          </p:blipFill>
          <p:spPr>
            <a:xfrm>
              <a:off x="5969426" y="3416267"/>
              <a:ext cx="5482869" cy="625179"/>
            </a:xfrm>
            <a:prstGeom prst="rect">
              <a:avLst/>
            </a:prstGeom>
            <a:ln>
              <a:solidFill>
                <a:schemeClr val="tx1"/>
              </a:solidFill>
            </a:ln>
          </p:spPr>
        </p:pic>
      </p:grpSp>
      <p:pic>
        <p:nvPicPr>
          <p:cNvPr id="52" name="Picture 51">
            <a:extLst>
              <a:ext uri="{FF2B5EF4-FFF2-40B4-BE49-F238E27FC236}">
                <a16:creationId xmlns:a16="http://schemas.microsoft.com/office/drawing/2014/main" id="{5690358C-237F-486F-8D55-B6ED092D2125}"/>
              </a:ext>
            </a:extLst>
          </p:cNvPr>
          <p:cNvPicPr>
            <a:picLocks noChangeAspect="1"/>
          </p:cNvPicPr>
          <p:nvPr/>
        </p:nvPicPr>
        <p:blipFill rotWithShape="1">
          <a:blip r:embed="rId7"/>
          <a:srcRect r="55765" b="26707"/>
          <a:stretch/>
        </p:blipFill>
        <p:spPr>
          <a:xfrm>
            <a:off x="6136746" y="4142589"/>
            <a:ext cx="5499731" cy="1582270"/>
          </a:xfrm>
          <a:prstGeom prst="rect">
            <a:avLst/>
          </a:prstGeom>
        </p:spPr>
      </p:pic>
    </p:spTree>
    <p:extLst>
      <p:ext uri="{BB962C8B-B14F-4D97-AF65-F5344CB8AC3E}">
        <p14:creationId xmlns:p14="http://schemas.microsoft.com/office/powerpoint/2010/main" val="4223309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1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down)">
                                      <p:cBhvr>
                                        <p:cTn id="16" dur="1000"/>
                                        <p:tgtEl>
                                          <p:spTgt spid="49"/>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right)">
                                      <p:cBhvr>
                                        <p:cTn id="20" dur="10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Effect transition="in" filter="wipe(right)">
                                      <p:cBhvr>
                                        <p:cTn id="25"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6BEFA0A-6A8E-4B79-BBFB-7C8521E8992F}"/>
              </a:ext>
            </a:extLst>
          </p:cNvPr>
          <p:cNvGraphicFramePr>
            <a:graphicFrameLocks noChangeAspect="1"/>
          </p:cNvGraphicFramePr>
          <p:nvPr>
            <p:extLst>
              <p:ext uri="{D42A27DB-BD31-4B8C-83A1-F6EECF244321}">
                <p14:modId xmlns:p14="http://schemas.microsoft.com/office/powerpoint/2010/main" val="2162077600"/>
              </p:ext>
            </p:extLst>
          </p:nvPr>
        </p:nvGraphicFramePr>
        <p:xfrm>
          <a:off x="0" y="0"/>
          <a:ext cx="12429765" cy="6366162"/>
        </p:xfrm>
        <a:graphic>
          <a:graphicData uri="http://schemas.openxmlformats.org/presentationml/2006/ole">
            <mc:AlternateContent xmlns:mc="http://schemas.openxmlformats.org/markup-compatibility/2006">
              <mc:Choice xmlns:v="urn:schemas-microsoft-com:vml" Requires="v">
                <p:oleObj name="Bitmap Image" r:id="rId2" imgW="21761280" imgH="11150640" progId="Paint.Picture">
                  <p:embed/>
                </p:oleObj>
              </mc:Choice>
              <mc:Fallback>
                <p:oleObj name="Bitmap Image" r:id="rId2" imgW="21761280" imgH="11150640" progId="Paint.Picture">
                  <p:embed/>
                  <p:pic>
                    <p:nvPicPr>
                      <p:cNvPr id="10" name="Object 9">
                        <a:extLst>
                          <a:ext uri="{FF2B5EF4-FFF2-40B4-BE49-F238E27FC236}">
                            <a16:creationId xmlns:a16="http://schemas.microsoft.com/office/drawing/2014/main" id="{66BEFA0A-6A8E-4B79-BBFB-7C8521E8992F}"/>
                          </a:ext>
                        </a:extLst>
                      </p:cNvPr>
                      <p:cNvPicPr/>
                      <p:nvPr/>
                    </p:nvPicPr>
                    <p:blipFill>
                      <a:blip r:embed="rId3"/>
                      <a:stretch>
                        <a:fillRect/>
                      </a:stretch>
                    </p:blipFill>
                    <p:spPr>
                      <a:xfrm>
                        <a:off x="0" y="0"/>
                        <a:ext cx="12429765" cy="6366162"/>
                      </a:xfrm>
                      <a:prstGeom prst="rect">
                        <a:avLst/>
                      </a:prstGeom>
                    </p:spPr>
                  </p:pic>
                </p:oleObj>
              </mc:Fallback>
            </mc:AlternateContent>
          </a:graphicData>
        </a:graphic>
      </p:graphicFrame>
      <p:cxnSp>
        <p:nvCxnSpPr>
          <p:cNvPr id="6" name="Straight Arrow Connector 5">
            <a:extLst>
              <a:ext uri="{FF2B5EF4-FFF2-40B4-BE49-F238E27FC236}">
                <a16:creationId xmlns:a16="http://schemas.microsoft.com/office/drawing/2014/main" id="{E7E35F04-F728-4359-BCDA-ED21DEC772E8}"/>
              </a:ext>
            </a:extLst>
          </p:cNvPr>
          <p:cNvCxnSpPr>
            <a:cxnSpLocks/>
            <a:stCxn id="3" idx="3"/>
          </p:cNvCxnSpPr>
          <p:nvPr/>
        </p:nvCxnSpPr>
        <p:spPr>
          <a:xfrm flipV="1">
            <a:off x="10204449" y="2627234"/>
            <a:ext cx="1890961" cy="467333"/>
          </a:xfrm>
          <a:prstGeom prst="straightConnector1">
            <a:avLst/>
          </a:prstGeom>
          <a:ln w="28575">
            <a:solidFill>
              <a:srgbClr val="FF0000"/>
            </a:solidFill>
            <a:headEnd type="none" w="lg" len="med"/>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FA9C0DDF-B526-42A4-ABB0-3881CAD6FAAE}"/>
              </a:ext>
            </a:extLst>
          </p:cNvPr>
          <p:cNvSpPr txBox="1"/>
          <p:nvPr/>
        </p:nvSpPr>
        <p:spPr>
          <a:xfrm>
            <a:off x="125646" y="6515148"/>
            <a:ext cx="4829977" cy="338554"/>
          </a:xfrm>
          <a:prstGeom prst="rect">
            <a:avLst/>
          </a:prstGeom>
          <a:noFill/>
        </p:spPr>
        <p:txBody>
          <a:bodyPr wrap="none" rtlCol="0">
            <a:spAutoFit/>
          </a:bodyPr>
          <a:lstStyle/>
          <a:p>
            <a:pPr defTabSz="932504"/>
            <a:r>
              <a:rPr lang="en-US" sz="1600" b="1">
                <a:solidFill>
                  <a:schemeClr val="tx1">
                    <a:lumMod val="50000"/>
                    <a:lumOff val="50000"/>
                  </a:schemeClr>
                </a:solidFill>
                <a:latin typeface="+mj-lt"/>
                <a:cs typeface="Segoe UI" panose="020B0502040204020203" pitchFamily="34" charset="0"/>
              </a:rPr>
              <a:t>AKA: </a:t>
            </a:r>
            <a:r>
              <a:rPr lang="en-US" sz="1600">
                <a:solidFill>
                  <a:schemeClr val="tx1">
                    <a:lumMod val="50000"/>
                    <a:lumOff val="50000"/>
                  </a:schemeClr>
                </a:solidFill>
                <a:latin typeface="Segoe UI" panose="020B0502040204020203" pitchFamily="34" charset="0"/>
                <a:cs typeface="Segoe UI" panose="020B0502040204020203" pitchFamily="34" charset="0"/>
              </a:rPr>
              <a:t>“</a:t>
            </a:r>
            <a:r>
              <a:rPr lang="en-US" sz="1600" b="1">
                <a:solidFill>
                  <a:schemeClr val="tx1">
                    <a:lumMod val="50000"/>
                    <a:lumOff val="50000"/>
                  </a:schemeClr>
                </a:solidFill>
                <a:latin typeface="Segoe UI" panose="020B0502040204020203" pitchFamily="34" charset="0"/>
                <a:cs typeface="Segoe UI" panose="020B0502040204020203" pitchFamily="34" charset="0"/>
              </a:rPr>
              <a:t>View Native Query</a:t>
            </a:r>
            <a:r>
              <a:rPr lang="en-US" sz="1600">
                <a:solidFill>
                  <a:schemeClr val="tx1">
                    <a:lumMod val="50000"/>
                    <a:lumOff val="50000"/>
                  </a:schemeClr>
                </a:solidFill>
                <a:latin typeface="Segoe UI" panose="020B0502040204020203" pitchFamily="34" charset="0"/>
                <a:cs typeface="Segoe UI" panose="020B0502040204020203" pitchFamily="34" charset="0"/>
              </a:rPr>
              <a:t>” in desktop applications.</a:t>
            </a:r>
          </a:p>
        </p:txBody>
      </p:sp>
      <p:sp>
        <p:nvSpPr>
          <p:cNvPr id="7" name="Rectangle 6">
            <a:extLst>
              <a:ext uri="{FF2B5EF4-FFF2-40B4-BE49-F238E27FC236}">
                <a16:creationId xmlns:a16="http://schemas.microsoft.com/office/drawing/2014/main" id="{62F8BAA0-D3E4-4D7A-B602-C5FFD25D2AC5}"/>
              </a:ext>
            </a:extLst>
          </p:cNvPr>
          <p:cNvSpPr/>
          <p:nvPr/>
        </p:nvSpPr>
        <p:spPr>
          <a:xfrm>
            <a:off x="12114213" y="2555875"/>
            <a:ext cx="188409" cy="142719"/>
          </a:xfrm>
          <a:prstGeom prst="rect">
            <a:avLst/>
          </a:prstGeom>
          <a:noFill/>
          <a:ln w="28575">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pic>
        <p:nvPicPr>
          <p:cNvPr id="9" name="Picture 8">
            <a:extLst>
              <a:ext uri="{FF2B5EF4-FFF2-40B4-BE49-F238E27FC236}">
                <a16:creationId xmlns:a16="http://schemas.microsoft.com/office/drawing/2014/main" id="{613523C2-39E4-4810-B902-78E6423F14C0}"/>
              </a:ext>
            </a:extLst>
          </p:cNvPr>
          <p:cNvPicPr>
            <a:picLocks noChangeAspect="1"/>
          </p:cNvPicPr>
          <p:nvPr/>
        </p:nvPicPr>
        <p:blipFill>
          <a:blip r:embed="rId4"/>
          <a:stretch>
            <a:fillRect/>
          </a:stretch>
        </p:blipFill>
        <p:spPr>
          <a:xfrm>
            <a:off x="10357655" y="3199465"/>
            <a:ext cx="1912771" cy="2807635"/>
          </a:xfrm>
          <a:prstGeom prst="rect">
            <a:avLst/>
          </a:prstGeom>
          <a:ln>
            <a:solidFill>
              <a:schemeClr val="bg1">
                <a:lumMod val="85000"/>
              </a:schemeClr>
            </a:solidFill>
          </a:ln>
        </p:spPr>
      </p:pic>
      <p:sp>
        <p:nvSpPr>
          <p:cNvPr id="3" name="Rectangle 2">
            <a:extLst>
              <a:ext uri="{FF2B5EF4-FFF2-40B4-BE49-F238E27FC236}">
                <a16:creationId xmlns:a16="http://schemas.microsoft.com/office/drawing/2014/main" id="{B8805CDE-18B1-4AD2-8A61-899B536EA248}"/>
              </a:ext>
            </a:extLst>
          </p:cNvPr>
          <p:cNvSpPr/>
          <p:nvPr/>
        </p:nvSpPr>
        <p:spPr bwMode="auto">
          <a:xfrm>
            <a:off x="8301566" y="2923117"/>
            <a:ext cx="1902883" cy="342900"/>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CF8AC8-14E5-4AD4-B7CE-F2E1100FE8A9}"/>
              </a:ext>
            </a:extLst>
          </p:cNvPr>
          <p:cNvSpPr/>
          <p:nvPr/>
        </p:nvSpPr>
        <p:spPr bwMode="auto">
          <a:xfrm>
            <a:off x="10357655" y="5304211"/>
            <a:ext cx="1912771" cy="27108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1914625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artial Query Folding</a:t>
            </a:r>
          </a:p>
        </p:txBody>
      </p:sp>
      <p:sp>
        <p:nvSpPr>
          <p:cNvPr id="6" name="Text Placeholder 2">
            <a:extLst>
              <a:ext uri="{FF2B5EF4-FFF2-40B4-BE49-F238E27FC236}">
                <a16:creationId xmlns:a16="http://schemas.microsoft.com/office/drawing/2014/main" id="{2343DF5C-7325-4B51-B062-365993CDC152}"/>
              </a:ext>
            </a:extLst>
          </p:cNvPr>
          <p:cNvSpPr txBox="1">
            <a:spLocks/>
          </p:cNvSpPr>
          <p:nvPr/>
        </p:nvSpPr>
        <p:spPr>
          <a:xfrm>
            <a:off x="596711" y="1464074"/>
            <a:ext cx="11237870" cy="2162717"/>
          </a:xfrm>
        </p:spPr>
        <p:txBody>
          <a:bodyPr>
            <a:norm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40" dirty="0">
                <a:solidFill>
                  <a:schemeClr val="tx1">
                    <a:lumMod val="50000"/>
                    <a:lumOff val="50000"/>
                  </a:schemeClr>
                </a:solidFill>
                <a:latin typeface="Segoe UI" panose="020B0502040204020203" pitchFamily="34" charset="0"/>
              </a:rPr>
              <a:t>Data sources will support different levels of query capabilities. To provide a consistent data transformation experience, </a:t>
            </a:r>
            <a:r>
              <a:rPr lang="en-US" sz="2100" b="1" dirty="0">
                <a:gradFill>
                  <a:gsLst>
                    <a:gs pos="2917">
                      <a:srgbClr val="505050"/>
                    </a:gs>
                    <a:gs pos="30000">
                      <a:srgbClr val="505050"/>
                    </a:gs>
                  </a:gsLst>
                  <a:lin ang="5400000" scaled="0"/>
                </a:gradFill>
                <a:latin typeface="Segoe UI"/>
              </a:rPr>
              <a:t>the Mashup Engine compensates </a:t>
            </a:r>
            <a:r>
              <a:rPr lang="en-US" sz="2100" dirty="0">
                <a:solidFill>
                  <a:schemeClr val="tx1">
                    <a:lumMod val="50000"/>
                    <a:lumOff val="50000"/>
                  </a:schemeClr>
                </a:solidFill>
                <a:latin typeface="Segoe UI" panose="020B0502040204020203" pitchFamily="34" charset="0"/>
              </a:rPr>
              <a:t>(i.e. does the processing locally) </a:t>
            </a:r>
            <a:r>
              <a:rPr lang="en-US" sz="2100" b="1" dirty="0">
                <a:gradFill>
                  <a:gsLst>
                    <a:gs pos="2917">
                      <a:srgbClr val="505050"/>
                    </a:gs>
                    <a:gs pos="30000">
                      <a:srgbClr val="505050"/>
                    </a:gs>
                  </a:gsLst>
                  <a:lin ang="5400000" scaled="0"/>
                </a:gradFill>
                <a:latin typeface="Segoe UI"/>
              </a:rPr>
              <a:t>for transformations that cannot be sent to the source</a:t>
            </a:r>
            <a:r>
              <a:rPr lang="en-US" sz="2040" dirty="0">
                <a:solidFill>
                  <a:schemeClr val="tx1">
                    <a:lumMod val="50000"/>
                    <a:lumOff val="50000"/>
                  </a:schemeClr>
                </a:solidFill>
                <a:latin typeface="Segoe UI" panose="020B0502040204020203" pitchFamily="34" charset="0"/>
              </a:rPr>
              <a:t>. It is the Data Connector's responsibility to report its capabilities to the engine, carving off the transformations it can handle, generating the appropriate query syntax, and letting the Mashup Engine handle the remaining work.</a:t>
            </a:r>
          </a:p>
        </p:txBody>
      </p:sp>
      <p:grpSp>
        <p:nvGrpSpPr>
          <p:cNvPr id="7" name="Group 6">
            <a:extLst>
              <a:ext uri="{FF2B5EF4-FFF2-40B4-BE49-F238E27FC236}">
                <a16:creationId xmlns:a16="http://schemas.microsoft.com/office/drawing/2014/main" id="{9002C267-4DD3-4B8C-9DEE-F745A4EE81CD}"/>
              </a:ext>
            </a:extLst>
          </p:cNvPr>
          <p:cNvGrpSpPr/>
          <p:nvPr/>
        </p:nvGrpSpPr>
        <p:grpSpPr>
          <a:xfrm>
            <a:off x="10790998" y="5730584"/>
            <a:ext cx="1041909" cy="974375"/>
            <a:chOff x="9124950" y="1397319"/>
            <a:chExt cx="1518216" cy="1419809"/>
          </a:xfrm>
        </p:grpSpPr>
        <p:pic>
          <p:nvPicPr>
            <p:cNvPr id="8" name="Picture 7">
              <a:extLst>
                <a:ext uri="{FF2B5EF4-FFF2-40B4-BE49-F238E27FC236}">
                  <a16:creationId xmlns:a16="http://schemas.microsoft.com/office/drawing/2014/main" id="{8B65CE03-EC99-438C-9A79-E112B93889D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8917" b="94268" l="10000" r="90000">
                          <a14:foregroundMark x1="12222" y1="16561" x2="12222" y2="16561"/>
                          <a14:foregroundMark x1="60000" y1="10191" x2="60000" y2="10191"/>
                          <a14:foregroundMark x1="43333" y1="34395" x2="43333" y2="34395"/>
                          <a14:foregroundMark x1="68889" y1="35032" x2="68889" y2="35032"/>
                          <a14:foregroundMark x1="88889" y1="39490" x2="88889" y2="39490"/>
                          <a14:foregroundMark x1="88889" y1="55414" x2="88889" y2="55414"/>
                          <a14:foregroundMark x1="88889" y1="70064" x2="88889" y2="70064"/>
                          <a14:foregroundMark x1="88889" y1="85987" x2="88889" y2="85987"/>
                          <a14:foregroundMark x1="67778" y1="92994" x2="67778" y2="92994"/>
                          <a14:foregroundMark x1="43333" y1="94268" x2="43333" y2="94268"/>
                        </a14:backgroundRemoval>
                      </a14:imgEffect>
                    </a14:imgLayer>
                  </a14:imgProps>
                </a:ext>
              </a:extLst>
            </a:blip>
            <a:stretch>
              <a:fillRect/>
            </a:stretch>
          </p:blipFill>
          <p:spPr>
            <a:xfrm>
              <a:off x="10083454" y="1451407"/>
              <a:ext cx="559712" cy="976387"/>
            </a:xfrm>
            <a:prstGeom prst="rect">
              <a:avLst/>
            </a:prstGeom>
          </p:spPr>
        </p:pic>
        <p:pic>
          <p:nvPicPr>
            <p:cNvPr id="9" name="Picture 8" descr="A picture containing sitting, dark, white, sign&#10;&#10;Description automatically generated">
              <a:extLst>
                <a:ext uri="{FF2B5EF4-FFF2-40B4-BE49-F238E27FC236}">
                  <a16:creationId xmlns:a16="http://schemas.microsoft.com/office/drawing/2014/main" id="{334569AA-8B4F-4090-8E54-A9932703F9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4950" y="1397319"/>
              <a:ext cx="1419809" cy="1419809"/>
            </a:xfrm>
            <a:prstGeom prst="rect">
              <a:avLst/>
            </a:prstGeom>
          </p:spPr>
        </p:pic>
      </p:grpSp>
    </p:spTree>
    <p:extLst>
      <p:ext uri="{BB962C8B-B14F-4D97-AF65-F5344CB8AC3E}">
        <p14:creationId xmlns:p14="http://schemas.microsoft.com/office/powerpoint/2010/main" val="35322641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phic 14" descr="Database">
            <a:extLst>
              <a:ext uri="{FF2B5EF4-FFF2-40B4-BE49-F238E27FC236}">
                <a16:creationId xmlns:a16="http://schemas.microsoft.com/office/drawing/2014/main" id="{59F081BD-92F4-412B-B83D-EA53550AB9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9496" y="266824"/>
            <a:ext cx="5544952" cy="5544952"/>
          </a:xfrm>
          <a:prstGeom prst="rect">
            <a:avLst/>
          </a:prstGeom>
        </p:spPr>
      </p:pic>
      <p:grpSp>
        <p:nvGrpSpPr>
          <p:cNvPr id="6" name="Group 5">
            <a:extLst>
              <a:ext uri="{FF2B5EF4-FFF2-40B4-BE49-F238E27FC236}">
                <a16:creationId xmlns:a16="http://schemas.microsoft.com/office/drawing/2014/main" id="{C7E71DC5-7E2F-4700-A81C-6C689B01532D}"/>
              </a:ext>
            </a:extLst>
          </p:cNvPr>
          <p:cNvGrpSpPr/>
          <p:nvPr/>
        </p:nvGrpSpPr>
        <p:grpSpPr>
          <a:xfrm>
            <a:off x="9362215" y="1530555"/>
            <a:ext cx="2126031" cy="2459305"/>
            <a:chOff x="9179781" y="1549400"/>
            <a:chExt cx="2084799" cy="2362644"/>
          </a:xfrm>
        </p:grpSpPr>
        <p:grpSp>
          <p:nvGrpSpPr>
            <p:cNvPr id="26" name="Group 25">
              <a:extLst>
                <a:ext uri="{FF2B5EF4-FFF2-40B4-BE49-F238E27FC236}">
                  <a16:creationId xmlns:a16="http://schemas.microsoft.com/office/drawing/2014/main" id="{AB440101-6F6A-4544-85F3-8424073105AB}"/>
                </a:ext>
              </a:extLst>
            </p:cNvPr>
            <p:cNvGrpSpPr/>
            <p:nvPr/>
          </p:nvGrpSpPr>
          <p:grpSpPr>
            <a:xfrm>
              <a:off x="9179781" y="1549400"/>
              <a:ext cx="2084799" cy="2362644"/>
              <a:chOff x="9179781" y="1549400"/>
              <a:chExt cx="2084799" cy="2362644"/>
            </a:xfrm>
          </p:grpSpPr>
          <p:cxnSp>
            <p:nvCxnSpPr>
              <p:cNvPr id="27" name="Straight Connector 26">
                <a:extLst>
                  <a:ext uri="{FF2B5EF4-FFF2-40B4-BE49-F238E27FC236}">
                    <a16:creationId xmlns:a16="http://schemas.microsoft.com/office/drawing/2014/main" id="{57DFF6E4-F9F8-4C4A-A555-1FA790E96C3F}"/>
                  </a:ext>
                </a:extLst>
              </p:cNvPr>
              <p:cNvCxnSpPr>
                <a:cxnSpLocks/>
              </p:cNvCxnSpPr>
              <p:nvPr/>
            </p:nvCxnSpPr>
            <p:spPr>
              <a:xfrm flipV="1">
                <a:off x="9179781" y="1549400"/>
                <a:ext cx="0" cy="2362644"/>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642D2FA-C915-40B5-9491-A30DE485341C}"/>
                  </a:ext>
                </a:extLst>
              </p:cNvPr>
              <p:cNvSpPr txBox="1"/>
              <p:nvPr/>
            </p:nvSpPr>
            <p:spPr>
              <a:xfrm>
                <a:off x="9255175" y="2201373"/>
                <a:ext cx="2009405" cy="45060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Additional Transformations</a:t>
                </a:r>
              </a:p>
              <a:p>
                <a:pPr defTabSz="932504"/>
                <a:r>
                  <a:rPr lang="en-US" sz="1224">
                    <a:solidFill>
                      <a:prstClr val="black"/>
                    </a:solidFill>
                    <a:latin typeface="Segoe UI" panose="020B0502040204020203" pitchFamily="34" charset="0"/>
                    <a:cs typeface="Segoe UI" panose="020B0502040204020203" pitchFamily="34" charset="0"/>
                  </a:rPr>
                  <a:t>in the Power Query Editor</a:t>
                </a:r>
              </a:p>
            </p:txBody>
          </p:sp>
        </p:grpSp>
        <p:cxnSp>
          <p:nvCxnSpPr>
            <p:cNvPr id="20" name="Straight Connector 19">
              <a:extLst>
                <a:ext uri="{FF2B5EF4-FFF2-40B4-BE49-F238E27FC236}">
                  <a16:creationId xmlns:a16="http://schemas.microsoft.com/office/drawing/2014/main" id="{65BEDB62-BB86-4770-9586-C2BAAFDFF0B4}"/>
                </a:ext>
              </a:extLst>
            </p:cNvPr>
            <p:cNvCxnSpPr>
              <a:cxnSpLocks/>
            </p:cNvCxnSpPr>
            <p:nvPr/>
          </p:nvCxnSpPr>
          <p:spPr>
            <a:xfrm flipV="1">
              <a:off x="9179781" y="1915160"/>
              <a:ext cx="0" cy="1996883"/>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4E950FB-116C-46D4-9D1D-036760BDD779}"/>
              </a:ext>
            </a:extLst>
          </p:cNvPr>
          <p:cNvGrpSpPr/>
          <p:nvPr/>
        </p:nvGrpSpPr>
        <p:grpSpPr>
          <a:xfrm>
            <a:off x="4710449" y="3484278"/>
            <a:ext cx="8791575" cy="2240583"/>
            <a:chOff x="4618230" y="3416267"/>
            <a:chExt cx="8621074" cy="2197130"/>
          </a:xfrm>
        </p:grpSpPr>
        <p:sp>
          <p:nvSpPr>
            <p:cNvPr id="37" name="TextBox 36">
              <a:extLst>
                <a:ext uri="{FF2B5EF4-FFF2-40B4-BE49-F238E27FC236}">
                  <a16:creationId xmlns:a16="http://schemas.microsoft.com/office/drawing/2014/main" id="{580003CA-3E94-4F7E-A202-2621ADACBBEC}"/>
                </a:ext>
              </a:extLst>
            </p:cNvPr>
            <p:cNvSpPr txBox="1"/>
            <p:nvPr/>
          </p:nvSpPr>
          <p:spPr>
            <a:xfrm>
              <a:off x="4618230" y="4662173"/>
              <a:ext cx="1330685" cy="657488"/>
            </a:xfrm>
            <a:prstGeom prst="rect">
              <a:avLst/>
            </a:prstGeom>
            <a:noFill/>
          </p:spPr>
          <p:txBody>
            <a:bodyPr wrap="none" rtlCol="0">
              <a:spAutoFit/>
            </a:bodyPr>
            <a:lstStyle/>
            <a:p>
              <a:pPr defTabSz="932504"/>
              <a:r>
                <a:rPr lang="en-US" sz="1224">
                  <a:solidFill>
                    <a:prstClr val="black"/>
                  </a:solidFill>
                  <a:latin typeface="Segoe UI" panose="020B0502040204020203" pitchFamily="34" charset="0"/>
                  <a:cs typeface="Segoe UI" panose="020B0502040204020203" pitchFamily="34" charset="0"/>
                </a:rPr>
                <a:t>Written in</a:t>
              </a:r>
            </a:p>
            <a:p>
              <a:pPr defTabSz="932504"/>
              <a:r>
                <a:rPr lang="en-US" sz="1224">
                  <a:solidFill>
                    <a:prstClr val="black"/>
                  </a:solidFill>
                  <a:latin typeface="Segoe UI" panose="020B0502040204020203" pitchFamily="34" charset="0"/>
                  <a:cs typeface="Segoe UI" panose="020B0502040204020203" pitchFamily="34" charset="0"/>
                </a:rPr>
                <a:t>Source’s Native</a:t>
              </a:r>
            </a:p>
            <a:p>
              <a:pPr defTabSz="932504"/>
              <a:r>
                <a:rPr lang="en-US" sz="1224">
                  <a:solidFill>
                    <a:prstClr val="black"/>
                  </a:solidFill>
                  <a:latin typeface="Segoe UI" panose="020B0502040204020203" pitchFamily="34" charset="0"/>
                  <a:cs typeface="Segoe UI" panose="020B0502040204020203" pitchFamily="34" charset="0"/>
                </a:rPr>
                <a:t>Query Language</a:t>
              </a:r>
            </a:p>
          </p:txBody>
        </p:sp>
        <p:grpSp>
          <p:nvGrpSpPr>
            <p:cNvPr id="44" name="Group 43">
              <a:extLst>
                <a:ext uri="{FF2B5EF4-FFF2-40B4-BE49-F238E27FC236}">
                  <a16:creationId xmlns:a16="http://schemas.microsoft.com/office/drawing/2014/main" id="{AE40B32B-FF24-4CCB-8DC5-01917CF55F90}"/>
                </a:ext>
              </a:extLst>
            </p:cNvPr>
            <p:cNvGrpSpPr/>
            <p:nvPr/>
          </p:nvGrpSpPr>
          <p:grpSpPr>
            <a:xfrm>
              <a:off x="4715124" y="3416267"/>
              <a:ext cx="8524180" cy="2197130"/>
              <a:chOff x="4715124" y="3416267"/>
              <a:chExt cx="8524180" cy="2197130"/>
            </a:xfrm>
          </p:grpSpPr>
          <p:cxnSp>
            <p:nvCxnSpPr>
              <p:cNvPr id="17" name="Straight Connector 16">
                <a:extLst>
                  <a:ext uri="{FF2B5EF4-FFF2-40B4-BE49-F238E27FC236}">
                    <a16:creationId xmlns:a16="http://schemas.microsoft.com/office/drawing/2014/main" id="{AC5897C2-86E0-43E0-A3EA-CE834C3D8D40}"/>
                  </a:ext>
                </a:extLst>
              </p:cNvPr>
              <p:cNvCxnSpPr>
                <a:cxnSpLocks/>
              </p:cNvCxnSpPr>
              <p:nvPr/>
            </p:nvCxnSpPr>
            <p:spPr>
              <a:xfrm>
                <a:off x="4715124" y="4544170"/>
                <a:ext cx="1236497"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2BB154B-524C-4C12-A562-56E94A30A5A0}"/>
                  </a:ext>
                </a:extLst>
              </p:cNvPr>
              <p:cNvSpPr/>
              <p:nvPr/>
            </p:nvSpPr>
            <p:spPr>
              <a:xfrm>
                <a:off x="6011786" y="3995033"/>
                <a:ext cx="5398151" cy="161836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32504"/>
                <a:endParaRPr lang="en-US" sz="1836">
                  <a:solidFill>
                    <a:prstClr val="black"/>
                  </a:solidFill>
                  <a:latin typeface="Calibri" panose="020F0502020204030204"/>
                </a:endParaRPr>
              </a:p>
            </p:txBody>
          </p:sp>
          <p:sp>
            <p:nvSpPr>
              <p:cNvPr id="40" name="TextBox 39">
                <a:extLst>
                  <a:ext uri="{FF2B5EF4-FFF2-40B4-BE49-F238E27FC236}">
                    <a16:creationId xmlns:a16="http://schemas.microsoft.com/office/drawing/2014/main" id="{A4565DF8-4627-4875-9880-BF09E6C5E3FD}"/>
                  </a:ext>
                </a:extLst>
              </p:cNvPr>
              <p:cNvSpPr txBox="1"/>
              <p:nvPr/>
            </p:nvSpPr>
            <p:spPr>
              <a:xfrm>
                <a:off x="6155464" y="4134924"/>
                <a:ext cx="7083840" cy="1222642"/>
              </a:xfrm>
              <a:prstGeom prst="rect">
                <a:avLst/>
              </a:prstGeom>
              <a:noFill/>
            </p:spPr>
            <p:txBody>
              <a:bodyPr wrap="square" rtlCol="0">
                <a:spAutoFit/>
              </a:bodyPr>
              <a:lstStyle/>
              <a:p>
                <a:pPr defTabSz="932504"/>
                <a:r>
                  <a:rPr lang="en-US" sz="1224">
                    <a:solidFill>
                      <a:prstClr val="black"/>
                    </a:solidFill>
                    <a:latin typeface="Calibri" panose="020F0502020204030204"/>
                  </a:rPr>
                  <a:t>let</a:t>
                </a:r>
              </a:p>
              <a:p>
                <a:pPr defTabSz="932504"/>
                <a:r>
                  <a:rPr lang="en-US" sz="1224">
                    <a:solidFill>
                      <a:prstClr val="black"/>
                    </a:solidFill>
                    <a:latin typeface="Calibri" panose="020F0502020204030204"/>
                  </a:rPr>
                  <a:t>    Source = </a:t>
                </a:r>
                <a:r>
                  <a:rPr lang="en-US" sz="1224" err="1">
                    <a:solidFill>
                      <a:prstClr val="black"/>
                    </a:solidFill>
                    <a:latin typeface="Calibri" panose="020F0502020204030204"/>
                  </a:rPr>
                  <a:t>Sql.Database</a:t>
                </a:r>
                <a:r>
                  <a:rPr lang="en-US" sz="1224">
                    <a:solidFill>
                      <a:prstClr val="black"/>
                    </a:solidFill>
                    <a:latin typeface="Calibri" panose="020F0502020204030204"/>
                  </a:rPr>
                  <a:t>( "localhost", "AdventureWorksDW2017",</a:t>
                </a:r>
              </a:p>
              <a:p>
                <a:pPr defTabSz="932504"/>
                <a:r>
                  <a:rPr lang="en-US" sz="1224">
                    <a:solidFill>
                      <a:prstClr val="black"/>
                    </a:solidFill>
                    <a:latin typeface="Calibri" panose="020F0502020204030204"/>
                  </a:rPr>
                  <a:t>            [Query = "</a:t>
                </a:r>
                <a:r>
                  <a:rPr lang="en-US" sz="1224" u="sng">
                    <a:solidFill>
                      <a:prstClr val="black"/>
                    </a:solidFill>
                    <a:latin typeface="Calibri" panose="020F0502020204030204"/>
                  </a:rPr>
                  <a:t>select * from [</a:t>
                </a:r>
                <a:r>
                  <a:rPr lang="en-US" sz="1224" u="sng" err="1">
                    <a:solidFill>
                      <a:prstClr val="black"/>
                    </a:solidFill>
                    <a:latin typeface="Calibri" panose="020F0502020204030204"/>
                  </a:rPr>
                  <a:t>dbo</a:t>
                </a:r>
                <a:r>
                  <a:rPr lang="en-US" sz="1224" u="sng">
                    <a:solidFill>
                      <a:prstClr val="black"/>
                    </a:solidFill>
                    <a:latin typeface="Calibri" panose="020F0502020204030204"/>
                  </a:rPr>
                  <a:t>].[</a:t>
                </a:r>
                <a:r>
                  <a:rPr lang="en-US" sz="1224" u="sng" err="1">
                    <a:solidFill>
                      <a:prstClr val="black"/>
                    </a:solidFill>
                    <a:latin typeface="Calibri" panose="020F0502020204030204"/>
                  </a:rPr>
                  <a:t>DimCustomer</a:t>
                </a:r>
                <a:r>
                  <a:rPr lang="en-US" sz="1224" u="sng">
                    <a:solidFill>
                      <a:prstClr val="black"/>
                    </a:solidFill>
                    <a:latin typeface="Calibri" panose="020F0502020204030204"/>
                  </a:rPr>
                  <a:t>] where [Gender] = 'F'</a:t>
                </a:r>
                <a:r>
                  <a:rPr lang="en-US" sz="1224">
                    <a:solidFill>
                      <a:prstClr val="black"/>
                    </a:solidFill>
                    <a:latin typeface="Calibri" panose="020F0502020204030204"/>
                  </a:rPr>
                  <a:t>"]</a:t>
                </a:r>
              </a:p>
              <a:p>
                <a:pPr defTabSz="932504"/>
                <a:r>
                  <a:rPr lang="en-US" sz="1224">
                    <a:solidFill>
                      <a:prstClr val="black"/>
                    </a:solidFill>
                    <a:latin typeface="Calibri" panose="020F0502020204030204"/>
                  </a:rPr>
                  <a:t>        )</a:t>
                </a:r>
              </a:p>
              <a:p>
                <a:pPr defTabSz="932504"/>
                <a:r>
                  <a:rPr lang="en-US" sz="1224">
                    <a:solidFill>
                      <a:prstClr val="black"/>
                    </a:solidFill>
                    <a:latin typeface="Calibri" panose="020F0502020204030204"/>
                  </a:rPr>
                  <a:t>in</a:t>
                </a:r>
              </a:p>
              <a:p>
                <a:pPr defTabSz="932504"/>
                <a:r>
                  <a:rPr lang="en-US" sz="1224">
                    <a:solidFill>
                      <a:prstClr val="black"/>
                    </a:solidFill>
                    <a:latin typeface="Calibri" panose="020F0502020204030204"/>
                  </a:rPr>
                  <a:t>    Source</a:t>
                </a:r>
              </a:p>
            </p:txBody>
          </p:sp>
          <p:pic>
            <p:nvPicPr>
              <p:cNvPr id="43" name="Picture 42">
                <a:extLst>
                  <a:ext uri="{FF2B5EF4-FFF2-40B4-BE49-F238E27FC236}">
                    <a16:creationId xmlns:a16="http://schemas.microsoft.com/office/drawing/2014/main" id="{E3E24D96-B35D-41CA-A8C5-00410CE04D4F}"/>
                  </a:ext>
                </a:extLst>
              </p:cNvPr>
              <p:cNvPicPr>
                <a:picLocks noChangeAspect="1"/>
              </p:cNvPicPr>
              <p:nvPr/>
            </p:nvPicPr>
            <p:blipFill>
              <a:blip r:embed="rId4"/>
              <a:stretch>
                <a:fillRect/>
              </a:stretch>
            </p:blipFill>
            <p:spPr>
              <a:xfrm>
                <a:off x="5969426" y="3416267"/>
                <a:ext cx="5482869" cy="625179"/>
              </a:xfrm>
              <a:prstGeom prst="rect">
                <a:avLst/>
              </a:prstGeom>
              <a:ln>
                <a:solidFill>
                  <a:schemeClr val="tx1"/>
                </a:solidFill>
              </a:ln>
            </p:spPr>
          </p:pic>
        </p:grpSp>
      </p:grpSp>
      <p:pic>
        <p:nvPicPr>
          <p:cNvPr id="3" name="Picture 2">
            <a:extLst>
              <a:ext uri="{FF2B5EF4-FFF2-40B4-BE49-F238E27FC236}">
                <a16:creationId xmlns:a16="http://schemas.microsoft.com/office/drawing/2014/main" id="{BE1C4B3C-E6B3-45E0-B096-9BD5CD240CE4}"/>
              </a:ext>
            </a:extLst>
          </p:cNvPr>
          <p:cNvPicPr>
            <a:picLocks noChangeAspect="1"/>
          </p:cNvPicPr>
          <p:nvPr/>
        </p:nvPicPr>
        <p:blipFill>
          <a:blip r:embed="rId5"/>
          <a:stretch>
            <a:fillRect/>
          </a:stretch>
        </p:blipFill>
        <p:spPr>
          <a:xfrm>
            <a:off x="6131565" y="4133419"/>
            <a:ext cx="5504911" cy="1591891"/>
          </a:xfrm>
          <a:prstGeom prst="rect">
            <a:avLst/>
          </a:prstGeom>
        </p:spPr>
      </p:pic>
      <p:grpSp>
        <p:nvGrpSpPr>
          <p:cNvPr id="59" name="Group 58">
            <a:extLst>
              <a:ext uri="{FF2B5EF4-FFF2-40B4-BE49-F238E27FC236}">
                <a16:creationId xmlns:a16="http://schemas.microsoft.com/office/drawing/2014/main" id="{3CCD3E85-9A98-4558-809E-F763B7D16C01}"/>
              </a:ext>
            </a:extLst>
          </p:cNvPr>
          <p:cNvGrpSpPr/>
          <p:nvPr/>
        </p:nvGrpSpPr>
        <p:grpSpPr>
          <a:xfrm>
            <a:off x="5474122" y="128218"/>
            <a:ext cx="3917978" cy="2689496"/>
            <a:chOff x="5367094" y="125294"/>
            <a:chExt cx="3841994" cy="2637336"/>
          </a:xfrm>
        </p:grpSpPr>
        <p:grpSp>
          <p:nvGrpSpPr>
            <p:cNvPr id="56" name="Group 55">
              <a:extLst>
                <a:ext uri="{FF2B5EF4-FFF2-40B4-BE49-F238E27FC236}">
                  <a16:creationId xmlns:a16="http://schemas.microsoft.com/office/drawing/2014/main" id="{5FDB986D-B144-404D-AD44-FD1EE83C8F4A}"/>
                </a:ext>
              </a:extLst>
            </p:cNvPr>
            <p:cNvGrpSpPr/>
            <p:nvPr/>
          </p:nvGrpSpPr>
          <p:grpSpPr>
            <a:xfrm>
              <a:off x="5624500" y="125294"/>
              <a:ext cx="3584588" cy="2637336"/>
              <a:chOff x="5624500" y="125294"/>
              <a:chExt cx="3584588" cy="2637336"/>
            </a:xfrm>
          </p:grpSpPr>
          <p:grpSp>
            <p:nvGrpSpPr>
              <p:cNvPr id="42" name="Group 41">
                <a:extLst>
                  <a:ext uri="{FF2B5EF4-FFF2-40B4-BE49-F238E27FC236}">
                    <a16:creationId xmlns:a16="http://schemas.microsoft.com/office/drawing/2014/main" id="{A25AC311-51F7-4EF4-B158-12E78E638A56}"/>
                  </a:ext>
                </a:extLst>
              </p:cNvPr>
              <p:cNvGrpSpPr/>
              <p:nvPr/>
            </p:nvGrpSpPr>
            <p:grpSpPr>
              <a:xfrm>
                <a:off x="5811152" y="125294"/>
                <a:ext cx="3397936" cy="2637336"/>
                <a:chOff x="5811152" y="125294"/>
                <a:chExt cx="3397936" cy="2637336"/>
              </a:xfrm>
            </p:grpSpPr>
            <p:cxnSp>
              <p:nvCxnSpPr>
                <p:cNvPr id="34" name="Straight Connector 33">
                  <a:extLst>
                    <a:ext uri="{FF2B5EF4-FFF2-40B4-BE49-F238E27FC236}">
                      <a16:creationId xmlns:a16="http://schemas.microsoft.com/office/drawing/2014/main" id="{B9A66F5A-12C5-4452-A378-5D85054766D3}"/>
                    </a:ext>
                  </a:extLst>
                </p:cNvPr>
                <p:cNvCxnSpPr>
                  <a:cxnSpLocks/>
                </p:cNvCxnSpPr>
                <p:nvPr/>
              </p:nvCxnSpPr>
              <p:spPr>
                <a:xfrm>
                  <a:off x="8229600" y="1490271"/>
                  <a:ext cx="979488" cy="0"/>
                </a:xfrm>
                <a:prstGeom prst="line">
                  <a:avLst/>
                </a:prstGeom>
                <a:ln w="571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9" name="Graphic 18" descr="Left Brain outline">
                  <a:extLst>
                    <a:ext uri="{FF2B5EF4-FFF2-40B4-BE49-F238E27FC236}">
                      <a16:creationId xmlns:a16="http://schemas.microsoft.com/office/drawing/2014/main" id="{9C3C0306-0EDD-4EC5-8886-E28E2CC5D7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1152" y="1848230"/>
                  <a:ext cx="914400" cy="914400"/>
                </a:xfrm>
                <a:prstGeom prst="rect">
                  <a:avLst/>
                </a:prstGeom>
              </p:spPr>
            </p:pic>
            <p:grpSp>
              <p:nvGrpSpPr>
                <p:cNvPr id="29" name="Group 28">
                  <a:extLst>
                    <a:ext uri="{FF2B5EF4-FFF2-40B4-BE49-F238E27FC236}">
                      <a16:creationId xmlns:a16="http://schemas.microsoft.com/office/drawing/2014/main" id="{26483A26-2A0F-444A-AA2A-F969445D39C4}"/>
                    </a:ext>
                  </a:extLst>
                </p:cNvPr>
                <p:cNvGrpSpPr/>
                <p:nvPr/>
              </p:nvGrpSpPr>
              <p:grpSpPr>
                <a:xfrm>
                  <a:off x="6303634" y="421994"/>
                  <a:ext cx="1472338" cy="1493166"/>
                  <a:chOff x="6694664" y="829871"/>
                  <a:chExt cx="1472338" cy="1493166"/>
                </a:xfrm>
              </p:grpSpPr>
              <p:pic>
                <p:nvPicPr>
                  <p:cNvPr id="11" name="Graphic 10" descr="Packing Box Open outline">
                    <a:extLst>
                      <a:ext uri="{FF2B5EF4-FFF2-40B4-BE49-F238E27FC236}">
                        <a16:creationId xmlns:a16="http://schemas.microsoft.com/office/drawing/2014/main" id="{3EFD6262-8DEB-4A25-91C9-FC3890FBEF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664" y="829871"/>
                    <a:ext cx="914400" cy="914400"/>
                  </a:xfrm>
                  <a:prstGeom prst="rect">
                    <a:avLst/>
                  </a:prstGeom>
                </p:spPr>
              </p:pic>
              <p:pic>
                <p:nvPicPr>
                  <p:cNvPr id="22" name="Graphic 21" descr="Table outline">
                    <a:extLst>
                      <a:ext uri="{FF2B5EF4-FFF2-40B4-BE49-F238E27FC236}">
                        <a16:creationId xmlns:a16="http://schemas.microsoft.com/office/drawing/2014/main" id="{E46FB668-5349-45ED-96F4-64FB9B4514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2602" y="1408637"/>
                    <a:ext cx="914400" cy="914400"/>
                  </a:xfrm>
                  <a:prstGeom prst="rect">
                    <a:avLst/>
                  </a:prstGeom>
                </p:spPr>
              </p:pic>
              <p:pic>
                <p:nvPicPr>
                  <p:cNvPr id="46" name="Graphic 45" descr="Line arrow: Counter-clockwise curve">
                    <a:extLst>
                      <a:ext uri="{FF2B5EF4-FFF2-40B4-BE49-F238E27FC236}">
                        <a16:creationId xmlns:a16="http://schemas.microsoft.com/office/drawing/2014/main" id="{C53DE139-66DF-46FC-A110-00C68E1213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9690130">
                    <a:off x="7046163" y="973723"/>
                    <a:ext cx="768347" cy="768943"/>
                  </a:xfrm>
                  <a:prstGeom prst="rect">
                    <a:avLst/>
                  </a:prstGeom>
                </p:spPr>
              </p:pic>
            </p:grpSp>
            <p:pic>
              <p:nvPicPr>
                <p:cNvPr id="24" name="Graphic 23" descr="Line arrow: Counter-clockwise curve">
                  <a:extLst>
                    <a:ext uri="{FF2B5EF4-FFF2-40B4-BE49-F238E27FC236}">
                      <a16:creationId xmlns:a16="http://schemas.microsoft.com/office/drawing/2014/main" id="{D99FECB6-73AE-4116-94CC-3A5E2DF81A7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332697" flipH="1" flipV="1">
                  <a:off x="6072025" y="1040784"/>
                  <a:ext cx="759685" cy="946778"/>
                </a:xfrm>
                <a:prstGeom prst="rect">
                  <a:avLst/>
                </a:prstGeom>
              </p:spPr>
            </p:pic>
            <p:pic>
              <p:nvPicPr>
                <p:cNvPr id="31" name="Graphic 30" descr="Line arrow: Counter-clockwise curve">
                  <a:extLst>
                    <a:ext uri="{FF2B5EF4-FFF2-40B4-BE49-F238E27FC236}">
                      <a16:creationId xmlns:a16="http://schemas.microsoft.com/office/drawing/2014/main" id="{E1F34224-AA6B-4973-8EC2-612E33E1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3537459">
                  <a:off x="6546245" y="1483192"/>
                  <a:ext cx="898036" cy="1017848"/>
                </a:xfrm>
                <a:prstGeom prst="rect">
                  <a:avLst/>
                </a:prstGeom>
              </p:spPr>
            </p:pic>
            <p:sp>
              <p:nvSpPr>
                <p:cNvPr id="32" name="TextBox 31">
                  <a:extLst>
                    <a:ext uri="{FF2B5EF4-FFF2-40B4-BE49-F238E27FC236}">
                      <a16:creationId xmlns:a16="http://schemas.microsoft.com/office/drawing/2014/main" id="{9436E12F-CC5E-4E33-A984-B16E4FAD06D4}"/>
                    </a:ext>
                  </a:extLst>
                </p:cNvPr>
                <p:cNvSpPr txBox="1"/>
                <p:nvPr/>
              </p:nvSpPr>
              <p:spPr>
                <a:xfrm>
                  <a:off x="6566730" y="2296995"/>
                  <a:ext cx="1086369" cy="413675"/>
                </a:xfrm>
                <a:prstGeom prst="rect">
                  <a:avLst/>
                </a:prstGeom>
                <a:noFill/>
              </p:spPr>
              <p:txBody>
                <a:bodyPr wrap="none" rtlCol="0">
                  <a:spAutoFit/>
                </a:bodyPr>
                <a:lstStyle/>
                <a:p>
                  <a:pPr defTabSz="932504"/>
                  <a:r>
                    <a:rPr lang="en-US" sz="1071">
                      <a:solidFill>
                        <a:prstClr val="black"/>
                      </a:solidFill>
                      <a:latin typeface="Segoe UI" panose="020B0502040204020203" pitchFamily="34" charset="0"/>
                      <a:cs typeface="Segoe UI" panose="020B0502040204020203" pitchFamily="34" charset="0"/>
                    </a:rPr>
                    <a:t>Transformation</a:t>
                  </a:r>
                </a:p>
                <a:p>
                  <a:pPr defTabSz="932504"/>
                  <a:r>
                    <a:rPr lang="en-US" sz="1071">
                      <a:solidFill>
                        <a:prstClr val="black"/>
                      </a:solidFill>
                      <a:latin typeface="Segoe UI" panose="020B0502040204020203" pitchFamily="34" charset="0"/>
                      <a:cs typeface="Segoe UI" panose="020B0502040204020203" pitchFamily="34" charset="0"/>
                    </a:rPr>
                    <a:t>Logic</a:t>
                  </a:r>
                </a:p>
              </p:txBody>
            </p:sp>
            <p:sp>
              <p:nvSpPr>
                <p:cNvPr id="41" name="TextBox 40">
                  <a:extLst>
                    <a:ext uri="{FF2B5EF4-FFF2-40B4-BE49-F238E27FC236}">
                      <a16:creationId xmlns:a16="http://schemas.microsoft.com/office/drawing/2014/main" id="{118A355D-2C85-4527-90B8-C9FEC1B8F771}"/>
                    </a:ext>
                  </a:extLst>
                </p:cNvPr>
                <p:cNvSpPr txBox="1"/>
                <p:nvPr/>
              </p:nvSpPr>
              <p:spPr>
                <a:xfrm>
                  <a:off x="5960964" y="125294"/>
                  <a:ext cx="1584291" cy="280718"/>
                </a:xfrm>
                <a:prstGeom prst="rect">
                  <a:avLst/>
                </a:prstGeom>
                <a:noFill/>
              </p:spPr>
              <p:txBody>
                <a:bodyPr wrap="square" rtlCol="0">
                  <a:spAutoFit/>
                </a:bodyPr>
                <a:lstStyle/>
                <a:p>
                  <a:pPr algn="ctr" defTabSz="932504"/>
                  <a:r>
                    <a:rPr lang="en-US" sz="1224">
                      <a:solidFill>
                        <a:prstClr val="black"/>
                      </a:solidFill>
                      <a:latin typeface="Segoe UI Semibold" panose="020B0702040204020203" pitchFamily="34" charset="0"/>
                      <a:cs typeface="Segoe UI Semibold" panose="020B0702040204020203" pitchFamily="34" charset="0"/>
                    </a:rPr>
                    <a:t>Mashup Engine</a:t>
                  </a:r>
                </a:p>
              </p:txBody>
            </p:sp>
          </p:grpSp>
          <p:sp>
            <p:nvSpPr>
              <p:cNvPr id="55" name="TextBox 54">
                <a:extLst>
                  <a:ext uri="{FF2B5EF4-FFF2-40B4-BE49-F238E27FC236}">
                    <a16:creationId xmlns:a16="http://schemas.microsoft.com/office/drawing/2014/main" id="{1E66A2F2-5F76-47EE-B555-54FE6D162BF3}"/>
                  </a:ext>
                </a:extLst>
              </p:cNvPr>
              <p:cNvSpPr txBox="1"/>
              <p:nvPr/>
            </p:nvSpPr>
            <p:spPr>
              <a:xfrm>
                <a:off x="5624500" y="628733"/>
                <a:ext cx="774572" cy="563167"/>
              </a:xfrm>
              <a:prstGeom prst="rect">
                <a:avLst/>
              </a:prstGeom>
              <a:noFill/>
            </p:spPr>
            <p:txBody>
              <a:bodyPr wrap="none" rtlCol="0">
                <a:spAutoFit/>
              </a:bodyPr>
              <a:lstStyle/>
              <a:p>
                <a:pPr algn="ctr" defTabSz="932504"/>
                <a:r>
                  <a:rPr lang="en-US" sz="1071">
                    <a:solidFill>
                      <a:prstClr val="black"/>
                    </a:solidFill>
                    <a:latin typeface="Segoe UI" panose="020B0502040204020203" pitchFamily="34" charset="0"/>
                    <a:cs typeface="Segoe UI" panose="020B0502040204020203" pitchFamily="34" charset="0"/>
                  </a:rPr>
                  <a:t>256 Mb</a:t>
                </a:r>
              </a:p>
              <a:p>
                <a:pPr algn="ctr" defTabSz="932504"/>
                <a:r>
                  <a:rPr lang="en-US" sz="1071">
                    <a:solidFill>
                      <a:prstClr val="black"/>
                    </a:solidFill>
                    <a:latin typeface="Segoe UI" panose="020B0502040204020203" pitchFamily="34" charset="0"/>
                    <a:cs typeface="Segoe UI" panose="020B0502040204020203" pitchFamily="34" charset="0"/>
                  </a:rPr>
                  <a:t>Container</a:t>
                </a:r>
              </a:p>
              <a:p>
                <a:pPr algn="ctr" defTabSz="932504"/>
                <a:r>
                  <a:rPr lang="en-US" sz="918">
                    <a:solidFill>
                      <a:prstClr val="black"/>
                    </a:solidFill>
                    <a:latin typeface="Segoe UI" panose="020B0502040204020203" pitchFamily="34" charset="0"/>
                    <a:cs typeface="Segoe UI" panose="020B0502040204020203" pitchFamily="34" charset="0"/>
                  </a:rPr>
                  <a:t>(Storage)</a:t>
                </a:r>
              </a:p>
            </p:txBody>
          </p:sp>
        </p:grpSp>
        <p:sp>
          <p:nvSpPr>
            <p:cNvPr id="57" name="Rectangle 56">
              <a:extLst>
                <a:ext uri="{FF2B5EF4-FFF2-40B4-BE49-F238E27FC236}">
                  <a16:creationId xmlns:a16="http://schemas.microsoft.com/office/drawing/2014/main" id="{2909200C-5949-498F-97CF-064BB70BF26B}"/>
                </a:ext>
              </a:extLst>
            </p:cNvPr>
            <p:cNvSpPr/>
            <p:nvPr/>
          </p:nvSpPr>
          <p:spPr>
            <a:xfrm>
              <a:off x="5367094" y="130879"/>
              <a:ext cx="2772030" cy="260793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4"/>
              <a:endParaRPr lang="en-US" sz="1836">
                <a:solidFill>
                  <a:prstClr val="white"/>
                </a:solidFill>
                <a:latin typeface="Calibri" panose="020F0502020204030204"/>
              </a:endParaRPr>
            </a:p>
          </p:txBody>
        </p:sp>
      </p:grpSp>
    </p:spTree>
    <p:extLst>
      <p:ext uri="{BB962C8B-B14F-4D97-AF65-F5344CB8AC3E}">
        <p14:creationId xmlns:p14="http://schemas.microsoft.com/office/powerpoint/2010/main" val="298238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1000"/>
                                        <p:tgtEl>
                                          <p:spTgt spid="6"/>
                                        </p:tgtEl>
                                      </p:cBhvr>
                                    </p:animEffect>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right)">
                                      <p:cBhvr>
                                        <p:cTn id="20" dur="1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sp>
        <p:nvSpPr>
          <p:cNvPr id="11" name="TextBox 10">
            <a:extLst>
              <a:ext uri="{FF2B5EF4-FFF2-40B4-BE49-F238E27FC236}">
                <a16:creationId xmlns:a16="http://schemas.microsoft.com/office/drawing/2014/main" id="{47A88098-CE97-4E78-827D-7437F7E189E6}"/>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12" name="TextBox 11">
            <a:extLst>
              <a:ext uri="{FF2B5EF4-FFF2-40B4-BE49-F238E27FC236}">
                <a16:creationId xmlns:a16="http://schemas.microsoft.com/office/drawing/2014/main" id="{5AD6F86F-44A9-43D0-B579-CAF1D6C10211}"/>
              </a:ext>
            </a:extLst>
          </p:cNvPr>
          <p:cNvSpPr txBox="1"/>
          <p:nvPr/>
        </p:nvSpPr>
        <p:spPr>
          <a:xfrm>
            <a:off x="10413746" y="6698341"/>
            <a:ext cx="1912511" cy="188385"/>
          </a:xfrm>
          <a:prstGeom prst="rect">
            <a:avLst/>
          </a:prstGeom>
          <a:noFill/>
        </p:spPr>
        <p:txBody>
          <a:bodyPr wrap="none" lIns="0" tIns="0" rIns="0" bIns="0" rtlCol="0">
            <a:spAutoFit/>
          </a:bodyPr>
          <a:lstStyle/>
          <a:p>
            <a:pPr defTabSz="932504"/>
            <a:r>
              <a:rPr lang="en-US" sz="1224" dirty="0">
                <a:gradFill>
                  <a:gsLst>
                    <a:gs pos="2917">
                      <a:prstClr val="black"/>
                    </a:gs>
                    <a:gs pos="30000">
                      <a:prstClr val="black"/>
                    </a:gs>
                  </a:gsLst>
                  <a:lin ang="5400000" scaled="0"/>
                </a:gradFill>
              </a:rPr>
              <a:t>* Every Scenario is Different</a:t>
            </a:r>
          </a:p>
        </p:txBody>
      </p:sp>
      <p:grpSp>
        <p:nvGrpSpPr>
          <p:cNvPr id="14" name="Group 13">
            <a:extLst>
              <a:ext uri="{FF2B5EF4-FFF2-40B4-BE49-F238E27FC236}">
                <a16:creationId xmlns:a16="http://schemas.microsoft.com/office/drawing/2014/main" id="{11952C96-310E-CEFD-9CFE-6C2F1F9B0E2B}"/>
              </a:ext>
            </a:extLst>
          </p:cNvPr>
          <p:cNvGrpSpPr/>
          <p:nvPr/>
        </p:nvGrpSpPr>
        <p:grpSpPr>
          <a:xfrm>
            <a:off x="600780" y="1463040"/>
            <a:ext cx="7105013" cy="4736675"/>
            <a:chOff x="600856" y="1463668"/>
            <a:chExt cx="7105920" cy="4737280"/>
          </a:xfrm>
        </p:grpSpPr>
        <p:graphicFrame>
          <p:nvGraphicFramePr>
            <p:cNvPr id="15" name="Diagram 14">
              <a:extLst>
                <a:ext uri="{FF2B5EF4-FFF2-40B4-BE49-F238E27FC236}">
                  <a16:creationId xmlns:a16="http://schemas.microsoft.com/office/drawing/2014/main" id="{2C5690BC-FACB-3733-E199-C3FC0F11D9E6}"/>
                </a:ext>
              </a:extLst>
            </p:cNvPr>
            <p:cNvGraphicFramePr/>
            <p:nvPr>
              <p:extLst>
                <p:ext uri="{D42A27DB-BD31-4B8C-83A1-F6EECF244321}">
                  <p14:modId xmlns:p14="http://schemas.microsoft.com/office/powerpoint/2010/main" val="4109702305"/>
                </p:ext>
              </p:extLst>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Isosceles Triangle 16">
              <a:extLst>
                <a:ext uri="{FF2B5EF4-FFF2-40B4-BE49-F238E27FC236}">
                  <a16:creationId xmlns:a16="http://schemas.microsoft.com/office/drawing/2014/main" id="{8136AF6F-9DC5-ED2A-6A9F-0A8937966801}"/>
                </a:ext>
              </a:extLst>
            </p:cNvPr>
            <p:cNvSpPr/>
            <p:nvPr/>
          </p:nvSpPr>
          <p:spPr bwMode="auto">
            <a:xfrm rot="10800000">
              <a:off x="3704103" y="5593228"/>
              <a:ext cx="907983" cy="594354"/>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246311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ecommended Practices</a:t>
            </a:r>
          </a:p>
        </p:txBody>
      </p:sp>
      <p:grpSp>
        <p:nvGrpSpPr>
          <p:cNvPr id="7" name="Group 6">
            <a:extLst>
              <a:ext uri="{FF2B5EF4-FFF2-40B4-BE49-F238E27FC236}">
                <a16:creationId xmlns:a16="http://schemas.microsoft.com/office/drawing/2014/main" id="{3978680E-9725-4756-9EAA-DE22E173E35E}"/>
              </a:ext>
            </a:extLst>
          </p:cNvPr>
          <p:cNvGrpSpPr/>
          <p:nvPr/>
        </p:nvGrpSpPr>
        <p:grpSpPr>
          <a:xfrm>
            <a:off x="600780" y="1463040"/>
            <a:ext cx="7105013" cy="4736675"/>
            <a:chOff x="600856" y="1463668"/>
            <a:chExt cx="7105920" cy="4737280"/>
          </a:xfrm>
        </p:grpSpPr>
        <p:graphicFrame>
          <p:nvGraphicFramePr>
            <p:cNvPr id="8" name="Diagram 7">
              <a:extLst>
                <a:ext uri="{FF2B5EF4-FFF2-40B4-BE49-F238E27FC236}">
                  <a16:creationId xmlns:a16="http://schemas.microsoft.com/office/drawing/2014/main" id="{59083E48-3B7F-47BA-80D2-0EE4EBA46B9A}"/>
                </a:ext>
              </a:extLst>
            </p:cNvPr>
            <p:cNvGraphicFramePr/>
            <p:nvPr/>
          </p:nvGraphicFramePr>
          <p:xfrm>
            <a:off x="600856" y="1463668"/>
            <a:ext cx="7105920" cy="4737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EE1FC10-BB62-4343-B924-3C3AA4491417}"/>
                </a:ext>
              </a:extLst>
            </p:cNvPr>
            <p:cNvGrpSpPr/>
            <p:nvPr/>
          </p:nvGrpSpPr>
          <p:grpSpPr>
            <a:xfrm>
              <a:off x="3704103" y="5593228"/>
              <a:ext cx="2005937" cy="594354"/>
              <a:chOff x="1267941" y="5689318"/>
              <a:chExt cx="14765341" cy="4305729"/>
            </a:xfrm>
          </p:grpSpPr>
          <p:sp>
            <p:nvSpPr>
              <p:cNvPr id="11" name="Isosceles Triangle 10">
                <a:extLst>
                  <a:ext uri="{FF2B5EF4-FFF2-40B4-BE49-F238E27FC236}">
                    <a16:creationId xmlns:a16="http://schemas.microsoft.com/office/drawing/2014/main" id="{0074389D-C84A-4A21-AC1B-A1F3D7FA5669}"/>
                  </a:ext>
                </a:extLst>
              </p:cNvPr>
              <p:cNvSpPr/>
              <p:nvPr/>
            </p:nvSpPr>
            <p:spPr bwMode="auto">
              <a:xfrm rot="10800000">
                <a:off x="1267941" y="5689318"/>
                <a:ext cx="6683499" cy="4305729"/>
              </a:xfrm>
              <a:prstGeom prst="triangle">
                <a:avLst/>
              </a:prstGeom>
              <a:solidFill>
                <a:srgbClr val="FFC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62567464-1935-4317-9108-D8CBB569C304}"/>
                  </a:ext>
                </a:extLst>
              </p:cNvPr>
              <p:cNvSpPr txBox="1"/>
              <p:nvPr/>
            </p:nvSpPr>
            <p:spPr>
              <a:xfrm>
                <a:off x="7262332" y="7842186"/>
                <a:ext cx="8770950" cy="1391901"/>
              </a:xfrm>
              <a:prstGeom prst="rect">
                <a:avLst/>
              </a:prstGeom>
              <a:noFill/>
            </p:spPr>
            <p:txBody>
              <a:bodyPr wrap="square" lIns="0" tIns="0" rIns="0" bIns="0" rtlCol="0">
                <a:spAutoFit/>
              </a:bodyPr>
              <a:lstStyle/>
              <a:p>
                <a:pPr algn="l"/>
                <a:r>
                  <a:rPr lang="en-US" sz="1224"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Data you need.</a:t>
                </a:r>
              </a:p>
            </p:txBody>
          </p:sp>
        </p:grpSp>
      </p:grpSp>
      <p:sp>
        <p:nvSpPr>
          <p:cNvPr id="2" name="TextBox 1">
            <a:extLst>
              <a:ext uri="{FF2B5EF4-FFF2-40B4-BE49-F238E27FC236}">
                <a16:creationId xmlns:a16="http://schemas.microsoft.com/office/drawing/2014/main" id="{1CC9E136-F54A-411F-9541-61B043DEF41A}"/>
              </a:ext>
            </a:extLst>
          </p:cNvPr>
          <p:cNvSpPr txBox="1"/>
          <p:nvPr/>
        </p:nvSpPr>
        <p:spPr>
          <a:xfrm>
            <a:off x="7180448" y="2576693"/>
            <a:ext cx="4838832" cy="2134943"/>
          </a:xfrm>
          <a:prstGeom prst="rect">
            <a:avLst/>
          </a:prstGeom>
          <a:noFill/>
        </p:spPr>
        <p:txBody>
          <a:bodyPr wrap="square" lIns="0" tIns="0" rIns="0" bIns="0" rtlCol="0">
            <a:spAutoFit/>
          </a:bodyPr>
          <a:lstStyle/>
          <a:p>
            <a:pPr defTabSz="932504"/>
            <a:r>
              <a:rPr lang="en-US" sz="1428" b="1">
                <a:solidFill>
                  <a:prstClr val="black"/>
                </a:solidFill>
                <a:cs typeface="Leelawadee" panose="020B0502040204020203" pitchFamily="34" charset="-34"/>
              </a:rPr>
              <a:t>Transformations that can achieve query folding:</a:t>
            </a:r>
          </a:p>
          <a:p>
            <a:pPr defTabSz="932504"/>
            <a:r>
              <a:rPr lang="en-US" sz="1224">
                <a:solidFill>
                  <a:prstClr val="black"/>
                </a:solidFill>
                <a:cs typeface="Leelawadee" panose="020B0502040204020203" pitchFamily="34" charset="-34"/>
              </a:rPr>
              <a:t>Relational data source transformations that can be query folded are those that can be written as a single SELECT statement. A </a:t>
            </a:r>
            <a:r>
              <a:rPr lang="en-US" sz="1224" b="1">
                <a:solidFill>
                  <a:prstClr val="black"/>
                </a:solidFill>
                <a:cs typeface="Leelawadee" panose="020B0502040204020203" pitchFamily="34" charset="-34"/>
              </a:rPr>
              <a:t>SELECT</a:t>
            </a:r>
            <a:r>
              <a:rPr lang="en-US" sz="1224">
                <a:solidFill>
                  <a:prstClr val="black"/>
                </a:solidFill>
                <a:cs typeface="Leelawadee" panose="020B0502040204020203" pitchFamily="34" charset="-34"/>
              </a:rPr>
              <a:t> statement can be constructed with appropriate </a:t>
            </a:r>
            <a:r>
              <a:rPr lang="en-US" sz="1224" b="1">
                <a:solidFill>
                  <a:prstClr val="black"/>
                </a:solidFill>
                <a:cs typeface="Leelawadee" panose="020B0502040204020203" pitchFamily="34" charset="-34"/>
              </a:rPr>
              <a:t>WHERE</a:t>
            </a:r>
            <a:r>
              <a:rPr lang="en-US" sz="1224">
                <a:solidFill>
                  <a:prstClr val="black"/>
                </a:solidFill>
                <a:cs typeface="Leelawadee" panose="020B0502040204020203" pitchFamily="34" charset="-34"/>
              </a:rPr>
              <a:t>, </a:t>
            </a:r>
            <a:r>
              <a:rPr lang="en-US" sz="1224" b="1">
                <a:solidFill>
                  <a:prstClr val="black"/>
                </a:solidFill>
                <a:cs typeface="Leelawadee" panose="020B0502040204020203" pitchFamily="34" charset="-34"/>
              </a:rPr>
              <a:t>GROUP BY </a:t>
            </a:r>
            <a:r>
              <a:rPr lang="en-US" sz="1224">
                <a:solidFill>
                  <a:prstClr val="black"/>
                </a:solidFill>
                <a:cs typeface="Leelawadee" panose="020B0502040204020203" pitchFamily="34" charset="-34"/>
              </a:rPr>
              <a:t>and </a:t>
            </a:r>
            <a:r>
              <a:rPr lang="en-US" sz="1224" b="1">
                <a:solidFill>
                  <a:prstClr val="black"/>
                </a:solidFill>
                <a:cs typeface="Leelawadee" panose="020B0502040204020203" pitchFamily="34" charset="-34"/>
              </a:rPr>
              <a:t>JOIN</a:t>
            </a:r>
            <a:r>
              <a:rPr lang="en-US" sz="1224">
                <a:solidFill>
                  <a:prstClr val="black"/>
                </a:solidFill>
                <a:cs typeface="Leelawadee" panose="020B0502040204020203" pitchFamily="34" charset="-34"/>
              </a:rPr>
              <a:t> clauses. It can also contain column expressions (calculations) that use common built-in functions supported by SQL databases.</a:t>
            </a:r>
          </a:p>
          <a:p>
            <a:pPr defTabSz="932504"/>
            <a:endParaRPr lang="en-US" sz="1224">
              <a:solidFill>
                <a:prstClr val="black"/>
              </a:solidFill>
              <a:cs typeface="Leelawadee" panose="020B0502040204020203" pitchFamily="34" charset="-34"/>
            </a:endParaRPr>
          </a:p>
          <a:p>
            <a:pPr defTabSz="932504"/>
            <a:endParaRPr lang="en-US" sz="1224">
              <a:solidFill>
                <a:prstClr val="black"/>
              </a:solidFill>
              <a:cs typeface="Leelawadee" panose="020B0502040204020203" pitchFamily="34" charset="-34"/>
            </a:endParaRPr>
          </a:p>
          <a:p>
            <a:pPr defTabSz="932504"/>
            <a:r>
              <a:rPr lang="en-US" sz="1428" b="1">
                <a:solidFill>
                  <a:prstClr val="black"/>
                </a:solidFill>
                <a:cs typeface="Leelawadee" panose="020B0502040204020203" pitchFamily="34" charset="-34"/>
              </a:rPr>
              <a:t>Transformations that prevent query folding:</a:t>
            </a:r>
          </a:p>
          <a:p>
            <a:pPr defTabSz="932504"/>
            <a:r>
              <a:rPr lang="en-US" sz="1224">
                <a:solidFill>
                  <a:prstClr val="black"/>
                </a:solidFill>
                <a:cs typeface="Leelawadee" panose="020B0502040204020203" pitchFamily="34" charset="-34"/>
              </a:rPr>
              <a:t>Merging or appending queries based on different sources. The use of complex logic that have no equivalent functions in the data source.</a:t>
            </a:r>
          </a:p>
        </p:txBody>
      </p:sp>
      <p:sp>
        <p:nvSpPr>
          <p:cNvPr id="3" name="Isosceles Triangle 2">
            <a:extLst>
              <a:ext uri="{FF2B5EF4-FFF2-40B4-BE49-F238E27FC236}">
                <a16:creationId xmlns:a16="http://schemas.microsoft.com/office/drawing/2014/main" id="{FCE6285D-7541-4859-AA62-FA584FAB1695}"/>
              </a:ext>
            </a:extLst>
          </p:cNvPr>
          <p:cNvSpPr/>
          <p:nvPr/>
        </p:nvSpPr>
        <p:spPr bwMode="auto">
          <a:xfrm rot="10800000">
            <a:off x="878653" y="1809491"/>
            <a:ext cx="6563625" cy="4391446"/>
          </a:xfrm>
          <a:prstGeom prst="triangle">
            <a:avLst/>
          </a:prstGeom>
          <a:gradFill flip="none" rotWithShape="1">
            <a:gsLst>
              <a:gs pos="0">
                <a:srgbClr val="FFC000">
                  <a:alpha val="20000"/>
                </a:srgbClr>
              </a:gs>
              <a:gs pos="76000">
                <a:srgbClr val="FF0000">
                  <a:shade val="67500"/>
                  <a:satMod val="115000"/>
                </a:srgbClr>
              </a:gs>
              <a:gs pos="100000">
                <a:srgbClr val="FF0000">
                  <a:shade val="100000"/>
                  <a:satMod val="115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pPr>
            <a:endParaRPr lang="en-US" sz="204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 name="TextBox 4">
            <a:extLst>
              <a:ext uri="{FF2B5EF4-FFF2-40B4-BE49-F238E27FC236}">
                <a16:creationId xmlns:a16="http://schemas.microsoft.com/office/drawing/2014/main" id="{B2062909-0AFD-477D-A2E8-CBD8284CCA40}"/>
              </a:ext>
            </a:extLst>
          </p:cNvPr>
          <p:cNvSpPr txBox="1"/>
          <p:nvPr/>
        </p:nvSpPr>
        <p:spPr>
          <a:xfrm>
            <a:off x="2480756" y="1444033"/>
            <a:ext cx="3434595" cy="374846"/>
          </a:xfrm>
          <a:prstGeom prst="rect">
            <a:avLst/>
          </a:prstGeom>
          <a:noFill/>
        </p:spPr>
        <p:txBody>
          <a:bodyPr wrap="none" rtlCol="0">
            <a:spAutoFit/>
          </a:bodyPr>
          <a:lstStyle/>
          <a:p>
            <a:pPr defTabSz="932504"/>
            <a:r>
              <a:rPr lang="en-US" sz="1836" b="1" dirty="0">
                <a:solidFill>
                  <a:prstClr val="black"/>
                </a:solidFill>
                <a:latin typeface="Segoe UI" panose="020B0502040204020203" pitchFamily="34" charset="0"/>
                <a:cs typeface="Segoe UI" panose="020B0502040204020203" pitchFamily="34" charset="0"/>
              </a:rPr>
              <a:t>Non-Foldable Transformation</a:t>
            </a:r>
          </a:p>
        </p:txBody>
      </p:sp>
      <p:sp>
        <p:nvSpPr>
          <p:cNvPr id="6" name="TextBox 5">
            <a:extLst>
              <a:ext uri="{FF2B5EF4-FFF2-40B4-BE49-F238E27FC236}">
                <a16:creationId xmlns:a16="http://schemas.microsoft.com/office/drawing/2014/main" id="{B22D67FE-8787-4AA2-B41A-F489775A3742}"/>
              </a:ext>
            </a:extLst>
          </p:cNvPr>
          <p:cNvSpPr txBox="1"/>
          <p:nvPr/>
        </p:nvSpPr>
        <p:spPr>
          <a:xfrm>
            <a:off x="7560848" y="1652538"/>
            <a:ext cx="2393284" cy="313932"/>
          </a:xfrm>
          <a:prstGeom prst="rect">
            <a:avLst/>
          </a:prstGeom>
          <a:noFill/>
        </p:spPr>
        <p:txBody>
          <a:bodyPr wrap="none" lIns="0" tIns="0" rIns="0" bIns="0" rtlCol="0">
            <a:spAutoFit/>
          </a:bodyPr>
          <a:lstStyle/>
          <a:p>
            <a:pPr defTabSz="932504"/>
            <a:r>
              <a:rPr lang="en-US" sz="2040" dirty="0">
                <a:gradFill>
                  <a:gsLst>
                    <a:gs pos="2917">
                      <a:prstClr val="black"/>
                    </a:gs>
                    <a:gs pos="30000">
                      <a:prstClr val="black"/>
                    </a:gs>
                  </a:gsLst>
                  <a:lin ang="5400000" scaled="0"/>
                </a:gradFill>
                <a:latin typeface="+mj-lt"/>
                <a:cs typeface="Leelawadee" panose="020B0502040204020203" pitchFamily="34" charset="-34"/>
              </a:rPr>
              <a:t>- All Mashup Engine</a:t>
            </a:r>
          </a:p>
        </p:txBody>
      </p:sp>
      <p:sp>
        <p:nvSpPr>
          <p:cNvPr id="4" name="TextBox 3">
            <a:extLst>
              <a:ext uri="{FF2B5EF4-FFF2-40B4-BE49-F238E27FC236}">
                <a16:creationId xmlns:a16="http://schemas.microsoft.com/office/drawing/2014/main" id="{3A537867-72FC-297A-E715-2FEB132B18F0}"/>
              </a:ext>
            </a:extLst>
          </p:cNvPr>
          <p:cNvSpPr txBox="1"/>
          <p:nvPr/>
        </p:nvSpPr>
        <p:spPr>
          <a:xfrm>
            <a:off x="10413746" y="6698341"/>
            <a:ext cx="1912511" cy="188385"/>
          </a:xfrm>
          <a:prstGeom prst="rect">
            <a:avLst/>
          </a:prstGeom>
          <a:noFill/>
        </p:spPr>
        <p:txBody>
          <a:bodyPr wrap="none" lIns="0" tIns="0" rIns="0" bIns="0" rtlCol="0">
            <a:spAutoFit/>
          </a:bodyPr>
          <a:lstStyle/>
          <a:p>
            <a:pPr defTabSz="932504"/>
            <a:r>
              <a:rPr lang="en-US" sz="1224" dirty="0">
                <a:gradFill>
                  <a:gsLst>
                    <a:gs pos="2917">
                      <a:prstClr val="black"/>
                    </a:gs>
                    <a:gs pos="30000">
                      <a:prstClr val="black"/>
                    </a:gs>
                  </a:gsLst>
                  <a:lin ang="5400000" scaled="0"/>
                </a:gradFill>
              </a:rPr>
              <a:t>* Every Scenario is Different</a:t>
            </a:r>
          </a:p>
        </p:txBody>
      </p:sp>
    </p:spTree>
    <p:extLst>
      <p:ext uri="{BB962C8B-B14F-4D97-AF65-F5344CB8AC3E}">
        <p14:creationId xmlns:p14="http://schemas.microsoft.com/office/powerpoint/2010/main" val="266038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0"/>
                                        <p:tgtEl>
                                          <p:spTgt spid="3"/>
                                        </p:tgtEl>
                                      </p:cBhvr>
                                    </p:animEffect>
                                  </p:childTnLst>
                                </p:cTn>
                              </p:par>
                            </p:childTnLst>
                          </p:cTn>
                        </p:par>
                        <p:par>
                          <p:cTn id="8" fill="hold">
                            <p:stCondLst>
                              <p:cond delay="50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301596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line chart. The X axis is labeled “Time.” The Y axis is labeled “The percentage of the problems that can be solved.” The percentage of the problems that can be solved increases with the time, with percentages starting from 40%, 60%, 80%, 95%, 99%, and 99.99%. Six speech bubbles represent the maturity stages. The first one at the bottom-left part of the line chart is labeled “UI only.” The second one is labeled “Lightweight editing in the formula bar.” Then comes “M in custom columns.” Next is “Custom functions and the Advanced Editor.” Next is “Advanced iterations (List.Accumulate and List.Generate).” The final bubble is labeled “Free-form coding in the Advanced Editor.”">
            <a:extLst>
              <a:ext uri="{FF2B5EF4-FFF2-40B4-BE49-F238E27FC236}">
                <a16:creationId xmlns:a16="http://schemas.microsoft.com/office/drawing/2014/main" id="{A68E3B8E-0D3D-4FF7-8A08-C6CBE90C4F3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bwMode="auto">
          <a:xfrm>
            <a:off x="4775975" y="1824409"/>
            <a:ext cx="7243191" cy="33457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descr="See the source image">
            <a:extLst>
              <a:ext uri="{FF2B5EF4-FFF2-40B4-BE49-F238E27FC236}">
                <a16:creationId xmlns:a16="http://schemas.microsoft.com/office/drawing/2014/main" id="{32B11BA0-EB07-470A-AEC3-ACC3E89C62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9717" y="1487897"/>
            <a:ext cx="3211010" cy="39262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ower Query Skills</a:t>
            </a:r>
          </a:p>
        </p:txBody>
      </p:sp>
    </p:spTree>
    <p:extLst>
      <p:ext uri="{BB962C8B-B14F-4D97-AF65-F5344CB8AC3E}">
        <p14:creationId xmlns:p14="http://schemas.microsoft.com/office/powerpoint/2010/main" val="14358619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662587" y="1820457"/>
            <a:ext cx="11037879" cy="3353610"/>
          </a:xfrm>
        </p:spPr>
        <p:txBody>
          <a:bodyPr/>
          <a:lstStyle/>
          <a:p>
            <a:r>
              <a:rPr lang="en-US" sz="6730">
                <a:latin typeface="Segoe UI Black" panose="020B0A02040204020203" pitchFamily="34" charset="0"/>
                <a:ea typeface="Segoe UI Black" panose="020B0A02040204020203" pitchFamily="34" charset="0"/>
              </a:rPr>
              <a:t>THE DAY AFTER</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DASHBOARD </a:t>
            </a:r>
            <a:br>
              <a:rPr lang="en-US" sz="6730">
                <a:latin typeface="Segoe UI Black" panose="020B0A02040204020203" pitchFamily="34" charset="0"/>
                <a:ea typeface="Segoe UI Black" panose="020B0A02040204020203" pitchFamily="34" charset="0"/>
              </a:rPr>
            </a:br>
            <a:r>
              <a:rPr lang="en-US" sz="6730">
                <a:latin typeface="Segoe UI Black" panose="020B0A02040204020203" pitchFamily="34" charset="0"/>
                <a:ea typeface="Segoe UI Black" panose="020B0A02040204020203" pitchFamily="34" charset="0"/>
              </a:rPr>
              <a:t>IN A DAY</a:t>
            </a:r>
            <a:br>
              <a:rPr lang="en-US" sz="6730"/>
            </a:br>
            <a:r>
              <a:rPr lang="en-US" sz="1600"/>
              <a:t>* Technically it was a report</a:t>
            </a:r>
            <a:endParaRPr lang="en-US" sz="3264"/>
          </a:p>
        </p:txBody>
      </p:sp>
    </p:spTree>
    <p:extLst>
      <p:ext uri="{BB962C8B-B14F-4D97-AF65-F5344CB8AC3E}">
        <p14:creationId xmlns:p14="http://schemas.microsoft.com/office/powerpoint/2010/main" val="39469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6" y="1536839"/>
            <a:ext cx="9728888" cy="2245655"/>
          </a:xfrm>
        </p:spPr>
        <p:txBody>
          <a:bodyPr>
            <a:normAutofit/>
          </a:bodyPr>
          <a:lstStyle/>
          <a:p>
            <a:pPr marL="466251" indent="-466251">
              <a:buFont typeface="+mj-lt"/>
              <a:buAutoNum type="arabicPeriod"/>
            </a:pPr>
            <a:r>
              <a:rPr lang="en-US" sz="2448" dirty="0">
                <a:latin typeface="Segoe UI" panose="020B0502040204020203" pitchFamily="34" charset="0"/>
              </a:rPr>
              <a:t>“As far upstream as possible, as far downstream as necessary.”</a:t>
            </a:r>
          </a:p>
          <a:p>
            <a:pPr marL="466251" indent="-466251">
              <a:buFont typeface="+mj-lt"/>
              <a:buAutoNum type="arabicPeriod"/>
            </a:pPr>
            <a:r>
              <a:rPr lang="en-US" sz="2448" dirty="0">
                <a:latin typeface="Segoe UI" panose="020B0502040204020203" pitchFamily="34" charset="0"/>
              </a:rPr>
              <a:t>Spending hours, to save seconds on refresh times is a cost-benefit analysis of your time.</a:t>
            </a:r>
          </a:p>
          <a:p>
            <a:pPr marL="466251" indent="-466251">
              <a:buFont typeface="+mj-lt"/>
              <a:buAutoNum type="arabicPeriod"/>
            </a:pPr>
            <a:r>
              <a:rPr lang="en-US" sz="2448" dirty="0">
                <a:latin typeface="Segoe UI" panose="020B0502040204020203" pitchFamily="34" charset="0"/>
              </a:rPr>
              <a:t>Always default to the GUI first and the code last.</a:t>
            </a:r>
          </a:p>
          <a:p>
            <a:pPr marL="466251" indent="-466251">
              <a:buFont typeface="+mj-lt"/>
              <a:buAutoNum type="arabicPeriod"/>
            </a:pPr>
            <a:r>
              <a:rPr lang="en-US" sz="2448" dirty="0">
                <a:latin typeface="Segoe UI" panose="020B0502040204020203" pitchFamily="34" charset="0"/>
              </a:rPr>
              <a:t>Power Query </a:t>
            </a:r>
            <a:r>
              <a:rPr lang="en-US" sz="2448" b="1" u="sng" dirty="0">
                <a:latin typeface="Segoe UI" panose="020B0502040204020203" pitchFamily="34" charset="0"/>
              </a:rPr>
              <a:t>is</a:t>
            </a:r>
            <a:r>
              <a:rPr lang="en-US" sz="2448" dirty="0">
                <a:latin typeface="Segoe UI" panose="020B0502040204020203" pitchFamily="34" charset="0"/>
              </a:rPr>
              <a:t> a transferrable skillse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Preparation</a:t>
            </a:r>
          </a:p>
        </p:txBody>
      </p:sp>
    </p:spTree>
    <p:extLst>
      <p:ext uri="{BB962C8B-B14F-4D97-AF65-F5344CB8AC3E}">
        <p14:creationId xmlns:p14="http://schemas.microsoft.com/office/powerpoint/2010/main" val="16611026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441045078"/>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solidFill>
                            <a:srgbClr val="000000"/>
                          </a:solidFill>
                          <a:effectLst/>
                          <a:uLnTx/>
                          <a:uFillTx/>
                          <a:latin typeface="Segoe UI Bold"/>
                          <a:ea typeface="Times New Roman" panose="02020603050405020304" pitchFamily="18" charset="0"/>
                          <a:cs typeface="Segoe UI Bold"/>
                        </a:rPr>
                        <a:t>Data Modeling</a:t>
                      </a:r>
                      <a:endParaRPr lang="en-US" sz="1800">
                        <a:solidFill>
                          <a:srgbClr val="000000"/>
                        </a:solidFill>
                        <a:latin typeface="Segoe UI Bold"/>
                        <a:cs typeface="Segoe UI Bold"/>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solidFill>
                            <a:srgbClr val="000000"/>
                          </a:solidFill>
                          <a:effectLst/>
                          <a:uLnTx/>
                          <a:uFillTx/>
                          <a:latin typeface="Segoe UI Semibold"/>
                          <a:ea typeface="Times New Roman" panose="02020603050405020304" pitchFamily="18" charset="0"/>
                          <a:cs typeface="Segoe UI"/>
                        </a:rPr>
                        <a:t>Objective:</a:t>
                      </a:r>
                      <a:endParaRPr lang="en-US" sz="1600">
                        <a:solidFill>
                          <a:srgbClr val="000000"/>
                        </a:solidFill>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pPr marL="0" marR="0" lvl="0" indent="0" algn="l" rtl="0">
                        <a:lnSpc>
                          <a:spcPct val="100000"/>
                        </a:lnSpc>
                        <a:spcBef>
                          <a:spcPts val="0"/>
                        </a:spcBef>
                        <a:spcAft>
                          <a:spcPts val="0"/>
                        </a:spcAft>
                        <a:buClrTx/>
                        <a:buSzTx/>
                        <a:buFontTx/>
                        <a:buNone/>
                      </a:pPr>
                      <a:r>
                        <a:rPr lang="en-US" sz="3200" b="0" i="0" u="none" strike="noStrike" kern="1200" cap="none" spc="-51" normalizeH="0" baseline="0" noProof="0">
                          <a:ln w="3175">
                            <a:noFill/>
                          </a:ln>
                          <a:solidFill>
                            <a:srgbClr val="000000"/>
                          </a:solidFill>
                          <a:effectLst/>
                          <a:uLnTx/>
                          <a:uFillTx/>
                          <a:latin typeface="+mn-lt"/>
                          <a:ea typeface="+mn-ea"/>
                          <a:cs typeface="Segoe UI"/>
                        </a:rPr>
                        <a:t>Schema types </a:t>
                      </a:r>
                      <a:r>
                        <a:rPr lang="en-US" sz="3200" b="0" i="0" u="none" strike="noStrike" kern="1200" cap="none" spc="-51" normalizeH="0" baseline="0" noProof="0">
                          <a:ln w="3175">
                            <a:noFill/>
                          </a:ln>
                          <a:effectLst/>
                          <a:uLnTx/>
                          <a:uFillTx/>
                          <a:latin typeface="Segoe UI Semibold"/>
                        </a:rPr>
                        <a:t>(Performance)</a:t>
                      </a:r>
                      <a:endParaRPr kumimoji="0" lang="en-US" sz="3200" b="0" i="0" u="none" strike="noStrike" kern="1200" cap="none" spc="-51" normalizeH="0" baseline="0" noProof="0">
                        <a:ln w="3175">
                          <a:noFill/>
                        </a:ln>
                        <a:solidFill>
                          <a:srgbClr val="000000"/>
                        </a:soli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lang="en-US" sz="3200" b="0" i="0" u="none" strike="noStrike" kern="1200" cap="none" spc="-51" normalizeH="0" baseline="0" noProof="0">
                          <a:ln w="3175">
                            <a:noFill/>
                          </a:ln>
                          <a:solidFill>
                            <a:srgbClr val="000000"/>
                          </a:solidFill>
                          <a:effectLst/>
                          <a:uLnTx/>
                          <a:uFillTx/>
                          <a:latin typeface="+mn-lt"/>
                          <a:ea typeface="+mn-ea"/>
                          <a:cs typeface="Segoe UI"/>
                        </a:rPr>
                        <a:t>Design decisions </a:t>
                      </a:r>
                      <a:r>
                        <a:rPr lang="en-US" sz="3200" b="0" i="0" u="none" strike="noStrike" kern="1200" cap="none" spc="-51" normalizeH="0" baseline="0" noProof="0">
                          <a:ln w="3175">
                            <a:noFill/>
                          </a:ln>
                          <a:solidFill>
                            <a:schemeClr val="tx1"/>
                          </a:solidFill>
                          <a:effectLst/>
                          <a:uLnTx/>
                          <a:uFillTx/>
                          <a:latin typeface="Segoe UI Semibold"/>
                          <a:ea typeface="+mn-ea"/>
                          <a:cs typeface="+mn-cs"/>
                        </a:rPr>
                        <a:t>(Usability)</a:t>
                      </a: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r h="579046">
                <a:tc>
                  <a:txBody>
                    <a:bodyPr/>
                    <a:lstStyle/>
                    <a:p>
                      <a:pPr lvl="0">
                        <a:buNone/>
                      </a:pPr>
                      <a:r>
                        <a:rPr lang="en-US" sz="3200" b="0" i="0" u="none" strike="noStrike" kern="1200" cap="none" spc="-51" normalizeH="0" baseline="0" noProof="0">
                          <a:ln w="3175">
                            <a:noFill/>
                          </a:ln>
                          <a:solidFill>
                            <a:srgbClr val="000000"/>
                          </a:solidFill>
                          <a:effectLst/>
                          <a:uLnTx/>
                          <a:uFillTx/>
                          <a:latin typeface="Segoe UI"/>
                        </a:rPr>
                        <a:t>Shared datasets </a:t>
                      </a:r>
                      <a:r>
                        <a:rPr lang="en-US" sz="3200" b="0" i="0" u="none" strike="noStrike" kern="1200" cap="none" spc="-51" normalizeH="0" baseline="0" noProof="0">
                          <a:ln w="3175">
                            <a:noFill/>
                          </a:ln>
                          <a:solidFill>
                            <a:schemeClr val="tx1"/>
                          </a:solidFill>
                          <a:effectLst/>
                          <a:uLnTx/>
                          <a:uFillTx/>
                          <a:latin typeface="Segoe UI Semibold"/>
                        </a:rPr>
                        <a:t>(Agility)</a:t>
                      </a:r>
                      <a:endParaRPr lang="en-US" sz="1800"/>
                    </a:p>
                  </a:txBody>
                  <a:tcPr marL="91428" marR="91428" marT="45714" marB="45714">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680772042"/>
                  </a:ext>
                </a:extLst>
              </a:tr>
            </a:tbl>
          </a:graphicData>
        </a:graphic>
      </p:graphicFrame>
    </p:spTree>
    <p:extLst>
      <p:ext uri="{BB962C8B-B14F-4D97-AF65-F5344CB8AC3E}">
        <p14:creationId xmlns:p14="http://schemas.microsoft.com/office/powerpoint/2010/main" val="242725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Block Arc 94" hidden="1">
            <a:extLst>
              <a:ext uri="{FF2B5EF4-FFF2-40B4-BE49-F238E27FC236}">
                <a16:creationId xmlns:a16="http://schemas.microsoft.com/office/drawing/2014/main" id="{1162D6EE-6FD3-42C1-99BF-9B2ACF0999E9}"/>
              </a:ext>
            </a:extLst>
          </p:cNvPr>
          <p:cNvSpPr/>
          <p:nvPr>
            <p:custDataLst>
              <p:tags r:id="rId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6" name="Block Arc 95" hidden="1">
            <a:extLst>
              <a:ext uri="{FF2B5EF4-FFF2-40B4-BE49-F238E27FC236}">
                <a16:creationId xmlns:a16="http://schemas.microsoft.com/office/drawing/2014/main" id="{7B97D9A5-04A3-4CB4-85D9-ADB6AA353873}"/>
              </a:ext>
            </a:extLst>
          </p:cNvPr>
          <p:cNvSpPr/>
          <p:nvPr>
            <p:custDataLst>
              <p:tags r:id="rId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7" name="Block Arc 96" hidden="1">
            <a:extLst>
              <a:ext uri="{FF2B5EF4-FFF2-40B4-BE49-F238E27FC236}">
                <a16:creationId xmlns:a16="http://schemas.microsoft.com/office/drawing/2014/main" id="{24FEEDC1-CDA1-447C-8559-7439DE688B56}"/>
              </a:ext>
            </a:extLst>
          </p:cNvPr>
          <p:cNvSpPr/>
          <p:nvPr>
            <p:custDataLst>
              <p:tags r:id="rId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8" name="Block Arc 97" hidden="1">
            <a:extLst>
              <a:ext uri="{FF2B5EF4-FFF2-40B4-BE49-F238E27FC236}">
                <a16:creationId xmlns:a16="http://schemas.microsoft.com/office/drawing/2014/main" id="{1DFD6E16-2ABE-4085-88FC-42A3DA8C7ECA}"/>
              </a:ext>
            </a:extLst>
          </p:cNvPr>
          <p:cNvSpPr/>
          <p:nvPr>
            <p:custDataLst>
              <p:tags r:id="rId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99" name="Block Arc 98" hidden="1">
            <a:extLst>
              <a:ext uri="{FF2B5EF4-FFF2-40B4-BE49-F238E27FC236}">
                <a16:creationId xmlns:a16="http://schemas.microsoft.com/office/drawing/2014/main" id="{3662AB96-0E9F-414D-BFA7-845DF49C952C}"/>
              </a:ext>
            </a:extLst>
          </p:cNvPr>
          <p:cNvSpPr/>
          <p:nvPr>
            <p:custDataLst>
              <p:tags r:id="rId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0" name="Block Arc 99" hidden="1">
            <a:extLst>
              <a:ext uri="{FF2B5EF4-FFF2-40B4-BE49-F238E27FC236}">
                <a16:creationId xmlns:a16="http://schemas.microsoft.com/office/drawing/2014/main" id="{C1C34D3F-8A3A-4BD1-AC93-F8D17C35D168}"/>
              </a:ext>
            </a:extLst>
          </p:cNvPr>
          <p:cNvSpPr/>
          <p:nvPr>
            <p:custDataLst>
              <p:tags r:id="rId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1" name="Block Arc 100" hidden="1">
            <a:extLst>
              <a:ext uri="{FF2B5EF4-FFF2-40B4-BE49-F238E27FC236}">
                <a16:creationId xmlns:a16="http://schemas.microsoft.com/office/drawing/2014/main" id="{BC681B99-B800-4181-BF30-08DB48C0392E}"/>
              </a:ext>
            </a:extLst>
          </p:cNvPr>
          <p:cNvSpPr/>
          <p:nvPr>
            <p:custDataLst>
              <p:tags r:id="rId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2" name="Block Arc 101" hidden="1">
            <a:extLst>
              <a:ext uri="{FF2B5EF4-FFF2-40B4-BE49-F238E27FC236}">
                <a16:creationId xmlns:a16="http://schemas.microsoft.com/office/drawing/2014/main" id="{BCB9B485-4ECE-421B-BD45-4F903C337C7F}"/>
              </a:ext>
            </a:extLst>
          </p:cNvPr>
          <p:cNvSpPr/>
          <p:nvPr>
            <p:custDataLst>
              <p:tags r:id="rId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3" name="Block Arc 102" hidden="1">
            <a:extLst>
              <a:ext uri="{FF2B5EF4-FFF2-40B4-BE49-F238E27FC236}">
                <a16:creationId xmlns:a16="http://schemas.microsoft.com/office/drawing/2014/main" id="{0D9ADCB5-BD35-4148-8467-2CBAC03EAB70}"/>
              </a:ext>
            </a:extLst>
          </p:cNvPr>
          <p:cNvSpPr/>
          <p:nvPr>
            <p:custDataLst>
              <p:tags r:id="rId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4" name="Block Arc 103" hidden="1">
            <a:extLst>
              <a:ext uri="{FF2B5EF4-FFF2-40B4-BE49-F238E27FC236}">
                <a16:creationId xmlns:a16="http://schemas.microsoft.com/office/drawing/2014/main" id="{4FA57394-10C3-438A-BE96-407B42DB9B44}"/>
              </a:ext>
            </a:extLst>
          </p:cNvPr>
          <p:cNvSpPr/>
          <p:nvPr>
            <p:custDataLst>
              <p:tags r:id="rId1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5" name="Block Arc 104" hidden="1">
            <a:extLst>
              <a:ext uri="{FF2B5EF4-FFF2-40B4-BE49-F238E27FC236}">
                <a16:creationId xmlns:a16="http://schemas.microsoft.com/office/drawing/2014/main" id="{4F975FA0-2435-4C98-8060-83896E152F6C}"/>
              </a:ext>
            </a:extLst>
          </p:cNvPr>
          <p:cNvSpPr/>
          <p:nvPr>
            <p:custDataLst>
              <p:tags r:id="rId1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6" name="Block Arc 105" hidden="1">
            <a:extLst>
              <a:ext uri="{FF2B5EF4-FFF2-40B4-BE49-F238E27FC236}">
                <a16:creationId xmlns:a16="http://schemas.microsoft.com/office/drawing/2014/main" id="{D3082C14-C7C0-4665-A497-1B2514397908}"/>
              </a:ext>
            </a:extLst>
          </p:cNvPr>
          <p:cNvSpPr/>
          <p:nvPr>
            <p:custDataLst>
              <p:tags r:id="rId1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7" name="Block Arc 106" hidden="1">
            <a:extLst>
              <a:ext uri="{FF2B5EF4-FFF2-40B4-BE49-F238E27FC236}">
                <a16:creationId xmlns:a16="http://schemas.microsoft.com/office/drawing/2014/main" id="{123964DB-A82C-4B85-BBE5-4C935E082982}"/>
              </a:ext>
            </a:extLst>
          </p:cNvPr>
          <p:cNvSpPr/>
          <p:nvPr>
            <p:custDataLst>
              <p:tags r:id="rId1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8" name="Block Arc 107" hidden="1">
            <a:extLst>
              <a:ext uri="{FF2B5EF4-FFF2-40B4-BE49-F238E27FC236}">
                <a16:creationId xmlns:a16="http://schemas.microsoft.com/office/drawing/2014/main" id="{9D735CD0-6E35-49C8-BB44-C7C7A7F907CC}"/>
              </a:ext>
            </a:extLst>
          </p:cNvPr>
          <p:cNvSpPr/>
          <p:nvPr>
            <p:custDataLst>
              <p:tags r:id="rId1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09" name="Block Arc 108" hidden="1">
            <a:extLst>
              <a:ext uri="{FF2B5EF4-FFF2-40B4-BE49-F238E27FC236}">
                <a16:creationId xmlns:a16="http://schemas.microsoft.com/office/drawing/2014/main" id="{70B08550-BAE7-40F0-902A-048EFD351E12}"/>
              </a:ext>
            </a:extLst>
          </p:cNvPr>
          <p:cNvSpPr/>
          <p:nvPr>
            <p:custDataLst>
              <p:tags r:id="rId1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0" name="Block Arc 109" hidden="1">
            <a:extLst>
              <a:ext uri="{FF2B5EF4-FFF2-40B4-BE49-F238E27FC236}">
                <a16:creationId xmlns:a16="http://schemas.microsoft.com/office/drawing/2014/main" id="{9C1E2226-7E09-457A-966C-4CFCC3735CC1}"/>
              </a:ext>
            </a:extLst>
          </p:cNvPr>
          <p:cNvSpPr/>
          <p:nvPr>
            <p:custDataLst>
              <p:tags r:id="rId1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1" name="Block Arc 110" hidden="1">
            <a:extLst>
              <a:ext uri="{FF2B5EF4-FFF2-40B4-BE49-F238E27FC236}">
                <a16:creationId xmlns:a16="http://schemas.microsoft.com/office/drawing/2014/main" id="{705F0503-C0D5-4133-9903-99D05AE21735}"/>
              </a:ext>
            </a:extLst>
          </p:cNvPr>
          <p:cNvSpPr/>
          <p:nvPr>
            <p:custDataLst>
              <p:tags r:id="rId1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2" name="Block Arc 111" hidden="1">
            <a:extLst>
              <a:ext uri="{FF2B5EF4-FFF2-40B4-BE49-F238E27FC236}">
                <a16:creationId xmlns:a16="http://schemas.microsoft.com/office/drawing/2014/main" id="{2FA4CFC7-D597-4802-8F35-3CCA8380969F}"/>
              </a:ext>
            </a:extLst>
          </p:cNvPr>
          <p:cNvSpPr/>
          <p:nvPr>
            <p:custDataLst>
              <p:tags r:id="rId1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3" name="Block Arc 112" hidden="1">
            <a:extLst>
              <a:ext uri="{FF2B5EF4-FFF2-40B4-BE49-F238E27FC236}">
                <a16:creationId xmlns:a16="http://schemas.microsoft.com/office/drawing/2014/main" id="{A5E31708-44AE-4D34-B9A8-9D5CA24BCE68}"/>
              </a:ext>
            </a:extLst>
          </p:cNvPr>
          <p:cNvSpPr/>
          <p:nvPr>
            <p:custDataLst>
              <p:tags r:id="rId1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4" name="Block Arc 113" hidden="1">
            <a:extLst>
              <a:ext uri="{FF2B5EF4-FFF2-40B4-BE49-F238E27FC236}">
                <a16:creationId xmlns:a16="http://schemas.microsoft.com/office/drawing/2014/main" id="{222A97E4-5DBE-40DA-BD1E-A7CEDCA36942}"/>
              </a:ext>
            </a:extLst>
          </p:cNvPr>
          <p:cNvSpPr/>
          <p:nvPr>
            <p:custDataLst>
              <p:tags r:id="rId2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5" name="Block Arc 114" hidden="1">
            <a:extLst>
              <a:ext uri="{FF2B5EF4-FFF2-40B4-BE49-F238E27FC236}">
                <a16:creationId xmlns:a16="http://schemas.microsoft.com/office/drawing/2014/main" id="{63008478-645B-4C59-880E-ADD8CDB7CB4B}"/>
              </a:ext>
            </a:extLst>
          </p:cNvPr>
          <p:cNvSpPr/>
          <p:nvPr>
            <p:custDataLst>
              <p:tags r:id="rId2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6" name="Block Arc 115" hidden="1">
            <a:extLst>
              <a:ext uri="{FF2B5EF4-FFF2-40B4-BE49-F238E27FC236}">
                <a16:creationId xmlns:a16="http://schemas.microsoft.com/office/drawing/2014/main" id="{9460470F-E2D8-4DCE-A2A0-CCAD8531A1BE}"/>
              </a:ext>
            </a:extLst>
          </p:cNvPr>
          <p:cNvSpPr/>
          <p:nvPr>
            <p:custDataLst>
              <p:tags r:id="rId2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7" name="Block Arc 116" hidden="1">
            <a:extLst>
              <a:ext uri="{FF2B5EF4-FFF2-40B4-BE49-F238E27FC236}">
                <a16:creationId xmlns:a16="http://schemas.microsoft.com/office/drawing/2014/main" id="{C7133458-865F-433B-9929-AC132F322B0E}"/>
              </a:ext>
            </a:extLst>
          </p:cNvPr>
          <p:cNvSpPr/>
          <p:nvPr>
            <p:custDataLst>
              <p:tags r:id="rId2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8" name="Block Arc 117" hidden="1">
            <a:extLst>
              <a:ext uri="{FF2B5EF4-FFF2-40B4-BE49-F238E27FC236}">
                <a16:creationId xmlns:a16="http://schemas.microsoft.com/office/drawing/2014/main" id="{42DF98ED-7FDD-44DE-B61E-A434A9750518}"/>
              </a:ext>
            </a:extLst>
          </p:cNvPr>
          <p:cNvSpPr/>
          <p:nvPr>
            <p:custDataLst>
              <p:tags r:id="rId2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19" name="Block Arc 118" hidden="1">
            <a:extLst>
              <a:ext uri="{FF2B5EF4-FFF2-40B4-BE49-F238E27FC236}">
                <a16:creationId xmlns:a16="http://schemas.microsoft.com/office/drawing/2014/main" id="{403D86B6-5830-44A9-A48E-3E57317DD086}"/>
              </a:ext>
            </a:extLst>
          </p:cNvPr>
          <p:cNvSpPr/>
          <p:nvPr>
            <p:custDataLst>
              <p:tags r:id="rId2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0" name="Block Arc 119" hidden="1">
            <a:extLst>
              <a:ext uri="{FF2B5EF4-FFF2-40B4-BE49-F238E27FC236}">
                <a16:creationId xmlns:a16="http://schemas.microsoft.com/office/drawing/2014/main" id="{B39108DA-1467-48A3-B9B6-038503388BC9}"/>
              </a:ext>
            </a:extLst>
          </p:cNvPr>
          <p:cNvSpPr/>
          <p:nvPr>
            <p:custDataLst>
              <p:tags r:id="rId2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1" name="Block Arc 120" hidden="1">
            <a:extLst>
              <a:ext uri="{FF2B5EF4-FFF2-40B4-BE49-F238E27FC236}">
                <a16:creationId xmlns:a16="http://schemas.microsoft.com/office/drawing/2014/main" id="{FF2532BB-8BAD-4840-839F-6A76813F763C}"/>
              </a:ext>
            </a:extLst>
          </p:cNvPr>
          <p:cNvSpPr/>
          <p:nvPr>
            <p:custDataLst>
              <p:tags r:id="rId2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2" name="Block Arc 121" hidden="1">
            <a:extLst>
              <a:ext uri="{FF2B5EF4-FFF2-40B4-BE49-F238E27FC236}">
                <a16:creationId xmlns:a16="http://schemas.microsoft.com/office/drawing/2014/main" id="{0A7FA621-308B-4CC1-8982-C6B84D1C9B47}"/>
              </a:ext>
            </a:extLst>
          </p:cNvPr>
          <p:cNvSpPr/>
          <p:nvPr>
            <p:custDataLst>
              <p:tags r:id="rId2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3" name="Block Arc 122" hidden="1">
            <a:extLst>
              <a:ext uri="{FF2B5EF4-FFF2-40B4-BE49-F238E27FC236}">
                <a16:creationId xmlns:a16="http://schemas.microsoft.com/office/drawing/2014/main" id="{D4B98175-0F5E-4CF8-B39D-64F2F89DA93C}"/>
              </a:ext>
            </a:extLst>
          </p:cNvPr>
          <p:cNvSpPr/>
          <p:nvPr>
            <p:custDataLst>
              <p:tags r:id="rId2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4" name="Block Arc 123" hidden="1">
            <a:extLst>
              <a:ext uri="{FF2B5EF4-FFF2-40B4-BE49-F238E27FC236}">
                <a16:creationId xmlns:a16="http://schemas.microsoft.com/office/drawing/2014/main" id="{628AC05B-71E1-46D0-8E08-9616BB62C57B}"/>
              </a:ext>
            </a:extLst>
          </p:cNvPr>
          <p:cNvSpPr/>
          <p:nvPr>
            <p:custDataLst>
              <p:tags r:id="rId3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5" name="Block Arc 124" hidden="1">
            <a:extLst>
              <a:ext uri="{FF2B5EF4-FFF2-40B4-BE49-F238E27FC236}">
                <a16:creationId xmlns:a16="http://schemas.microsoft.com/office/drawing/2014/main" id="{6A621EE6-2B68-4087-80B2-993E81BB5DB8}"/>
              </a:ext>
            </a:extLst>
          </p:cNvPr>
          <p:cNvSpPr/>
          <p:nvPr>
            <p:custDataLst>
              <p:tags r:id="rId31"/>
            </p:custDataLst>
          </p:nvPr>
        </p:nvSpPr>
        <p:spPr bwMode="auto">
          <a:xfrm rot="1095349">
            <a:off x="1632729" y="1101294"/>
            <a:ext cx="4649470" cy="4649470"/>
          </a:xfrm>
          <a:prstGeom prst="blockArc">
            <a:avLst>
              <a:gd name="adj1" fmla="val 0"/>
              <a:gd name="adj2" fmla="val 21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6" name="Block Arc 125" hidden="1">
            <a:extLst>
              <a:ext uri="{FF2B5EF4-FFF2-40B4-BE49-F238E27FC236}">
                <a16:creationId xmlns:a16="http://schemas.microsoft.com/office/drawing/2014/main" id="{29855B02-5840-4768-A3A5-0279AA5D6570}"/>
              </a:ext>
            </a:extLst>
          </p:cNvPr>
          <p:cNvSpPr/>
          <p:nvPr>
            <p:custDataLst>
              <p:tags r:id="rId32"/>
            </p:custDataLst>
          </p:nvPr>
        </p:nvSpPr>
        <p:spPr bwMode="auto">
          <a:xfrm rot="1095349">
            <a:off x="1632729" y="1101294"/>
            <a:ext cx="4649470" cy="4649470"/>
          </a:xfrm>
          <a:prstGeom prst="blockArc">
            <a:avLst>
              <a:gd name="adj1" fmla="val 216000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7" name="Block Arc 126" hidden="1">
            <a:extLst>
              <a:ext uri="{FF2B5EF4-FFF2-40B4-BE49-F238E27FC236}">
                <a16:creationId xmlns:a16="http://schemas.microsoft.com/office/drawing/2014/main" id="{78A30BDC-4F76-456A-A8AB-419F9AC7223D}"/>
              </a:ext>
            </a:extLst>
          </p:cNvPr>
          <p:cNvSpPr/>
          <p:nvPr>
            <p:custDataLst>
              <p:tags r:id="rId33"/>
            </p:custDataLst>
          </p:nvPr>
        </p:nvSpPr>
        <p:spPr bwMode="auto">
          <a:xfrm rot="1095349">
            <a:off x="1632729" y="1101294"/>
            <a:ext cx="4649470" cy="4649470"/>
          </a:xfrm>
          <a:prstGeom prst="blockArc">
            <a:avLst>
              <a:gd name="adj1" fmla="val 4320000"/>
              <a:gd name="adj2" fmla="val 64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8" name="Block Arc 127" hidden="1">
            <a:extLst>
              <a:ext uri="{FF2B5EF4-FFF2-40B4-BE49-F238E27FC236}">
                <a16:creationId xmlns:a16="http://schemas.microsoft.com/office/drawing/2014/main" id="{0F9F2246-2EE4-41BA-9141-8DA3F07AFA4E}"/>
              </a:ext>
            </a:extLst>
          </p:cNvPr>
          <p:cNvSpPr/>
          <p:nvPr>
            <p:custDataLst>
              <p:tags r:id="rId34"/>
            </p:custDataLst>
          </p:nvPr>
        </p:nvSpPr>
        <p:spPr bwMode="auto">
          <a:xfrm rot="1095349">
            <a:off x="1632729" y="1101294"/>
            <a:ext cx="4649470" cy="4649470"/>
          </a:xfrm>
          <a:prstGeom prst="blockArc">
            <a:avLst>
              <a:gd name="adj1" fmla="val 648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9" name="Block Arc 128" hidden="1">
            <a:extLst>
              <a:ext uri="{FF2B5EF4-FFF2-40B4-BE49-F238E27FC236}">
                <a16:creationId xmlns:a16="http://schemas.microsoft.com/office/drawing/2014/main" id="{01C0D98B-2D85-4CEA-B92C-BDAF86E497A2}"/>
              </a:ext>
            </a:extLst>
          </p:cNvPr>
          <p:cNvSpPr/>
          <p:nvPr>
            <p:custDataLst>
              <p:tags r:id="rId35"/>
            </p:custDataLst>
          </p:nvPr>
        </p:nvSpPr>
        <p:spPr bwMode="auto">
          <a:xfrm rot="1095349">
            <a:off x="1632729" y="1101294"/>
            <a:ext cx="4649470" cy="4649470"/>
          </a:xfrm>
          <a:prstGeom prst="blockArc">
            <a:avLst>
              <a:gd name="adj1" fmla="val 8640000"/>
              <a:gd name="adj2" fmla="val 1080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0" name="Block Arc 129" hidden="1">
            <a:extLst>
              <a:ext uri="{FF2B5EF4-FFF2-40B4-BE49-F238E27FC236}">
                <a16:creationId xmlns:a16="http://schemas.microsoft.com/office/drawing/2014/main" id="{E554A65C-4426-4F4D-BCDD-076C85A3906D}"/>
              </a:ext>
            </a:extLst>
          </p:cNvPr>
          <p:cNvSpPr/>
          <p:nvPr>
            <p:custDataLst>
              <p:tags r:id="rId36"/>
            </p:custDataLst>
          </p:nvPr>
        </p:nvSpPr>
        <p:spPr bwMode="auto">
          <a:xfrm rot="1095349">
            <a:off x="1632729" y="1101294"/>
            <a:ext cx="4649470" cy="4649470"/>
          </a:xfrm>
          <a:prstGeom prst="blockArc">
            <a:avLst>
              <a:gd name="adj1" fmla="val 1080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1" name="Block Arc 130" hidden="1">
            <a:extLst>
              <a:ext uri="{FF2B5EF4-FFF2-40B4-BE49-F238E27FC236}">
                <a16:creationId xmlns:a16="http://schemas.microsoft.com/office/drawing/2014/main" id="{023FFDBF-F2D0-457A-AA2A-9C36B02F8F1D}"/>
              </a:ext>
            </a:extLst>
          </p:cNvPr>
          <p:cNvSpPr/>
          <p:nvPr>
            <p:custDataLst>
              <p:tags r:id="rId37"/>
            </p:custDataLst>
          </p:nvPr>
        </p:nvSpPr>
        <p:spPr bwMode="auto">
          <a:xfrm rot="1095349">
            <a:off x="1632729" y="1101294"/>
            <a:ext cx="4649470" cy="4649470"/>
          </a:xfrm>
          <a:prstGeom prst="blockArc">
            <a:avLst>
              <a:gd name="adj1" fmla="val 12960000"/>
              <a:gd name="adj2" fmla="val 151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2" name="Block Arc 131" hidden="1">
            <a:extLst>
              <a:ext uri="{FF2B5EF4-FFF2-40B4-BE49-F238E27FC236}">
                <a16:creationId xmlns:a16="http://schemas.microsoft.com/office/drawing/2014/main" id="{D208BDB9-CC06-4753-B9B0-A465181E9345}"/>
              </a:ext>
            </a:extLst>
          </p:cNvPr>
          <p:cNvSpPr/>
          <p:nvPr>
            <p:custDataLst>
              <p:tags r:id="rId38"/>
            </p:custDataLst>
          </p:nvPr>
        </p:nvSpPr>
        <p:spPr bwMode="auto">
          <a:xfrm rot="1095349">
            <a:off x="1632729" y="1101294"/>
            <a:ext cx="4649470" cy="4649470"/>
          </a:xfrm>
          <a:prstGeom prst="blockArc">
            <a:avLst>
              <a:gd name="adj1" fmla="val 1512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3" name="Block Arc 132" hidden="1">
            <a:extLst>
              <a:ext uri="{FF2B5EF4-FFF2-40B4-BE49-F238E27FC236}">
                <a16:creationId xmlns:a16="http://schemas.microsoft.com/office/drawing/2014/main" id="{2348A400-A564-4C95-B01D-C0DCED9C3154}"/>
              </a:ext>
            </a:extLst>
          </p:cNvPr>
          <p:cNvSpPr/>
          <p:nvPr>
            <p:custDataLst>
              <p:tags r:id="rId39"/>
            </p:custDataLst>
          </p:nvPr>
        </p:nvSpPr>
        <p:spPr bwMode="auto">
          <a:xfrm rot="1095349">
            <a:off x="1632729" y="1101294"/>
            <a:ext cx="4649470" cy="4649470"/>
          </a:xfrm>
          <a:prstGeom prst="blockArc">
            <a:avLst>
              <a:gd name="adj1" fmla="val 17280000"/>
              <a:gd name="adj2" fmla="val 194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4" name="Block Arc 133" hidden="1">
            <a:extLst>
              <a:ext uri="{FF2B5EF4-FFF2-40B4-BE49-F238E27FC236}">
                <a16:creationId xmlns:a16="http://schemas.microsoft.com/office/drawing/2014/main" id="{8AF8693E-9C56-4D31-9190-B7F7C6A235C3}"/>
              </a:ext>
            </a:extLst>
          </p:cNvPr>
          <p:cNvSpPr/>
          <p:nvPr>
            <p:custDataLst>
              <p:tags r:id="rId40"/>
            </p:custDataLst>
          </p:nvPr>
        </p:nvSpPr>
        <p:spPr bwMode="auto">
          <a:xfrm rot="1095349">
            <a:off x="1632729" y="1101294"/>
            <a:ext cx="4649470" cy="4649470"/>
          </a:xfrm>
          <a:prstGeom prst="blockArc">
            <a:avLst>
              <a:gd name="adj1" fmla="val 1944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2" name="Block Arc 11" hidden="1">
            <a:extLst>
              <a:ext uri="{FF2B5EF4-FFF2-40B4-BE49-F238E27FC236}">
                <a16:creationId xmlns:a16="http://schemas.microsoft.com/office/drawing/2014/main" id="{485C86FA-0A5F-4215-A9F9-2FBF552191AA}"/>
              </a:ext>
            </a:extLst>
          </p:cNvPr>
          <p:cNvSpPr/>
          <p:nvPr>
            <p:custDataLst>
              <p:tags r:id="rId4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3" name="Block Arc 12" hidden="1">
            <a:extLst>
              <a:ext uri="{FF2B5EF4-FFF2-40B4-BE49-F238E27FC236}">
                <a16:creationId xmlns:a16="http://schemas.microsoft.com/office/drawing/2014/main" id="{80B62981-CC70-4C6D-B977-3DD834046B3F}"/>
              </a:ext>
            </a:extLst>
          </p:cNvPr>
          <p:cNvSpPr/>
          <p:nvPr>
            <p:custDataLst>
              <p:tags r:id="rId4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 name="Block Arc 13" hidden="1">
            <a:extLst>
              <a:ext uri="{FF2B5EF4-FFF2-40B4-BE49-F238E27FC236}">
                <a16:creationId xmlns:a16="http://schemas.microsoft.com/office/drawing/2014/main" id="{6F1DFCB7-BBA5-48AC-A6FB-20447122C929}"/>
              </a:ext>
            </a:extLst>
          </p:cNvPr>
          <p:cNvSpPr/>
          <p:nvPr>
            <p:custDataLst>
              <p:tags r:id="rId4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6" name="Block Arc 15" hidden="1">
            <a:extLst>
              <a:ext uri="{FF2B5EF4-FFF2-40B4-BE49-F238E27FC236}">
                <a16:creationId xmlns:a16="http://schemas.microsoft.com/office/drawing/2014/main" id="{02279E0C-B0FD-4DB4-98DD-19D1C68A5DF2}"/>
              </a:ext>
            </a:extLst>
          </p:cNvPr>
          <p:cNvSpPr/>
          <p:nvPr>
            <p:custDataLst>
              <p:tags r:id="rId4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8" name="Block Arc 17" hidden="1">
            <a:extLst>
              <a:ext uri="{FF2B5EF4-FFF2-40B4-BE49-F238E27FC236}">
                <a16:creationId xmlns:a16="http://schemas.microsoft.com/office/drawing/2014/main" id="{880EB9AC-756E-4B94-8872-E97635946F0E}"/>
              </a:ext>
            </a:extLst>
          </p:cNvPr>
          <p:cNvSpPr/>
          <p:nvPr>
            <p:custDataLst>
              <p:tags r:id="rId4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0" name="Block Arc 19" hidden="1">
            <a:extLst>
              <a:ext uri="{FF2B5EF4-FFF2-40B4-BE49-F238E27FC236}">
                <a16:creationId xmlns:a16="http://schemas.microsoft.com/office/drawing/2014/main" id="{DA097C70-27B9-477F-8919-A2C013FE6D3E}"/>
              </a:ext>
            </a:extLst>
          </p:cNvPr>
          <p:cNvSpPr/>
          <p:nvPr>
            <p:custDataLst>
              <p:tags r:id="rId4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22" name="Block Arc 21" hidden="1">
            <a:extLst>
              <a:ext uri="{FF2B5EF4-FFF2-40B4-BE49-F238E27FC236}">
                <a16:creationId xmlns:a16="http://schemas.microsoft.com/office/drawing/2014/main" id="{4EE3CB77-6B70-45D7-B458-4F9FD1197759}"/>
              </a:ext>
            </a:extLst>
          </p:cNvPr>
          <p:cNvSpPr/>
          <p:nvPr>
            <p:custDataLst>
              <p:tags r:id="rId4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3" name="Block Arc 42" hidden="1">
            <a:extLst>
              <a:ext uri="{FF2B5EF4-FFF2-40B4-BE49-F238E27FC236}">
                <a16:creationId xmlns:a16="http://schemas.microsoft.com/office/drawing/2014/main" id="{4F36D70B-012F-40C5-9173-DC0402D79590}"/>
              </a:ext>
            </a:extLst>
          </p:cNvPr>
          <p:cNvSpPr/>
          <p:nvPr>
            <p:custDataLst>
              <p:tags r:id="rId4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4" name="Block Arc 43" hidden="1">
            <a:extLst>
              <a:ext uri="{FF2B5EF4-FFF2-40B4-BE49-F238E27FC236}">
                <a16:creationId xmlns:a16="http://schemas.microsoft.com/office/drawing/2014/main" id="{1F22791A-AA88-4BD8-AA80-1FF66BC10FA1}"/>
              </a:ext>
            </a:extLst>
          </p:cNvPr>
          <p:cNvSpPr/>
          <p:nvPr>
            <p:custDataLst>
              <p:tags r:id="rId4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5" name="Block Arc 44" hidden="1">
            <a:extLst>
              <a:ext uri="{FF2B5EF4-FFF2-40B4-BE49-F238E27FC236}">
                <a16:creationId xmlns:a16="http://schemas.microsoft.com/office/drawing/2014/main" id="{610E9389-B961-4802-A318-3D58CE31C7B8}"/>
              </a:ext>
            </a:extLst>
          </p:cNvPr>
          <p:cNvSpPr/>
          <p:nvPr>
            <p:custDataLst>
              <p:tags r:id="rId5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6" name="Block Arc 45" hidden="1">
            <a:extLst>
              <a:ext uri="{FF2B5EF4-FFF2-40B4-BE49-F238E27FC236}">
                <a16:creationId xmlns:a16="http://schemas.microsoft.com/office/drawing/2014/main" id="{A6C0B120-BD24-4627-9299-E4D9C7F62BA5}"/>
              </a:ext>
            </a:extLst>
          </p:cNvPr>
          <p:cNvSpPr/>
          <p:nvPr>
            <p:custDataLst>
              <p:tags r:id="rId5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7" name="Block Arc 46" hidden="1">
            <a:extLst>
              <a:ext uri="{FF2B5EF4-FFF2-40B4-BE49-F238E27FC236}">
                <a16:creationId xmlns:a16="http://schemas.microsoft.com/office/drawing/2014/main" id="{637374BD-FF49-45F9-9738-B00C676FAD3B}"/>
              </a:ext>
            </a:extLst>
          </p:cNvPr>
          <p:cNvSpPr/>
          <p:nvPr>
            <p:custDataLst>
              <p:tags r:id="rId5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8" name="Block Arc 47" hidden="1">
            <a:extLst>
              <a:ext uri="{FF2B5EF4-FFF2-40B4-BE49-F238E27FC236}">
                <a16:creationId xmlns:a16="http://schemas.microsoft.com/office/drawing/2014/main" id="{D1CA2D11-072B-43A8-BB3B-EBA1039DC97A}"/>
              </a:ext>
            </a:extLst>
          </p:cNvPr>
          <p:cNvSpPr/>
          <p:nvPr>
            <p:custDataLst>
              <p:tags r:id="rId5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49" name="Block Arc 48" hidden="1">
            <a:extLst>
              <a:ext uri="{FF2B5EF4-FFF2-40B4-BE49-F238E27FC236}">
                <a16:creationId xmlns:a16="http://schemas.microsoft.com/office/drawing/2014/main" id="{85B0DFB3-9A22-453F-867A-E79C03114AF4}"/>
              </a:ext>
            </a:extLst>
          </p:cNvPr>
          <p:cNvSpPr/>
          <p:nvPr>
            <p:custDataLst>
              <p:tags r:id="rId5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0" name="Block Arc 49" hidden="1">
            <a:extLst>
              <a:ext uri="{FF2B5EF4-FFF2-40B4-BE49-F238E27FC236}">
                <a16:creationId xmlns:a16="http://schemas.microsoft.com/office/drawing/2014/main" id="{3DFB1FDF-4853-4750-9368-9A0C6BF78703}"/>
              </a:ext>
            </a:extLst>
          </p:cNvPr>
          <p:cNvSpPr/>
          <p:nvPr>
            <p:custDataLst>
              <p:tags r:id="rId5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1" name="Block Arc 50" hidden="1">
            <a:extLst>
              <a:ext uri="{FF2B5EF4-FFF2-40B4-BE49-F238E27FC236}">
                <a16:creationId xmlns:a16="http://schemas.microsoft.com/office/drawing/2014/main" id="{C3D5CBB6-3D33-425E-86B9-AFDDBAE8837E}"/>
              </a:ext>
            </a:extLst>
          </p:cNvPr>
          <p:cNvSpPr/>
          <p:nvPr>
            <p:custDataLst>
              <p:tags r:id="rId5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2" name="Block Arc 51" hidden="1">
            <a:extLst>
              <a:ext uri="{FF2B5EF4-FFF2-40B4-BE49-F238E27FC236}">
                <a16:creationId xmlns:a16="http://schemas.microsoft.com/office/drawing/2014/main" id="{183CC26B-1858-442B-8582-1DCFC1508429}"/>
              </a:ext>
            </a:extLst>
          </p:cNvPr>
          <p:cNvSpPr/>
          <p:nvPr>
            <p:custDataLst>
              <p:tags r:id="rId5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3" name="Block Arc 52" hidden="1">
            <a:extLst>
              <a:ext uri="{FF2B5EF4-FFF2-40B4-BE49-F238E27FC236}">
                <a16:creationId xmlns:a16="http://schemas.microsoft.com/office/drawing/2014/main" id="{4F5DFEDD-EFBE-411E-9BC1-139BDF6D35F9}"/>
              </a:ext>
            </a:extLst>
          </p:cNvPr>
          <p:cNvSpPr/>
          <p:nvPr>
            <p:custDataLst>
              <p:tags r:id="rId5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4" name="Block Arc 53" hidden="1">
            <a:extLst>
              <a:ext uri="{FF2B5EF4-FFF2-40B4-BE49-F238E27FC236}">
                <a16:creationId xmlns:a16="http://schemas.microsoft.com/office/drawing/2014/main" id="{95E2C2F2-9C6B-4A71-AD85-240940DB0354}"/>
              </a:ext>
            </a:extLst>
          </p:cNvPr>
          <p:cNvSpPr/>
          <p:nvPr>
            <p:custDataLst>
              <p:tags r:id="rId5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5" name="Block Arc 54" hidden="1">
            <a:extLst>
              <a:ext uri="{FF2B5EF4-FFF2-40B4-BE49-F238E27FC236}">
                <a16:creationId xmlns:a16="http://schemas.microsoft.com/office/drawing/2014/main" id="{0C3E43DA-923E-499E-99E4-86F4B24A482E}"/>
              </a:ext>
            </a:extLst>
          </p:cNvPr>
          <p:cNvSpPr/>
          <p:nvPr>
            <p:custDataLst>
              <p:tags r:id="rId6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6" name="Block Arc 55" hidden="1">
            <a:extLst>
              <a:ext uri="{FF2B5EF4-FFF2-40B4-BE49-F238E27FC236}">
                <a16:creationId xmlns:a16="http://schemas.microsoft.com/office/drawing/2014/main" id="{21C6BF68-E105-4777-9A79-C5D83E1B3864}"/>
              </a:ext>
            </a:extLst>
          </p:cNvPr>
          <p:cNvSpPr/>
          <p:nvPr>
            <p:custDataLst>
              <p:tags r:id="rId6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7" name="Block Arc 56" hidden="1">
            <a:extLst>
              <a:ext uri="{FF2B5EF4-FFF2-40B4-BE49-F238E27FC236}">
                <a16:creationId xmlns:a16="http://schemas.microsoft.com/office/drawing/2014/main" id="{AB2559DA-EEDE-4E1A-9AE3-786FCF3522B2}"/>
              </a:ext>
            </a:extLst>
          </p:cNvPr>
          <p:cNvSpPr/>
          <p:nvPr>
            <p:custDataLst>
              <p:tags r:id="rId6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8" name="Block Arc 57" hidden="1">
            <a:extLst>
              <a:ext uri="{FF2B5EF4-FFF2-40B4-BE49-F238E27FC236}">
                <a16:creationId xmlns:a16="http://schemas.microsoft.com/office/drawing/2014/main" id="{CC2CD561-4C4F-419E-8EFE-E92E5770E663}"/>
              </a:ext>
            </a:extLst>
          </p:cNvPr>
          <p:cNvSpPr/>
          <p:nvPr>
            <p:custDataLst>
              <p:tags r:id="rId6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59" name="Block Arc 58" hidden="1">
            <a:extLst>
              <a:ext uri="{FF2B5EF4-FFF2-40B4-BE49-F238E27FC236}">
                <a16:creationId xmlns:a16="http://schemas.microsoft.com/office/drawing/2014/main" id="{322568AF-D867-4C9A-B427-5A5A60FDB1CA}"/>
              </a:ext>
            </a:extLst>
          </p:cNvPr>
          <p:cNvSpPr/>
          <p:nvPr>
            <p:custDataLst>
              <p:tags r:id="rId6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0" name="Block Arc 59" hidden="1">
            <a:extLst>
              <a:ext uri="{FF2B5EF4-FFF2-40B4-BE49-F238E27FC236}">
                <a16:creationId xmlns:a16="http://schemas.microsoft.com/office/drawing/2014/main" id="{25E57104-46B8-486D-801B-083019FFF2AC}"/>
              </a:ext>
            </a:extLst>
          </p:cNvPr>
          <p:cNvSpPr/>
          <p:nvPr>
            <p:custDataLst>
              <p:tags r:id="rId6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1" name="Block Arc 60" hidden="1">
            <a:extLst>
              <a:ext uri="{FF2B5EF4-FFF2-40B4-BE49-F238E27FC236}">
                <a16:creationId xmlns:a16="http://schemas.microsoft.com/office/drawing/2014/main" id="{BB82233C-7B9C-4BFE-A907-25F959BCE2E4}"/>
              </a:ext>
            </a:extLst>
          </p:cNvPr>
          <p:cNvSpPr/>
          <p:nvPr>
            <p:custDataLst>
              <p:tags r:id="rId6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2" name="Block Arc 61" hidden="1">
            <a:extLst>
              <a:ext uri="{FF2B5EF4-FFF2-40B4-BE49-F238E27FC236}">
                <a16:creationId xmlns:a16="http://schemas.microsoft.com/office/drawing/2014/main" id="{FAD46405-2B51-4536-9284-7790668500E2}"/>
              </a:ext>
            </a:extLst>
          </p:cNvPr>
          <p:cNvSpPr/>
          <p:nvPr>
            <p:custDataLst>
              <p:tags r:id="rId6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3" name="Block Arc 62" hidden="1">
            <a:extLst>
              <a:ext uri="{FF2B5EF4-FFF2-40B4-BE49-F238E27FC236}">
                <a16:creationId xmlns:a16="http://schemas.microsoft.com/office/drawing/2014/main" id="{452CCFCB-68AC-4588-83FD-9A21AD6FA1C3}"/>
              </a:ext>
            </a:extLst>
          </p:cNvPr>
          <p:cNvSpPr/>
          <p:nvPr>
            <p:custDataLst>
              <p:tags r:id="rId6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4" name="Block Arc 63" hidden="1">
            <a:extLst>
              <a:ext uri="{FF2B5EF4-FFF2-40B4-BE49-F238E27FC236}">
                <a16:creationId xmlns:a16="http://schemas.microsoft.com/office/drawing/2014/main" id="{8324C20D-E892-4E17-B3FA-96A516BE21B3}"/>
              </a:ext>
            </a:extLst>
          </p:cNvPr>
          <p:cNvSpPr/>
          <p:nvPr>
            <p:custDataLst>
              <p:tags r:id="rId6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5" name="Block Arc 64" hidden="1">
            <a:extLst>
              <a:ext uri="{FF2B5EF4-FFF2-40B4-BE49-F238E27FC236}">
                <a16:creationId xmlns:a16="http://schemas.microsoft.com/office/drawing/2014/main" id="{5B187337-1051-48F0-A6C8-E268511FEA25}"/>
              </a:ext>
            </a:extLst>
          </p:cNvPr>
          <p:cNvSpPr/>
          <p:nvPr>
            <p:custDataLst>
              <p:tags r:id="rId7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6" name="Block Arc 65" hidden="1">
            <a:extLst>
              <a:ext uri="{FF2B5EF4-FFF2-40B4-BE49-F238E27FC236}">
                <a16:creationId xmlns:a16="http://schemas.microsoft.com/office/drawing/2014/main" id="{FED0F92A-DB57-46A4-B29A-D8AE8941CAC8}"/>
              </a:ext>
            </a:extLst>
          </p:cNvPr>
          <p:cNvSpPr/>
          <p:nvPr>
            <p:custDataLst>
              <p:tags r:id="rId7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7" name="Block Arc 66" hidden="1">
            <a:extLst>
              <a:ext uri="{FF2B5EF4-FFF2-40B4-BE49-F238E27FC236}">
                <a16:creationId xmlns:a16="http://schemas.microsoft.com/office/drawing/2014/main" id="{3B9A71C0-B236-4991-8DD2-BBE7702CCA2A}"/>
              </a:ext>
            </a:extLst>
          </p:cNvPr>
          <p:cNvSpPr/>
          <p:nvPr>
            <p:custDataLst>
              <p:tags r:id="rId7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8" name="Block Arc 67" hidden="1">
            <a:extLst>
              <a:ext uri="{FF2B5EF4-FFF2-40B4-BE49-F238E27FC236}">
                <a16:creationId xmlns:a16="http://schemas.microsoft.com/office/drawing/2014/main" id="{46DA404E-8ACB-499D-BE0B-15FDF355F630}"/>
              </a:ext>
            </a:extLst>
          </p:cNvPr>
          <p:cNvSpPr/>
          <p:nvPr>
            <p:custDataLst>
              <p:tags r:id="rId7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69" name="Block Arc 68" hidden="1">
            <a:extLst>
              <a:ext uri="{FF2B5EF4-FFF2-40B4-BE49-F238E27FC236}">
                <a16:creationId xmlns:a16="http://schemas.microsoft.com/office/drawing/2014/main" id="{4F16BB53-9B65-4C78-A8EF-289854CC3E4C}"/>
              </a:ext>
            </a:extLst>
          </p:cNvPr>
          <p:cNvSpPr/>
          <p:nvPr>
            <p:custDataLst>
              <p:tags r:id="rId7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0" name="Block Arc 69" hidden="1">
            <a:extLst>
              <a:ext uri="{FF2B5EF4-FFF2-40B4-BE49-F238E27FC236}">
                <a16:creationId xmlns:a16="http://schemas.microsoft.com/office/drawing/2014/main" id="{DA41B019-57C7-4036-AC20-29843DC0BCF5}"/>
              </a:ext>
            </a:extLst>
          </p:cNvPr>
          <p:cNvSpPr/>
          <p:nvPr>
            <p:custDataLst>
              <p:tags r:id="rId7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1" name="Block Arc 70" hidden="1">
            <a:extLst>
              <a:ext uri="{FF2B5EF4-FFF2-40B4-BE49-F238E27FC236}">
                <a16:creationId xmlns:a16="http://schemas.microsoft.com/office/drawing/2014/main" id="{3C676182-928E-4593-9F43-8B4FA5F31F68}"/>
              </a:ext>
            </a:extLst>
          </p:cNvPr>
          <p:cNvSpPr/>
          <p:nvPr>
            <p:custDataLst>
              <p:tags r:id="rId76"/>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2" name="Block Arc 71" hidden="1">
            <a:extLst>
              <a:ext uri="{FF2B5EF4-FFF2-40B4-BE49-F238E27FC236}">
                <a16:creationId xmlns:a16="http://schemas.microsoft.com/office/drawing/2014/main" id="{6FD22B9B-3B20-4633-9870-5A4FC1580076}"/>
              </a:ext>
            </a:extLst>
          </p:cNvPr>
          <p:cNvSpPr/>
          <p:nvPr>
            <p:custDataLst>
              <p:tags r:id="rId77"/>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3" name="Block Arc 72" hidden="1">
            <a:extLst>
              <a:ext uri="{FF2B5EF4-FFF2-40B4-BE49-F238E27FC236}">
                <a16:creationId xmlns:a16="http://schemas.microsoft.com/office/drawing/2014/main" id="{44B0A48E-2E9F-4E1B-BB08-45B682C47A57}"/>
              </a:ext>
            </a:extLst>
          </p:cNvPr>
          <p:cNvSpPr/>
          <p:nvPr>
            <p:custDataLst>
              <p:tags r:id="rId78"/>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4" name="Block Arc 73" hidden="1">
            <a:extLst>
              <a:ext uri="{FF2B5EF4-FFF2-40B4-BE49-F238E27FC236}">
                <a16:creationId xmlns:a16="http://schemas.microsoft.com/office/drawing/2014/main" id="{B30BBC3A-FBF7-46A8-A994-3E67DA6F8332}"/>
              </a:ext>
            </a:extLst>
          </p:cNvPr>
          <p:cNvSpPr/>
          <p:nvPr>
            <p:custDataLst>
              <p:tags r:id="rId79"/>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5" name="Block Arc 74" hidden="1">
            <a:extLst>
              <a:ext uri="{FF2B5EF4-FFF2-40B4-BE49-F238E27FC236}">
                <a16:creationId xmlns:a16="http://schemas.microsoft.com/office/drawing/2014/main" id="{7C15BB2C-E8F8-489E-AA09-46BDAD13C817}"/>
              </a:ext>
            </a:extLst>
          </p:cNvPr>
          <p:cNvSpPr/>
          <p:nvPr>
            <p:custDataLst>
              <p:tags r:id="rId80"/>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6" name="Block Arc 75" hidden="1">
            <a:extLst>
              <a:ext uri="{FF2B5EF4-FFF2-40B4-BE49-F238E27FC236}">
                <a16:creationId xmlns:a16="http://schemas.microsoft.com/office/drawing/2014/main" id="{ACDF36E9-53B7-4198-B2B2-DA00DF06C45E}"/>
              </a:ext>
            </a:extLst>
          </p:cNvPr>
          <p:cNvSpPr/>
          <p:nvPr>
            <p:custDataLst>
              <p:tags r:id="rId81"/>
            </p:custDataLst>
          </p:nvPr>
        </p:nvSpPr>
        <p:spPr bwMode="auto">
          <a:xfrm>
            <a:off x="4240859" y="2927411"/>
            <a:ext cx="3352467" cy="3352467"/>
          </a:xfrm>
          <a:prstGeom prst="blockArc">
            <a:avLst>
              <a:gd name="adj1" fmla="val 0"/>
              <a:gd name="adj2" fmla="val 432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7" name="Block Arc 76" hidden="1">
            <a:extLst>
              <a:ext uri="{FF2B5EF4-FFF2-40B4-BE49-F238E27FC236}">
                <a16:creationId xmlns:a16="http://schemas.microsoft.com/office/drawing/2014/main" id="{36492099-6D1C-4DE1-8EDA-0A52583805B9}"/>
              </a:ext>
            </a:extLst>
          </p:cNvPr>
          <p:cNvSpPr/>
          <p:nvPr>
            <p:custDataLst>
              <p:tags r:id="rId82"/>
            </p:custDataLst>
          </p:nvPr>
        </p:nvSpPr>
        <p:spPr bwMode="auto">
          <a:xfrm>
            <a:off x="4240859" y="2927411"/>
            <a:ext cx="3352467" cy="3352467"/>
          </a:xfrm>
          <a:prstGeom prst="blockArc">
            <a:avLst>
              <a:gd name="adj1" fmla="val 4320000"/>
              <a:gd name="adj2" fmla="val 864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8" name="Block Arc 77" hidden="1">
            <a:extLst>
              <a:ext uri="{FF2B5EF4-FFF2-40B4-BE49-F238E27FC236}">
                <a16:creationId xmlns:a16="http://schemas.microsoft.com/office/drawing/2014/main" id="{FF962092-5275-4653-B604-F0C4C6BF8FBC}"/>
              </a:ext>
            </a:extLst>
          </p:cNvPr>
          <p:cNvSpPr/>
          <p:nvPr>
            <p:custDataLst>
              <p:tags r:id="rId83"/>
            </p:custDataLst>
          </p:nvPr>
        </p:nvSpPr>
        <p:spPr bwMode="auto">
          <a:xfrm>
            <a:off x="4240859" y="2927411"/>
            <a:ext cx="3352467" cy="3352467"/>
          </a:xfrm>
          <a:prstGeom prst="blockArc">
            <a:avLst>
              <a:gd name="adj1" fmla="val 8640000"/>
              <a:gd name="adj2" fmla="val 1296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79" name="Block Arc 78" hidden="1">
            <a:extLst>
              <a:ext uri="{FF2B5EF4-FFF2-40B4-BE49-F238E27FC236}">
                <a16:creationId xmlns:a16="http://schemas.microsoft.com/office/drawing/2014/main" id="{087BA5DD-9EF0-4FB0-89E0-B768277EC754}"/>
              </a:ext>
            </a:extLst>
          </p:cNvPr>
          <p:cNvSpPr/>
          <p:nvPr>
            <p:custDataLst>
              <p:tags r:id="rId84"/>
            </p:custDataLst>
          </p:nvPr>
        </p:nvSpPr>
        <p:spPr bwMode="auto">
          <a:xfrm>
            <a:off x="4240859" y="2927411"/>
            <a:ext cx="3352467" cy="3352467"/>
          </a:xfrm>
          <a:prstGeom prst="blockArc">
            <a:avLst>
              <a:gd name="adj1" fmla="val 12960000"/>
              <a:gd name="adj2" fmla="val 1728000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80" name="Block Arc 79" hidden="1">
            <a:extLst>
              <a:ext uri="{FF2B5EF4-FFF2-40B4-BE49-F238E27FC236}">
                <a16:creationId xmlns:a16="http://schemas.microsoft.com/office/drawing/2014/main" id="{0C4CCA0D-DD2B-4A36-915E-5935BE00739D}"/>
              </a:ext>
            </a:extLst>
          </p:cNvPr>
          <p:cNvSpPr/>
          <p:nvPr>
            <p:custDataLst>
              <p:tags r:id="rId85"/>
            </p:custDataLst>
          </p:nvPr>
        </p:nvSpPr>
        <p:spPr bwMode="auto">
          <a:xfrm>
            <a:off x="4240859" y="2927411"/>
            <a:ext cx="3352467" cy="3352467"/>
          </a:xfrm>
          <a:prstGeom prst="blockArc">
            <a:avLst>
              <a:gd name="adj1" fmla="val 17280000"/>
              <a:gd name="adj2" fmla="val 0"/>
              <a:gd name="adj3" fmla="val 25000"/>
            </a:avLst>
          </a:prstGeom>
          <a:solidFill>
            <a:srgbClr val="0078D4"/>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r>
              <a:rPr lang="en-US" sz="1224">
                <a:solidFill>
                  <a:srgbClr val="FFFFFF"/>
                </a:solidFill>
                <a:latin typeface="Segoe UI"/>
                <a:ea typeface="Segoe UI" pitchFamily="34" charset="0"/>
                <a:cs typeface="Segoe UI" pitchFamily="34" charset="0"/>
              </a:rPr>
              <a:t>Text</a:t>
            </a:r>
            <a:endParaRPr lang="en-US" sz="1224" err="1">
              <a:solidFill>
                <a:srgbClr val="FFFFFF"/>
              </a:solidFill>
              <a:latin typeface="Segoe UI"/>
              <a:ea typeface="Segoe UI" pitchFamily="34" charset="0"/>
              <a:cs typeface="Segoe UI" pitchFamily="34" charset="0"/>
            </a:endParaRPr>
          </a:p>
        </p:txBody>
      </p:sp>
      <p:sp>
        <p:nvSpPr>
          <p:cNvPr id="147" name="Freeform: Shape 146">
            <a:extLst>
              <a:ext uri="{FF2B5EF4-FFF2-40B4-BE49-F238E27FC236}">
                <a16:creationId xmlns:a16="http://schemas.microsoft.com/office/drawing/2014/main" id="{5A5C2051-9C19-4538-B6C1-F22395F031E2}"/>
              </a:ext>
              <a:ext uri="{C183D7F6-B498-43B3-948B-1728B52AA6E4}">
                <adec:decorative xmlns:adec="http://schemas.microsoft.com/office/drawing/2017/decorative" val="1"/>
              </a:ext>
            </a:extLst>
          </p:cNvPr>
          <p:cNvSpPr/>
          <p:nvPr/>
        </p:nvSpPr>
        <p:spPr>
          <a:xfrm>
            <a:off x="173602" y="448"/>
            <a:ext cx="5403983" cy="6993631"/>
          </a:xfrm>
          <a:custGeom>
            <a:avLst/>
            <a:gdLst>
              <a:gd name="connsiteX0" fmla="*/ 183870 w 5299180"/>
              <a:gd name="connsiteY0" fmla="*/ 0 h 6857999"/>
              <a:gd name="connsiteX1" fmla="*/ 3816533 w 5299180"/>
              <a:gd name="connsiteY1" fmla="*/ 0 h 6857999"/>
              <a:gd name="connsiteX2" fmla="*/ 3882252 w 5299180"/>
              <a:gd name="connsiteY2" fmla="*/ 60218 h 6857999"/>
              <a:gd name="connsiteX3" fmla="*/ 4648268 w 5299180"/>
              <a:gd name="connsiteY3" fmla="*/ 1039170 h 6857999"/>
              <a:gd name="connsiteX4" fmla="*/ 4514378 w 5299180"/>
              <a:gd name="connsiteY4" fmla="*/ 6033033 h 6857999"/>
              <a:gd name="connsiteX5" fmla="*/ 3877995 w 5299180"/>
              <a:gd name="connsiteY5" fmla="*/ 6801938 h 6857999"/>
              <a:gd name="connsiteX6" fmla="*/ 3816385 w 5299180"/>
              <a:gd name="connsiteY6" fmla="*/ 6857999 h 6857999"/>
              <a:gd name="connsiteX7" fmla="*/ 0 w 5299180"/>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9180" h="6857999">
                <a:moveTo>
                  <a:pt x="183870" y="0"/>
                </a:moveTo>
                <a:lnTo>
                  <a:pt x="3816533" y="0"/>
                </a:lnTo>
                <a:lnTo>
                  <a:pt x="3882252" y="60218"/>
                </a:lnTo>
                <a:cubicBezTo>
                  <a:pt x="4175600" y="347172"/>
                  <a:pt x="4434067" y="675119"/>
                  <a:pt x="4648268" y="1039170"/>
                </a:cubicBezTo>
                <a:cubicBezTo>
                  <a:pt x="5562192" y="2592454"/>
                  <a:pt x="5510219" y="4530952"/>
                  <a:pt x="4514378" y="6033033"/>
                </a:cubicBezTo>
                <a:cubicBezTo>
                  <a:pt x="4327658" y="6314673"/>
                  <a:pt x="4113886" y="6571723"/>
                  <a:pt x="3877995" y="6801938"/>
                </a:cubicBezTo>
                <a:lnTo>
                  <a:pt x="3816385" y="6857999"/>
                </a:lnTo>
                <a:lnTo>
                  <a:pt x="0" y="6857999"/>
                </a:lnTo>
                <a:close/>
              </a:path>
            </a:pathLst>
          </a:custGeom>
          <a:solidFill>
            <a:schemeClr val="bg1"/>
          </a:solidFill>
          <a:ln>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grpSp>
        <p:nvGrpSpPr>
          <p:cNvPr id="139" name="Group 138">
            <a:extLst>
              <a:ext uri="{FF2B5EF4-FFF2-40B4-BE49-F238E27FC236}">
                <a16:creationId xmlns:a16="http://schemas.microsoft.com/office/drawing/2014/main" id="{78E1AD21-B1E1-4AFC-A797-6C906276B8B9}"/>
              </a:ext>
              <a:ext uri="{C183D7F6-B498-43B3-948B-1728B52AA6E4}">
                <adec:decorative xmlns:adec="http://schemas.microsoft.com/office/drawing/2017/decorative" val="1"/>
              </a:ext>
            </a:extLst>
          </p:cNvPr>
          <p:cNvGrpSpPr/>
          <p:nvPr/>
        </p:nvGrpSpPr>
        <p:grpSpPr>
          <a:xfrm>
            <a:off x="-1480992" y="397584"/>
            <a:ext cx="6199357" cy="6199357"/>
            <a:chOff x="1364623" y="843923"/>
            <a:chExt cx="5030453" cy="5030453"/>
          </a:xfrm>
        </p:grpSpPr>
        <p:sp>
          <p:nvSpPr>
            <p:cNvPr id="11" name="Block Arc 10">
              <a:extLst>
                <a:ext uri="{FF2B5EF4-FFF2-40B4-BE49-F238E27FC236}">
                  <a16:creationId xmlns:a16="http://schemas.microsoft.com/office/drawing/2014/main" id="{91D7D164-6DA3-4E6B-BEBF-F227DA26BF50}"/>
                </a:ext>
              </a:extLst>
            </p:cNvPr>
            <p:cNvSpPr/>
            <p:nvPr>
              <p:custDataLst>
                <p:tags r:id="rId87"/>
              </p:custDataLst>
            </p:nvPr>
          </p:nvSpPr>
          <p:spPr bwMode="auto">
            <a:xfrm rot="1095349">
              <a:off x="1364623" y="843923"/>
              <a:ext cx="5030453" cy="5030453"/>
            </a:xfrm>
            <a:prstGeom prst="blockArc">
              <a:avLst>
                <a:gd name="adj1" fmla="val 0"/>
                <a:gd name="adj2" fmla="val 216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86" name="Block Arc 85">
              <a:extLst>
                <a:ext uri="{FF2B5EF4-FFF2-40B4-BE49-F238E27FC236}">
                  <a16:creationId xmlns:a16="http://schemas.microsoft.com/office/drawing/2014/main" id="{8EE24D38-2494-49D9-A944-C2333D182120}"/>
                </a:ext>
              </a:extLst>
            </p:cNvPr>
            <p:cNvSpPr/>
            <p:nvPr>
              <p:custDataLst>
                <p:tags r:id="rId88"/>
              </p:custDataLst>
            </p:nvPr>
          </p:nvSpPr>
          <p:spPr bwMode="auto">
            <a:xfrm rot="1095349">
              <a:off x="1600199" y="1079499"/>
              <a:ext cx="4559300" cy="4559300"/>
            </a:xfrm>
            <a:prstGeom prst="blockArc">
              <a:avLst>
                <a:gd name="adj1" fmla="val 15088304"/>
                <a:gd name="adj2" fmla="val 17280000"/>
                <a:gd name="adj3" fmla="val 25000"/>
              </a:avLst>
            </a:prstGeom>
            <a:solidFill>
              <a:schemeClr val="accent2"/>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3" name="Block Arc 92">
              <a:extLst>
                <a:ext uri="{FF2B5EF4-FFF2-40B4-BE49-F238E27FC236}">
                  <a16:creationId xmlns:a16="http://schemas.microsoft.com/office/drawing/2014/main" id="{0BBEAFF1-D87C-4A04-BFE7-918D36A07B14}"/>
                </a:ext>
              </a:extLst>
            </p:cNvPr>
            <p:cNvSpPr/>
            <p:nvPr>
              <p:custDataLst>
                <p:tags r:id="rId89"/>
              </p:custDataLst>
            </p:nvPr>
          </p:nvSpPr>
          <p:spPr bwMode="auto">
            <a:xfrm rot="1095349">
              <a:off x="1462733" y="942033"/>
              <a:ext cx="4834232" cy="4834232"/>
            </a:xfrm>
            <a:prstGeom prst="blockArc">
              <a:avLst>
                <a:gd name="adj1" fmla="val 17280000"/>
                <a:gd name="adj2" fmla="val 1944000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sp>
          <p:nvSpPr>
            <p:cNvPr id="94" name="Block Arc 93">
              <a:extLst>
                <a:ext uri="{FF2B5EF4-FFF2-40B4-BE49-F238E27FC236}">
                  <a16:creationId xmlns:a16="http://schemas.microsoft.com/office/drawing/2014/main" id="{857A01D0-8818-4FD5-B4A3-2B04F570FCC9}"/>
                </a:ext>
              </a:extLst>
            </p:cNvPr>
            <p:cNvSpPr/>
            <p:nvPr>
              <p:custDataLst>
                <p:tags r:id="rId90"/>
              </p:custDataLst>
            </p:nvPr>
          </p:nvSpPr>
          <p:spPr bwMode="auto">
            <a:xfrm rot="1095349">
              <a:off x="1499088" y="978388"/>
              <a:ext cx="4761522" cy="4761522"/>
            </a:xfrm>
            <a:prstGeom prst="blockArc">
              <a:avLst>
                <a:gd name="adj1" fmla="val 19440000"/>
                <a:gd name="adj2" fmla="val 0"/>
                <a:gd name="adj3" fmla="val 25000"/>
              </a:avLst>
            </a:prstGeom>
            <a:solidFill>
              <a:schemeClr val="tx1">
                <a:lumMod val="95000"/>
                <a:lumOff val="5000"/>
              </a:schemeClr>
            </a:solidFill>
            <a:ln w="25400">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defTabSz="950933" fontAlgn="base">
                <a:spcBef>
                  <a:spcPct val="0"/>
                </a:spcBef>
                <a:spcAft>
                  <a:spcPct val="0"/>
                </a:spcAft>
                <a:defRPr/>
              </a:pPr>
              <a:endParaRPr lang="en-US" sz="1224">
                <a:solidFill>
                  <a:srgbClr val="FFFFFF"/>
                </a:solidFill>
                <a:latin typeface="Segoe UI"/>
                <a:ea typeface="Segoe UI" pitchFamily="34" charset="0"/>
                <a:cs typeface="Segoe UI" pitchFamily="34" charset="0"/>
              </a:endParaRPr>
            </a:p>
          </p:txBody>
        </p:sp>
      </p:grpSp>
      <p:sp>
        <p:nvSpPr>
          <p:cNvPr id="145" name="Arc 144">
            <a:extLst>
              <a:ext uri="{FF2B5EF4-FFF2-40B4-BE49-F238E27FC236}">
                <a16:creationId xmlns:a16="http://schemas.microsoft.com/office/drawing/2014/main" id="{2B9BAE0D-ADED-4086-9A60-AF65D7715274}"/>
              </a:ext>
              <a:ext uri="{C183D7F6-B498-43B3-948B-1728B52AA6E4}">
                <adec:decorative xmlns:adec="http://schemas.microsoft.com/office/drawing/2017/decorative" val="1"/>
              </a:ext>
            </a:extLst>
          </p:cNvPr>
          <p:cNvSpPr/>
          <p:nvPr/>
        </p:nvSpPr>
        <p:spPr>
          <a:xfrm>
            <a:off x="3726805" y="-3069"/>
            <a:ext cx="1409549" cy="6972300"/>
          </a:xfrm>
          <a:custGeom>
            <a:avLst/>
            <a:gdLst>
              <a:gd name="connsiteX0" fmla="*/ 8523786 w 9906000"/>
              <a:gd name="connsiteY0" fmla="*/ 1520553 h 9906000"/>
              <a:gd name="connsiteX1" fmla="*/ 8550315 w 9906000"/>
              <a:gd name="connsiteY1" fmla="*/ 8357634 h 9906000"/>
              <a:gd name="connsiteX2" fmla="*/ 4953000 w 9906000"/>
              <a:gd name="connsiteY2" fmla="*/ 4953000 h 9906000"/>
              <a:gd name="connsiteX3" fmla="*/ 8523786 w 9906000"/>
              <a:gd name="connsiteY3" fmla="*/ 1520553 h 9906000"/>
              <a:gd name="connsiteX0" fmla="*/ 8523786 w 9906000"/>
              <a:gd name="connsiteY0" fmla="*/ 1520553 h 9906000"/>
              <a:gd name="connsiteX1" fmla="*/ 8550315 w 9906000"/>
              <a:gd name="connsiteY1" fmla="*/ 8357634 h 9906000"/>
              <a:gd name="connsiteX0" fmla="*/ 0 w 4952999"/>
              <a:gd name="connsiteY0" fmla="*/ 3432447 h 6837081"/>
              <a:gd name="connsiteX1" fmla="*/ 3570786 w 4952999"/>
              <a:gd name="connsiteY1" fmla="*/ 0 h 6837081"/>
              <a:gd name="connsiteX2" fmla="*/ 3597315 w 4952999"/>
              <a:gd name="connsiteY2" fmla="*/ 6837081 h 6837081"/>
              <a:gd name="connsiteX3" fmla="*/ 91440 w 4952999"/>
              <a:gd name="connsiteY3" fmla="*/ 3523887 h 6837081"/>
              <a:gd name="connsiteX0" fmla="*/ 3570786 w 4952999"/>
              <a:gd name="connsiteY0" fmla="*/ 0 h 6837081"/>
              <a:gd name="connsiteX1" fmla="*/ 3597315 w 4952999"/>
              <a:gd name="connsiteY1" fmla="*/ 6837081 h 6837081"/>
              <a:gd name="connsiteX0" fmla="*/ 0 w 4952999"/>
              <a:gd name="connsiteY0" fmla="*/ 3432447 h 6837081"/>
              <a:gd name="connsiteX1" fmla="*/ 3570786 w 4952999"/>
              <a:gd name="connsiteY1" fmla="*/ 0 h 6837081"/>
              <a:gd name="connsiteX2" fmla="*/ 3597315 w 4952999"/>
              <a:gd name="connsiteY2" fmla="*/ 6837081 h 6837081"/>
              <a:gd name="connsiteX0" fmla="*/ 3570786 w 4952999"/>
              <a:gd name="connsiteY0" fmla="*/ 0 h 6837081"/>
              <a:gd name="connsiteX1" fmla="*/ 3597315 w 4952999"/>
              <a:gd name="connsiteY1" fmla="*/ 6837081 h 6837081"/>
              <a:gd name="connsiteX0" fmla="*/ 0 w 1382213"/>
              <a:gd name="connsiteY0" fmla="*/ 0 h 6837081"/>
              <a:gd name="connsiteX1" fmla="*/ 26529 w 1382213"/>
              <a:gd name="connsiteY1" fmla="*/ 6837081 h 6837081"/>
              <a:gd name="connsiteX0" fmla="*/ 0 w 1382213"/>
              <a:gd name="connsiteY0" fmla="*/ 0 h 6837081"/>
              <a:gd name="connsiteX1" fmla="*/ 26529 w 1382213"/>
              <a:gd name="connsiteY1" fmla="*/ 6837081 h 6837081"/>
            </a:gdLst>
            <a:ahLst/>
            <a:cxnLst>
              <a:cxn ang="0">
                <a:pos x="connsiteX0" y="connsiteY0"/>
              </a:cxn>
              <a:cxn ang="0">
                <a:pos x="connsiteX1" y="connsiteY1"/>
              </a:cxn>
            </a:cxnLst>
            <a:rect l="l" t="t" r="r" b="b"/>
            <a:pathLst>
              <a:path w="1382213" h="6837081" stroke="0" extrusionOk="0">
                <a:moveTo>
                  <a:pt x="0" y="0"/>
                </a:moveTo>
                <a:cubicBezTo>
                  <a:pt x="1832641" y="1906502"/>
                  <a:pt x="1844320" y="4916414"/>
                  <a:pt x="26529" y="6837081"/>
                </a:cubicBezTo>
              </a:path>
              <a:path w="1382213" h="6837081" fill="none">
                <a:moveTo>
                  <a:pt x="0" y="0"/>
                </a:moveTo>
                <a:cubicBezTo>
                  <a:pt x="1832641" y="1906502"/>
                  <a:pt x="1844320" y="4916414"/>
                  <a:pt x="26529" y="6837081"/>
                </a:cubicBezTo>
              </a:path>
            </a:pathLst>
          </a:custGeom>
          <a:noFill/>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32649">
              <a:defRPr/>
            </a:pPr>
            <a:endParaRPr lang="en-US" sz="1836">
              <a:solidFill>
                <a:srgbClr val="000000"/>
              </a:solidFill>
              <a:latin typeface="Segoe UI"/>
            </a:endParaRPr>
          </a:p>
        </p:txBody>
      </p:sp>
      <p:sp>
        <p:nvSpPr>
          <p:cNvPr id="83" name="TextBox 82">
            <a:extLst>
              <a:ext uri="{FF2B5EF4-FFF2-40B4-BE49-F238E27FC236}">
                <a16:creationId xmlns:a16="http://schemas.microsoft.com/office/drawing/2014/main" id="{B242F6DD-0F7F-4CF7-8847-B0647A052573}"/>
              </a:ext>
              <a:ext uri="{C183D7F6-B498-43B3-948B-1728B52AA6E4}">
                <adec:decorative xmlns:adec="http://schemas.microsoft.com/office/drawing/2017/decorative" val="1"/>
              </a:ext>
            </a:extLst>
          </p:cNvPr>
          <p:cNvSpPr txBox="1"/>
          <p:nvPr/>
        </p:nvSpPr>
        <p:spPr>
          <a:xfrm>
            <a:off x="1" y="-1038"/>
            <a:ext cx="1585525" cy="6993632"/>
          </a:xfrm>
          <a:prstGeom prst="rect">
            <a:avLst/>
          </a:prstGeom>
          <a:solidFill>
            <a:schemeClr val="accent4"/>
          </a:solidFill>
        </p:spPr>
        <p:txBody>
          <a:bodyPr wrap="square">
            <a:noAutofit/>
          </a:bodyPr>
          <a:lstStyle/>
          <a:p>
            <a:pPr algn="ctr" defTabSz="932470">
              <a:defRPr/>
            </a:pPr>
            <a:endParaRPr lang="en-US">
              <a:solidFill>
                <a:srgbClr val="353535"/>
              </a:solidFill>
              <a:latin typeface="SegoeUI"/>
            </a:endParaRPr>
          </a:p>
        </p:txBody>
      </p:sp>
      <p:sp>
        <p:nvSpPr>
          <p:cNvPr id="15" name="TextBox 14">
            <a:extLst>
              <a:ext uri="{FF2B5EF4-FFF2-40B4-BE49-F238E27FC236}">
                <a16:creationId xmlns:a16="http://schemas.microsoft.com/office/drawing/2014/main" id="{94CB0C34-6558-47BD-A22D-4225A004FCC4}"/>
              </a:ext>
            </a:extLst>
          </p:cNvPr>
          <p:cNvSpPr txBox="1"/>
          <p:nvPr/>
        </p:nvSpPr>
        <p:spPr>
          <a:xfrm>
            <a:off x="1724298" y="5357264"/>
            <a:ext cx="1165630"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Visualization</a:t>
            </a:r>
          </a:p>
        </p:txBody>
      </p:sp>
      <p:sp>
        <p:nvSpPr>
          <p:cNvPr id="17" name="TextBox 16">
            <a:extLst>
              <a:ext uri="{FF2B5EF4-FFF2-40B4-BE49-F238E27FC236}">
                <a16:creationId xmlns:a16="http://schemas.microsoft.com/office/drawing/2014/main" id="{64D19349-A129-4AC6-B403-E180872E6D32}"/>
              </a:ext>
            </a:extLst>
          </p:cNvPr>
          <p:cNvSpPr txBox="1"/>
          <p:nvPr/>
        </p:nvSpPr>
        <p:spPr>
          <a:xfrm>
            <a:off x="3378813" y="3241833"/>
            <a:ext cx="959190" cy="593239"/>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Business logic and metrics</a:t>
            </a:r>
          </a:p>
        </p:txBody>
      </p:sp>
      <p:sp>
        <p:nvSpPr>
          <p:cNvPr id="19" name="TextBox 18">
            <a:extLst>
              <a:ext uri="{FF2B5EF4-FFF2-40B4-BE49-F238E27FC236}">
                <a16:creationId xmlns:a16="http://schemas.microsoft.com/office/drawing/2014/main" id="{0A65A989-72F3-48EC-846A-269B6CB7747F}"/>
              </a:ext>
            </a:extLst>
          </p:cNvPr>
          <p:cNvSpPr txBox="1"/>
          <p:nvPr/>
        </p:nvSpPr>
        <p:spPr>
          <a:xfrm>
            <a:off x="1727513" y="1222469"/>
            <a:ext cx="1024536" cy="39544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a:gradFill>
                  <a:gsLst>
                    <a:gs pos="82000">
                      <a:srgbClr val="FFFFFF"/>
                    </a:gs>
                    <a:gs pos="0">
                      <a:srgbClr val="FFFFFF"/>
                    </a:gs>
                  </a:gsLst>
                  <a:lin ang="2700000" scaled="1"/>
                </a:gradFill>
                <a:latin typeface="Segoe UI Semibold"/>
              </a:rPr>
              <a:t>Data Preparation</a:t>
            </a:r>
          </a:p>
        </p:txBody>
      </p:sp>
      <p:sp>
        <p:nvSpPr>
          <p:cNvPr id="21" name="TextBox 20">
            <a:extLst>
              <a:ext uri="{FF2B5EF4-FFF2-40B4-BE49-F238E27FC236}">
                <a16:creationId xmlns:a16="http://schemas.microsoft.com/office/drawing/2014/main" id="{E53D5C8B-6F2E-4178-B677-619905D1D7EB}"/>
              </a:ext>
            </a:extLst>
          </p:cNvPr>
          <p:cNvSpPr txBox="1"/>
          <p:nvPr/>
        </p:nvSpPr>
        <p:spPr>
          <a:xfrm>
            <a:off x="2986371" y="2011138"/>
            <a:ext cx="985055" cy="395493"/>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Data Modeling</a:t>
            </a:r>
          </a:p>
        </p:txBody>
      </p:sp>
      <p:sp>
        <p:nvSpPr>
          <p:cNvPr id="23" name="TextBox 22">
            <a:extLst>
              <a:ext uri="{FF2B5EF4-FFF2-40B4-BE49-F238E27FC236}">
                <a16:creationId xmlns:a16="http://schemas.microsoft.com/office/drawing/2014/main" id="{60DEC337-7937-44F1-A919-721245D56CD1}"/>
              </a:ext>
            </a:extLst>
          </p:cNvPr>
          <p:cNvSpPr txBox="1"/>
          <p:nvPr/>
        </p:nvSpPr>
        <p:spPr>
          <a:xfrm>
            <a:off x="2932267" y="4794266"/>
            <a:ext cx="1138708" cy="197746"/>
          </a:xfrm>
          <a:prstGeom prst="rect">
            <a:avLst/>
          </a:prstGeom>
          <a:noFill/>
        </p:spPr>
        <p:txBody>
          <a:bodyPr wrap="square" lIns="0" tIns="0" rIns="0" bIns="0" rtlCol="0">
            <a:spAutoFit/>
          </a:bodyPr>
          <a:lstStyle/>
          <a:p>
            <a:pPr algn="ctr" defTabSz="932325">
              <a:lnSpc>
                <a:spcPct val="90000"/>
              </a:lnSpc>
              <a:spcAft>
                <a:spcPts val="600"/>
              </a:spcAft>
              <a:defRPr/>
            </a:pPr>
            <a:r>
              <a:rPr lang="en-US" sz="1428" kern="0" dirty="0">
                <a:gradFill>
                  <a:gsLst>
                    <a:gs pos="82000">
                      <a:srgbClr val="FFFFFF"/>
                    </a:gs>
                    <a:gs pos="0">
                      <a:srgbClr val="FFFFFF"/>
                    </a:gs>
                  </a:gsLst>
                  <a:lin ang="2700000" scaled="1"/>
                </a:gradFill>
                <a:latin typeface="Segoe UI Semibold"/>
              </a:rPr>
              <a:t>Security</a:t>
            </a:r>
          </a:p>
        </p:txBody>
      </p:sp>
      <p:sp>
        <p:nvSpPr>
          <p:cNvPr id="148" name="Oval 147">
            <a:extLst>
              <a:ext uri="{FF2B5EF4-FFF2-40B4-BE49-F238E27FC236}">
                <a16:creationId xmlns:a16="http://schemas.microsoft.com/office/drawing/2014/main" id="{D4A36302-A67E-40F1-9D64-84621BEBADED}"/>
              </a:ext>
              <a:ext uri="{C183D7F6-B498-43B3-948B-1728B52AA6E4}">
                <adec:decorative xmlns:adec="http://schemas.microsoft.com/office/drawing/2017/decorative" val="1"/>
              </a:ext>
            </a:extLst>
          </p:cNvPr>
          <p:cNvSpPr/>
          <p:nvPr/>
        </p:nvSpPr>
        <p:spPr bwMode="auto">
          <a:xfrm>
            <a:off x="4278299" y="695794"/>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49" name="Oval 148">
            <a:extLst>
              <a:ext uri="{FF2B5EF4-FFF2-40B4-BE49-F238E27FC236}">
                <a16:creationId xmlns:a16="http://schemas.microsoft.com/office/drawing/2014/main" id="{39C0E313-6211-4DEE-985C-0B66CB1C7871}"/>
              </a:ext>
              <a:ext uri="{C183D7F6-B498-43B3-948B-1728B52AA6E4}">
                <adec:decorative xmlns:adec="http://schemas.microsoft.com/office/drawing/2017/decorative" val="1"/>
              </a:ext>
            </a:extLst>
          </p:cNvPr>
          <p:cNvSpPr/>
          <p:nvPr/>
        </p:nvSpPr>
        <p:spPr bwMode="auto">
          <a:xfrm>
            <a:off x="4278299" y="6083481"/>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sp>
        <p:nvSpPr>
          <p:cNvPr id="152" name="Oval 151">
            <a:extLst>
              <a:ext uri="{FF2B5EF4-FFF2-40B4-BE49-F238E27FC236}">
                <a16:creationId xmlns:a16="http://schemas.microsoft.com/office/drawing/2014/main" id="{2339DE07-2BCE-4C37-9EBB-6876F24CE2C4}"/>
              </a:ext>
              <a:ext uri="{C183D7F6-B498-43B3-948B-1728B52AA6E4}">
                <adec:decorative xmlns:adec="http://schemas.microsoft.com/office/drawing/2017/decorative" val="1"/>
              </a:ext>
            </a:extLst>
          </p:cNvPr>
          <p:cNvSpPr/>
          <p:nvPr/>
        </p:nvSpPr>
        <p:spPr bwMode="auto">
          <a:xfrm>
            <a:off x="5030855" y="3392863"/>
            <a:ext cx="205835" cy="205835"/>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856" err="1">
              <a:solidFill>
                <a:srgbClr val="FFFFFF"/>
              </a:solidFill>
              <a:latin typeface="Segoe UI"/>
              <a:ea typeface="Segoe UI" pitchFamily="34" charset="0"/>
              <a:cs typeface="Segoe UI" pitchFamily="34" charset="0"/>
            </a:endParaRPr>
          </a:p>
        </p:txBody>
      </p:sp>
      <p:cxnSp>
        <p:nvCxnSpPr>
          <p:cNvPr id="157" name="Straight Connector 156">
            <a:extLst>
              <a:ext uri="{FF2B5EF4-FFF2-40B4-BE49-F238E27FC236}">
                <a16:creationId xmlns:a16="http://schemas.microsoft.com/office/drawing/2014/main" id="{F25D8AB8-9761-4478-8722-3834E062394E}"/>
              </a:ext>
              <a:ext uri="{C183D7F6-B498-43B3-948B-1728B52AA6E4}">
                <adec:decorative xmlns:adec="http://schemas.microsoft.com/office/drawing/2017/decorative" val="1"/>
              </a:ext>
            </a:extLst>
          </p:cNvPr>
          <p:cNvCxnSpPr>
            <a:cxnSpLocks/>
          </p:cNvCxnSpPr>
          <p:nvPr/>
        </p:nvCxnSpPr>
        <p:spPr>
          <a:xfrm>
            <a:off x="1595256" y="446"/>
            <a:ext cx="0" cy="6993632"/>
          </a:xfrm>
          <a:prstGeom prst="line">
            <a:avLst/>
          </a:prstGeom>
          <a:ln w="571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FF43808-8CA7-45F0-8214-15A4E4783DFF}"/>
              </a:ext>
              <a:ext uri="{C183D7F6-B498-43B3-948B-1728B52AA6E4}">
                <adec:decorative xmlns:adec="http://schemas.microsoft.com/office/drawing/2017/decorative" val="1"/>
              </a:ext>
            </a:extLst>
          </p:cNvPr>
          <p:cNvSpPr/>
          <p:nvPr/>
        </p:nvSpPr>
        <p:spPr bwMode="auto">
          <a:xfrm>
            <a:off x="269916" y="1994002"/>
            <a:ext cx="3006521" cy="300652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US" sz="2040" err="1">
              <a:solidFill>
                <a:srgbClr val="FFFFFF"/>
              </a:solidFill>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CA47276F-749A-4DBC-83F6-B24541D0CDEE}"/>
              </a:ext>
            </a:extLst>
          </p:cNvPr>
          <p:cNvGrpSpPr/>
          <p:nvPr/>
        </p:nvGrpSpPr>
        <p:grpSpPr>
          <a:xfrm>
            <a:off x="793866" y="2433232"/>
            <a:ext cx="1958182" cy="2139410"/>
            <a:chOff x="3443371" y="2305233"/>
            <a:chExt cx="1958432" cy="2139683"/>
          </a:xfrm>
        </p:grpSpPr>
        <p:sp>
          <p:nvSpPr>
            <p:cNvPr id="81" name="Rectangle 80">
              <a:extLst>
                <a:ext uri="{FF2B5EF4-FFF2-40B4-BE49-F238E27FC236}">
                  <a16:creationId xmlns:a16="http://schemas.microsoft.com/office/drawing/2014/main" id="{28D6798A-75CC-4471-9BE8-62A93F7A6DAC}"/>
                </a:ext>
              </a:extLst>
            </p:cNvPr>
            <p:cNvSpPr/>
            <p:nvPr>
              <p:custDataLst>
                <p:tags r:id="rId86"/>
              </p:custDataLst>
            </p:nvPr>
          </p:nvSpPr>
          <p:spPr bwMode="auto">
            <a:xfrm>
              <a:off x="3443371" y="3933534"/>
              <a:ext cx="1958432" cy="511382"/>
            </a:xfrm>
            <a:prstGeom prst="rect">
              <a:avLst/>
            </a:prstGeom>
            <a:noFill/>
            <a:ln w="12700" cap="flat" cmpd="sng" algn="ctr">
              <a:noFill/>
              <a:prstDash val="soli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prstClr val="black"/>
                  </a:solidFill>
                  <a:prstDash val="solid"/>
                  <a:headEnd type="none" w="med" len="med"/>
                  <a:tailEnd type="none" w="med" len="me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1" forceAA="0" compatLnSpc="1">
              <a:prstTxWarp prst="textNoShape">
                <a:avLst/>
              </a:prstTxWarp>
              <a:noAutofit/>
            </a:bodyPr>
            <a:lstStyle/>
            <a:p>
              <a:pPr algn="ctr" defTabSz="950933" fontAlgn="base">
                <a:spcBef>
                  <a:spcPct val="0"/>
                </a:spcBef>
                <a:spcAft>
                  <a:spcPct val="0"/>
                </a:spcAft>
                <a:defRPr/>
              </a:pPr>
              <a:r>
                <a:rPr lang="en-US" sz="2448">
                  <a:solidFill>
                    <a:srgbClr val="ADADAD"/>
                  </a:solidFill>
                  <a:latin typeface="Segoe UI Semibold"/>
                  <a:ea typeface="Segoe UI" pitchFamily="34" charset="0"/>
                  <a:cs typeface="Segoe UI" pitchFamily="34" charset="0"/>
                </a:rPr>
                <a:t>PBIX</a:t>
              </a:r>
            </a:p>
          </p:txBody>
        </p:sp>
        <p:graphicFrame>
          <p:nvGraphicFramePr>
            <p:cNvPr id="5" name="Object 4">
              <a:extLst>
                <a:ext uri="{FF2B5EF4-FFF2-40B4-BE49-F238E27FC236}">
                  <a16:creationId xmlns:a16="http://schemas.microsoft.com/office/drawing/2014/main" id="{63ED5430-1D66-4D40-B3B6-FE886B70DF6D}"/>
                </a:ext>
              </a:extLst>
            </p:cNvPr>
            <p:cNvGraphicFramePr>
              <a:graphicFrameLocks noChangeAspect="1"/>
            </p:cNvGraphicFramePr>
            <p:nvPr/>
          </p:nvGraphicFramePr>
          <p:xfrm>
            <a:off x="3621916" y="2305233"/>
            <a:ext cx="1488476" cy="1711747"/>
          </p:xfrm>
          <a:graphic>
            <a:graphicData uri="http://schemas.openxmlformats.org/presentationml/2006/ole">
              <mc:AlternateContent xmlns:mc="http://schemas.openxmlformats.org/markup-compatibility/2006">
                <mc:Choice xmlns:v="urn:schemas-microsoft-com:vml" Requires="v">
                  <p:oleObj name="Bitmap Image" r:id="rId93" imgW="1397160" imgH="1606680" progId="Paint.Picture.1">
                    <p:embed/>
                  </p:oleObj>
                </mc:Choice>
                <mc:Fallback>
                  <p:oleObj name="Bitmap Image" r:id="rId93" imgW="1397160" imgH="1606680" progId="Paint.Picture.1">
                    <p:embed/>
                    <p:pic>
                      <p:nvPicPr>
                        <p:cNvPr id="5" name="Object 4">
                          <a:extLst>
                            <a:ext uri="{FF2B5EF4-FFF2-40B4-BE49-F238E27FC236}">
                              <a16:creationId xmlns:a16="http://schemas.microsoft.com/office/drawing/2014/main" id="{63ED5430-1D66-4D40-B3B6-FE886B70DF6D}"/>
                            </a:ext>
                          </a:extLst>
                        </p:cNvPr>
                        <p:cNvPicPr/>
                        <p:nvPr/>
                      </p:nvPicPr>
                      <p:blipFill>
                        <a:blip r:embed="rId94"/>
                        <a:stretch>
                          <a:fillRect/>
                        </a:stretch>
                      </p:blipFill>
                      <p:spPr>
                        <a:xfrm>
                          <a:off x="3621916" y="2305233"/>
                          <a:ext cx="1488476" cy="1711747"/>
                        </a:xfrm>
                        <a:prstGeom prst="rect">
                          <a:avLst/>
                        </a:prstGeom>
                      </p:spPr>
                    </p:pic>
                  </p:oleObj>
                </mc:Fallback>
              </mc:AlternateContent>
            </a:graphicData>
          </a:graphic>
        </p:graphicFrame>
      </p:grpSp>
      <p:cxnSp>
        <p:nvCxnSpPr>
          <p:cNvPr id="39" name="Straight Connector 38">
            <a:extLst>
              <a:ext uri="{FF2B5EF4-FFF2-40B4-BE49-F238E27FC236}">
                <a16:creationId xmlns:a16="http://schemas.microsoft.com/office/drawing/2014/main" id="{ED1C4064-B52E-4D91-A51F-890C4C64C47F}"/>
              </a:ext>
            </a:extLst>
          </p:cNvPr>
          <p:cNvCxnSpPr>
            <a:cxnSpLocks/>
          </p:cNvCxnSpPr>
          <p:nvPr/>
        </p:nvCxnSpPr>
        <p:spPr>
          <a:xfrm>
            <a:off x="5577585" y="2208858"/>
            <a:ext cx="685554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15786AC-2358-472D-8E78-5802D95609AC}"/>
              </a:ext>
            </a:extLst>
          </p:cNvPr>
          <p:cNvGrpSpPr/>
          <p:nvPr/>
        </p:nvGrpSpPr>
        <p:grpSpPr>
          <a:xfrm>
            <a:off x="5888287" y="1420190"/>
            <a:ext cx="6140314" cy="3802536"/>
            <a:chOff x="5889037" y="1419924"/>
            <a:chExt cx="6141098" cy="3803021"/>
          </a:xfrm>
        </p:grpSpPr>
        <p:sp>
          <p:nvSpPr>
            <p:cNvPr id="142" name="TextBox 141">
              <a:extLst>
                <a:ext uri="{FF2B5EF4-FFF2-40B4-BE49-F238E27FC236}">
                  <a16:creationId xmlns:a16="http://schemas.microsoft.com/office/drawing/2014/main" id="{CE8813FB-2DD8-4D1F-8F33-704BF1DB97F9}"/>
                </a:ext>
              </a:extLst>
            </p:cNvPr>
            <p:cNvSpPr txBox="1"/>
            <p:nvPr/>
          </p:nvSpPr>
          <p:spPr>
            <a:xfrm>
              <a:off x="5924222" y="2483384"/>
              <a:ext cx="6105913" cy="2739561"/>
            </a:xfrm>
            <a:prstGeom prst="rect">
              <a:avLst/>
            </a:prstGeom>
            <a:noFill/>
          </p:spPr>
          <p:txBody>
            <a:bodyPr wrap="square">
              <a:spAutoFit/>
            </a:bodyPr>
            <a:lstStyle/>
            <a:p>
              <a:r>
                <a:rPr lang="en-US" sz="2800" dirty="0">
                  <a:solidFill>
                    <a:srgbClr val="171717"/>
                  </a:solidFill>
                  <a:latin typeface="+mj-lt"/>
                </a:rPr>
                <a:t>“Real-time” and “blazing-fast” are the only requirements we’ve been provided now that our data is ready.</a:t>
              </a:r>
            </a:p>
            <a:p>
              <a:endParaRPr lang="en-US" sz="2800" dirty="0">
                <a:solidFill>
                  <a:srgbClr val="171717"/>
                </a:solidFill>
                <a:latin typeface="+mj-lt"/>
              </a:endParaRPr>
            </a:p>
            <a:p>
              <a:r>
                <a:rPr lang="en-US" sz="2000" dirty="0">
                  <a:solidFill>
                    <a:srgbClr val="171717"/>
                  </a:solidFill>
                </a:rPr>
                <a:t>To ensure the dataset that we develop aligns with our business requirements, we’ll test and validate numerous model requirements.</a:t>
              </a:r>
            </a:p>
          </p:txBody>
        </p:sp>
        <p:sp>
          <p:nvSpPr>
            <p:cNvPr id="34" name="Title 1">
              <a:extLst>
                <a:ext uri="{FF2B5EF4-FFF2-40B4-BE49-F238E27FC236}">
                  <a16:creationId xmlns:a16="http://schemas.microsoft.com/office/drawing/2014/main" id="{C86876B5-5E1B-4EAA-994C-00C61C1F64C5}"/>
                </a:ext>
              </a:extLst>
            </p:cNvPr>
            <p:cNvSpPr txBox="1">
              <a:spLocks/>
            </p:cNvSpPr>
            <p:nvPr/>
          </p:nvSpPr>
          <p:spPr>
            <a:xfrm>
              <a:off x="5889037" y="1419924"/>
              <a:ext cx="5770886"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80" spc="0" dirty="0">
                  <a:solidFill>
                    <a:srgbClr val="FFC000"/>
                  </a:solidFill>
                </a:rPr>
                <a:t>Scenario</a:t>
              </a:r>
            </a:p>
          </p:txBody>
        </p:sp>
      </p:grpSp>
    </p:spTree>
    <p:extLst>
      <p:ext uri="{BB962C8B-B14F-4D97-AF65-F5344CB8AC3E}">
        <p14:creationId xmlns:p14="http://schemas.microsoft.com/office/powerpoint/2010/main" val="269227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a:extLst>
              <a:ext uri="{FF2B5EF4-FFF2-40B4-BE49-F238E27FC236}">
                <a16:creationId xmlns:a16="http://schemas.microsoft.com/office/drawing/2014/main" id="{55DE2BC9-2397-4D3A-8567-0C35EAAF04BF}"/>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E175D10-075E-403D-A4AD-46ADC5E7F3EC}"/>
              </a:ext>
            </a:extLst>
          </p:cNvPr>
          <p:cNvSpPr/>
          <p:nvPr/>
        </p:nvSpPr>
        <p:spPr>
          <a:xfrm>
            <a:off x="411480" y="1645920"/>
            <a:ext cx="4707722" cy="896271"/>
          </a:xfrm>
          <a:prstGeom prst="rect">
            <a:avLst/>
          </a:prstGeom>
        </p:spPr>
        <p:txBody>
          <a:bodyPr wrap="square">
            <a:spAutoFit/>
          </a:bodyPr>
          <a:lstStyle/>
          <a:p>
            <a:pPr defTabSz="932301">
              <a:lnSpc>
                <a:spcPct val="90000"/>
              </a:lnSpc>
              <a:spcAft>
                <a:spcPts val="102"/>
              </a:spcAft>
              <a:defRPr/>
            </a:pPr>
            <a:r>
              <a:rPr lang="en-US" sz="2856" kern="0">
                <a:solidFill>
                  <a:srgbClr val="FFB900"/>
                </a:solidFill>
                <a:latin typeface="Franklin Gothic Medium Cond" panose="020B0606030402020204" pitchFamily="34" charset="0"/>
              </a:rPr>
              <a:t>Most Used, Most Battle-Tested </a:t>
            </a:r>
          </a:p>
          <a:p>
            <a:pPr defTabSz="932301">
              <a:lnSpc>
                <a:spcPct val="90000"/>
              </a:lnSpc>
              <a:spcAft>
                <a:spcPts val="102"/>
              </a:spcAft>
              <a:defRPr/>
            </a:pPr>
            <a:r>
              <a:rPr lang="en-US" sz="2856" kern="0">
                <a:solidFill>
                  <a:srgbClr val="FFB900"/>
                </a:solidFill>
                <a:latin typeface="Franklin Gothic Medium Cond" panose="020B0606030402020204" pitchFamily="34" charset="0"/>
              </a:rPr>
              <a:t>Analytics Engine Technology</a:t>
            </a:r>
          </a:p>
        </p:txBody>
      </p:sp>
      <p:sp>
        <p:nvSpPr>
          <p:cNvPr id="2" name="TextBox 1">
            <a:extLst>
              <a:ext uri="{FF2B5EF4-FFF2-40B4-BE49-F238E27FC236}">
                <a16:creationId xmlns:a16="http://schemas.microsoft.com/office/drawing/2014/main" id="{2D870611-8DCA-4063-9E0C-781C2E176EA3}"/>
              </a:ext>
            </a:extLst>
          </p:cNvPr>
          <p:cNvSpPr txBox="1"/>
          <p:nvPr/>
        </p:nvSpPr>
        <p:spPr>
          <a:xfrm>
            <a:off x="280777" y="2601571"/>
            <a:ext cx="4645691" cy="4146974"/>
          </a:xfrm>
          <a:prstGeom prst="rect">
            <a:avLst/>
          </a:prstGeom>
          <a:noFill/>
        </p:spPr>
        <p:txBody>
          <a:bodyPr wrap="square" lIns="186470" tIns="149177" rIns="186470" bIns="149177" rtlCol="0">
            <a:spAutoFit/>
          </a:bodyPr>
          <a:lstStyle/>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Enterprise grade analytics </a:t>
            </a:r>
            <a:r>
              <a:rPr lang="en-US" sz="2448" b="1">
                <a:gradFill>
                  <a:gsLst>
                    <a:gs pos="2917">
                      <a:srgbClr val="505050"/>
                    </a:gs>
                    <a:gs pos="30000">
                      <a:srgbClr val="505050"/>
                    </a:gs>
                  </a:gsLst>
                  <a:lin ang="5400000" scaled="0"/>
                </a:gradFill>
                <a:latin typeface="Segoe UI"/>
              </a:rPr>
              <a:t>engine</a:t>
            </a:r>
            <a:r>
              <a:rPr lang="en-US" sz="2448">
                <a:gradFill>
                  <a:gsLst>
                    <a:gs pos="2917">
                      <a:srgbClr val="505050"/>
                    </a:gs>
                    <a:gs pos="30000">
                      <a:srgbClr val="505050"/>
                    </a:gs>
                  </a:gsLst>
                  <a:lin ang="5400000" scaled="0"/>
                </a:gradFill>
                <a:latin typeface="Segoe UI"/>
              </a:rPr>
              <a:t> as a service</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Leading query performance over massive data volumes</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Rich semantic modeling</a:t>
            </a:r>
          </a:p>
          <a:p>
            <a:pPr defTabSz="932301">
              <a:lnSpc>
                <a:spcPct val="90000"/>
              </a:lnSpc>
              <a:spcAft>
                <a:spcPts val="612"/>
              </a:spcAft>
              <a:defRPr/>
            </a:pPr>
            <a:endParaRPr lang="en-US" sz="800">
              <a:gradFill>
                <a:gsLst>
                  <a:gs pos="2917">
                    <a:srgbClr val="505050"/>
                  </a:gs>
                  <a:gs pos="30000">
                    <a:srgbClr val="505050"/>
                  </a:gs>
                </a:gsLst>
                <a:lin ang="5400000" scaled="0"/>
              </a:gradFill>
              <a:latin typeface="Segoe UI"/>
            </a:endParaRPr>
          </a:p>
          <a:p>
            <a:pPr marL="349613" indent="-349613" defTabSz="932301">
              <a:lnSpc>
                <a:spcPct val="90000"/>
              </a:lnSpc>
              <a:spcAft>
                <a:spcPts val="612"/>
              </a:spcAft>
              <a:buFont typeface="Arial" panose="020B0604020202020204" pitchFamily="34" charset="0"/>
              <a:buChar char="•"/>
              <a:defRPr/>
            </a:pPr>
            <a:r>
              <a:rPr lang="en-US" sz="2448">
                <a:gradFill>
                  <a:gsLst>
                    <a:gs pos="2917">
                      <a:srgbClr val="505050"/>
                    </a:gs>
                    <a:gs pos="30000">
                      <a:srgbClr val="505050"/>
                    </a:gs>
                  </a:gsLst>
                  <a:lin ang="5400000" scaled="0"/>
                </a:gradFill>
                <a:latin typeface="Segoe UI"/>
              </a:rPr>
              <a:t>Interactive Exploration over even </a:t>
            </a:r>
            <a:r>
              <a:rPr lang="en-US" sz="2448" b="1">
                <a:gradFill>
                  <a:gsLst>
                    <a:gs pos="2917">
                      <a:srgbClr val="505050"/>
                    </a:gs>
                    <a:gs pos="30000">
                      <a:srgbClr val="505050"/>
                    </a:gs>
                  </a:gsLst>
                  <a:lin ang="5400000" scaled="0"/>
                </a:gradFill>
                <a:latin typeface="Segoe UI"/>
              </a:rPr>
              <a:t>TRILLIONS</a:t>
            </a:r>
            <a:r>
              <a:rPr lang="en-US" sz="2448">
                <a:gradFill>
                  <a:gsLst>
                    <a:gs pos="2917">
                      <a:srgbClr val="505050"/>
                    </a:gs>
                    <a:gs pos="30000">
                      <a:srgbClr val="505050"/>
                    </a:gs>
                  </a:gsLst>
                  <a:lin ang="5400000" scaled="0"/>
                </a:gradFill>
                <a:latin typeface="Segoe UI"/>
              </a:rPr>
              <a:t> of rows of data, by intelligent proactive caching of aggregates</a:t>
            </a:r>
          </a:p>
        </p:txBody>
      </p:sp>
      <p:grpSp>
        <p:nvGrpSpPr>
          <p:cNvPr id="3" name="Group 2">
            <a:extLst>
              <a:ext uri="{FF2B5EF4-FFF2-40B4-BE49-F238E27FC236}">
                <a16:creationId xmlns:a16="http://schemas.microsoft.com/office/drawing/2014/main" id="{838FD1E8-073A-46FD-8FAA-1A8C01F5EB3B}"/>
              </a:ext>
            </a:extLst>
          </p:cNvPr>
          <p:cNvGrpSpPr/>
          <p:nvPr/>
        </p:nvGrpSpPr>
        <p:grpSpPr>
          <a:xfrm>
            <a:off x="5931472" y="1646154"/>
            <a:ext cx="5757595" cy="4677243"/>
            <a:chOff x="6748937" y="2103242"/>
            <a:chExt cx="4836986" cy="3929379"/>
          </a:xfrm>
        </p:grpSpPr>
        <p:grpSp>
          <p:nvGrpSpPr>
            <p:cNvPr id="55" name="Group 54">
              <a:extLst>
                <a:ext uri="{FF2B5EF4-FFF2-40B4-BE49-F238E27FC236}">
                  <a16:creationId xmlns:a16="http://schemas.microsoft.com/office/drawing/2014/main" id="{49C07D6B-777F-46C0-8A93-E5F1541E1BA4}"/>
                </a:ext>
              </a:extLst>
            </p:cNvPr>
            <p:cNvGrpSpPr/>
            <p:nvPr/>
          </p:nvGrpSpPr>
          <p:grpSpPr>
            <a:xfrm>
              <a:off x="6748937" y="3909286"/>
              <a:ext cx="1021873" cy="788090"/>
              <a:chOff x="7335182" y="2754193"/>
              <a:chExt cx="1002069" cy="772816"/>
            </a:xfrm>
          </p:grpSpPr>
          <p:sp>
            <p:nvSpPr>
              <p:cNvPr id="56" name="Rectangle 55">
                <a:extLst>
                  <a:ext uri="{FF2B5EF4-FFF2-40B4-BE49-F238E27FC236}">
                    <a16:creationId xmlns:a16="http://schemas.microsoft.com/office/drawing/2014/main" id="{A86CEA19-06B5-4D34-8DEB-624978E1F5AC}"/>
                  </a:ext>
                </a:extLst>
              </p:cNvPr>
              <p:cNvSpPr/>
              <p:nvPr/>
            </p:nvSpPr>
            <p:spPr bwMode="auto">
              <a:xfrm>
                <a:off x="7335182" y="2754193"/>
                <a:ext cx="1002069" cy="7728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TextBox 56">
                <a:extLst>
                  <a:ext uri="{FF2B5EF4-FFF2-40B4-BE49-F238E27FC236}">
                    <a16:creationId xmlns:a16="http://schemas.microsoft.com/office/drawing/2014/main" id="{D8AAA5C4-1BF0-49D6-B4F6-30AF13AE896F}"/>
                  </a:ext>
                </a:extLst>
              </p:cNvPr>
              <p:cNvSpPr txBox="1"/>
              <p:nvPr/>
            </p:nvSpPr>
            <p:spPr>
              <a:xfrm>
                <a:off x="7471993" y="3251722"/>
                <a:ext cx="614164"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cale</a:t>
                </a:r>
              </a:p>
            </p:txBody>
          </p:sp>
        </p:grpSp>
        <p:grpSp>
          <p:nvGrpSpPr>
            <p:cNvPr id="34" name="Group 33">
              <a:extLst>
                <a:ext uri="{FF2B5EF4-FFF2-40B4-BE49-F238E27FC236}">
                  <a16:creationId xmlns:a16="http://schemas.microsoft.com/office/drawing/2014/main" id="{6B7A7BB4-EFFE-4A59-9B59-BDCFA405E1CB}"/>
                </a:ext>
              </a:extLst>
            </p:cNvPr>
            <p:cNvGrpSpPr/>
            <p:nvPr/>
          </p:nvGrpSpPr>
          <p:grpSpPr>
            <a:xfrm>
              <a:off x="9792870" y="3565087"/>
              <a:ext cx="1793053" cy="950639"/>
              <a:chOff x="9631588" y="3628499"/>
              <a:chExt cx="1758305" cy="932216"/>
            </a:xfrm>
          </p:grpSpPr>
          <p:sp>
            <p:nvSpPr>
              <p:cNvPr id="12" name="Rectangle 11">
                <a:extLst>
                  <a:ext uri="{FF2B5EF4-FFF2-40B4-BE49-F238E27FC236}">
                    <a16:creationId xmlns:a16="http://schemas.microsoft.com/office/drawing/2014/main" id="{07E101E0-85E2-42ED-A057-E28222421EC5}"/>
                  </a:ext>
                </a:extLst>
              </p:cNvPr>
              <p:cNvSpPr/>
              <p:nvPr/>
            </p:nvSpPr>
            <p:spPr bwMode="auto">
              <a:xfrm>
                <a:off x="9631588" y="3628499"/>
                <a:ext cx="1628620" cy="9322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TextBox 16">
                <a:extLst>
                  <a:ext uri="{FF2B5EF4-FFF2-40B4-BE49-F238E27FC236}">
                    <a16:creationId xmlns:a16="http://schemas.microsoft.com/office/drawing/2014/main" id="{9A9EC05E-1130-431C-9F4D-96DECFDD0FEB}"/>
                  </a:ext>
                </a:extLst>
              </p:cNvPr>
              <p:cNvSpPr txBox="1"/>
              <p:nvPr/>
            </p:nvSpPr>
            <p:spPr>
              <a:xfrm>
                <a:off x="10029825" y="4257147"/>
                <a:ext cx="1360068"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Monitoring</a:t>
                </a:r>
              </a:p>
            </p:txBody>
          </p:sp>
          <p:sp>
            <p:nvSpPr>
              <p:cNvPr id="53" name="Freeform 302">
                <a:extLst>
                  <a:ext uri="{FF2B5EF4-FFF2-40B4-BE49-F238E27FC236}">
                    <a16:creationId xmlns:a16="http://schemas.microsoft.com/office/drawing/2014/main" id="{88BFC4D9-5D72-424E-A7A6-84FAC7D525EE}"/>
                  </a:ext>
                </a:extLst>
              </p:cNvPr>
              <p:cNvSpPr/>
              <p:nvPr/>
            </p:nvSpPr>
            <p:spPr bwMode="auto">
              <a:xfrm>
                <a:off x="10488309" y="3793451"/>
                <a:ext cx="438380" cy="434318"/>
              </a:xfrm>
              <a:custGeom>
                <a:avLst/>
                <a:gdLst>
                  <a:gd name="connsiteX0" fmla="*/ 996965 w 6303772"/>
                  <a:gd name="connsiteY0" fmla="*/ 3294143 h 6303773"/>
                  <a:gd name="connsiteX1" fmla="*/ 1960544 w 6303772"/>
                  <a:gd name="connsiteY1" fmla="*/ 3294143 h 6303773"/>
                  <a:gd name="connsiteX2" fmla="*/ 1976018 w 6303772"/>
                  <a:gd name="connsiteY2" fmla="*/ 3395532 h 6303773"/>
                  <a:gd name="connsiteX3" fmla="*/ 2157926 w 6303772"/>
                  <a:gd name="connsiteY3" fmla="*/ 3827823 h 6303773"/>
                  <a:gd name="connsiteX4" fmla="*/ 2214651 w 6303772"/>
                  <a:gd name="connsiteY4" fmla="*/ 3903679 h 6303773"/>
                  <a:gd name="connsiteX5" fmla="*/ 1533192 w 6303772"/>
                  <a:gd name="connsiteY5" fmla="*/ 4585139 h 6303773"/>
                  <a:gd name="connsiteX6" fmla="*/ 1485447 w 6303772"/>
                  <a:gd name="connsiteY6" fmla="*/ 4532607 h 6303773"/>
                  <a:gd name="connsiteX7" fmla="*/ 1000988 w 6303772"/>
                  <a:gd name="connsiteY7" fmla="*/ 3373819 h 6303773"/>
                  <a:gd name="connsiteX8" fmla="*/ 3151886 w 6303772"/>
                  <a:gd name="connsiteY8" fmla="*/ 2778399 h 6303773"/>
                  <a:gd name="connsiteX9" fmla="*/ 3360706 w 6303772"/>
                  <a:gd name="connsiteY9" fmla="*/ 2842184 h 6303773"/>
                  <a:gd name="connsiteX10" fmla="*/ 3414121 w 6303772"/>
                  <a:gd name="connsiteY10" fmla="*/ 2886256 h 6303773"/>
                  <a:gd name="connsiteX11" fmla="*/ 5303721 w 6303772"/>
                  <a:gd name="connsiteY11" fmla="*/ 2886256 h 6303773"/>
                  <a:gd name="connsiteX12" fmla="*/ 5569350 w 6303772"/>
                  <a:gd name="connsiteY12" fmla="*/ 3151885 h 6303773"/>
                  <a:gd name="connsiteX13" fmla="*/ 5303721 w 6303772"/>
                  <a:gd name="connsiteY13" fmla="*/ 3417514 h 6303773"/>
                  <a:gd name="connsiteX14" fmla="*/ 3414121 w 6303772"/>
                  <a:gd name="connsiteY14" fmla="*/ 3417514 h 6303773"/>
                  <a:gd name="connsiteX15" fmla="*/ 3360706 w 6303772"/>
                  <a:gd name="connsiteY15" fmla="*/ 3461586 h 6303773"/>
                  <a:gd name="connsiteX16" fmla="*/ 3151886 w 6303772"/>
                  <a:gd name="connsiteY16" fmla="*/ 3525371 h 6303773"/>
                  <a:gd name="connsiteX17" fmla="*/ 2778400 w 6303772"/>
                  <a:gd name="connsiteY17" fmla="*/ 3151885 h 6303773"/>
                  <a:gd name="connsiteX18" fmla="*/ 3151886 w 6303772"/>
                  <a:gd name="connsiteY18" fmla="*/ 2778399 h 6303773"/>
                  <a:gd name="connsiteX19" fmla="*/ 4790800 w 6303772"/>
                  <a:gd name="connsiteY19" fmla="*/ 1722120 h 6303773"/>
                  <a:gd name="connsiteX20" fmla="*/ 4835374 w 6303772"/>
                  <a:gd name="connsiteY20" fmla="*/ 1771164 h 6303773"/>
                  <a:gd name="connsiteX21" fmla="*/ 5286941 w 6303772"/>
                  <a:gd name="connsiteY21" fmla="*/ 2714428 h 6303773"/>
                  <a:gd name="connsiteX22" fmla="*/ 5296704 w 6303772"/>
                  <a:gd name="connsiteY22" fmla="*/ 2778399 h 6303773"/>
                  <a:gd name="connsiteX23" fmla="*/ 4309896 w 6303772"/>
                  <a:gd name="connsiteY23" fmla="*/ 2778399 h 6303773"/>
                  <a:gd name="connsiteX24" fmla="*/ 4274360 w 6303772"/>
                  <a:gd name="connsiteY24" fmla="*/ 2681306 h 6303773"/>
                  <a:gd name="connsiteX25" fmla="*/ 4162895 w 6303772"/>
                  <a:gd name="connsiteY25" fmla="*/ 2475947 h 6303773"/>
                  <a:gd name="connsiteX26" fmla="*/ 4109019 w 6303772"/>
                  <a:gd name="connsiteY26" fmla="*/ 2403900 h 6303773"/>
                  <a:gd name="connsiteX27" fmla="*/ 1537875 w 6303772"/>
                  <a:gd name="connsiteY27" fmla="*/ 1713480 h 6303773"/>
                  <a:gd name="connsiteX28" fmla="*/ 2218859 w 6303772"/>
                  <a:gd name="connsiteY28" fmla="*/ 2394464 h 6303773"/>
                  <a:gd name="connsiteX29" fmla="*/ 2157927 w 6303772"/>
                  <a:gd name="connsiteY29" fmla="*/ 2475947 h 6303773"/>
                  <a:gd name="connsiteX30" fmla="*/ 1976019 w 6303772"/>
                  <a:gd name="connsiteY30" fmla="*/ 2908239 h 6303773"/>
                  <a:gd name="connsiteX31" fmla="*/ 1959706 w 6303772"/>
                  <a:gd name="connsiteY31" fmla="*/ 3015127 h 6303773"/>
                  <a:gd name="connsiteX32" fmla="*/ 996688 w 6303772"/>
                  <a:gd name="connsiteY32" fmla="*/ 3015127 h 6303773"/>
                  <a:gd name="connsiteX33" fmla="*/ 1000989 w 6303772"/>
                  <a:gd name="connsiteY33" fmla="*/ 2929951 h 6303773"/>
                  <a:gd name="connsiteX34" fmla="*/ 1485448 w 6303772"/>
                  <a:gd name="connsiteY34" fmla="*/ 1771164 h 6303773"/>
                  <a:gd name="connsiteX35" fmla="*/ 3012381 w 6303772"/>
                  <a:gd name="connsiteY35" fmla="*/ 988731 h 6303773"/>
                  <a:gd name="connsiteX36" fmla="*/ 3012381 w 6303772"/>
                  <a:gd name="connsiteY36" fmla="*/ 1952900 h 6303773"/>
                  <a:gd name="connsiteX37" fmla="*/ 2916765 w 6303772"/>
                  <a:gd name="connsiteY37" fmla="*/ 1967494 h 6303773"/>
                  <a:gd name="connsiteX38" fmla="*/ 2484473 w 6303772"/>
                  <a:gd name="connsiteY38" fmla="*/ 2149402 h 6303773"/>
                  <a:gd name="connsiteX39" fmla="*/ 2418053 w 6303772"/>
                  <a:gd name="connsiteY39" fmla="*/ 2199071 h 6303773"/>
                  <a:gd name="connsiteX40" fmla="*/ 1735798 w 6303772"/>
                  <a:gd name="connsiteY40" fmla="*/ 1516814 h 6303773"/>
                  <a:gd name="connsiteX41" fmla="*/ 1779690 w 6303772"/>
                  <a:gd name="connsiteY41" fmla="*/ 1476922 h 6303773"/>
                  <a:gd name="connsiteX42" fmla="*/ 2938477 w 6303772"/>
                  <a:gd name="connsiteY42" fmla="*/ 992463 h 6303773"/>
                  <a:gd name="connsiteX43" fmla="*/ 3291396 w 6303772"/>
                  <a:gd name="connsiteY43" fmla="*/ 987870 h 6303773"/>
                  <a:gd name="connsiteX44" fmla="*/ 3382344 w 6303772"/>
                  <a:gd name="connsiteY44" fmla="*/ 992463 h 6303773"/>
                  <a:gd name="connsiteX45" fmla="*/ 4541132 w 6303772"/>
                  <a:gd name="connsiteY45" fmla="*/ 1476922 h 6303773"/>
                  <a:gd name="connsiteX46" fmla="*/ 4593664 w 6303772"/>
                  <a:gd name="connsiteY46" fmla="*/ 1524667 h 6303773"/>
                  <a:gd name="connsiteX47" fmla="*/ 3912204 w 6303772"/>
                  <a:gd name="connsiteY47" fmla="*/ 2206126 h 6303773"/>
                  <a:gd name="connsiteX48" fmla="*/ 3836348 w 6303772"/>
                  <a:gd name="connsiteY48" fmla="*/ 2149402 h 6303773"/>
                  <a:gd name="connsiteX49" fmla="*/ 3404057 w 6303772"/>
                  <a:gd name="connsiteY49" fmla="*/ 1967494 h 6303773"/>
                  <a:gd name="connsiteX50" fmla="*/ 3291396 w 6303772"/>
                  <a:gd name="connsiteY50" fmla="*/ 1950299 h 6303773"/>
                  <a:gd name="connsiteX51" fmla="*/ 3151886 w 6303772"/>
                  <a:gd name="connsiteY51" fmla="*/ 467929 h 6303773"/>
                  <a:gd name="connsiteX52" fmla="*/ 467929 w 6303772"/>
                  <a:gd name="connsiteY52" fmla="*/ 3151886 h 6303773"/>
                  <a:gd name="connsiteX53" fmla="*/ 3151886 w 6303772"/>
                  <a:gd name="connsiteY53" fmla="*/ 5835844 h 6303773"/>
                  <a:gd name="connsiteX54" fmla="*/ 5835843 w 6303772"/>
                  <a:gd name="connsiteY54" fmla="*/ 3151886 h 6303773"/>
                  <a:gd name="connsiteX55" fmla="*/ 3151886 w 6303772"/>
                  <a:gd name="connsiteY55" fmla="*/ 467929 h 6303773"/>
                  <a:gd name="connsiteX56" fmla="*/ 3151886 w 6303772"/>
                  <a:gd name="connsiteY56" fmla="*/ 0 h 6303773"/>
                  <a:gd name="connsiteX57" fmla="*/ 6303772 w 6303772"/>
                  <a:gd name="connsiteY57" fmla="*/ 3151886 h 6303773"/>
                  <a:gd name="connsiteX58" fmla="*/ 3151886 w 6303772"/>
                  <a:gd name="connsiteY58" fmla="*/ 6303773 h 6303773"/>
                  <a:gd name="connsiteX59" fmla="*/ 0 w 6303772"/>
                  <a:gd name="connsiteY59" fmla="*/ 3151886 h 6303773"/>
                  <a:gd name="connsiteX60" fmla="*/ 3151886 w 6303772"/>
                  <a:gd name="connsiteY60" fmla="*/ 0 h 630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303772" h="6303773">
                    <a:moveTo>
                      <a:pt x="996965" y="3294143"/>
                    </a:moveTo>
                    <a:lnTo>
                      <a:pt x="1960544" y="3294143"/>
                    </a:lnTo>
                    <a:lnTo>
                      <a:pt x="1976018" y="3395532"/>
                    </a:lnTo>
                    <a:cubicBezTo>
                      <a:pt x="2008227" y="3552932"/>
                      <a:pt x="2071023" y="3699189"/>
                      <a:pt x="2157926" y="3827823"/>
                    </a:cubicBezTo>
                    <a:lnTo>
                      <a:pt x="2214651" y="3903679"/>
                    </a:lnTo>
                    <a:lnTo>
                      <a:pt x="1533192" y="4585139"/>
                    </a:lnTo>
                    <a:lnTo>
                      <a:pt x="1485447" y="4532607"/>
                    </a:lnTo>
                    <a:cubicBezTo>
                      <a:pt x="1220031" y="4210996"/>
                      <a:pt x="1045451" y="3811640"/>
                      <a:pt x="1000988" y="3373819"/>
                    </a:cubicBezTo>
                    <a:close/>
                    <a:moveTo>
                      <a:pt x="3151886" y="2778399"/>
                    </a:moveTo>
                    <a:cubicBezTo>
                      <a:pt x="3229237" y="2778399"/>
                      <a:pt x="3301097" y="2801913"/>
                      <a:pt x="3360706" y="2842184"/>
                    </a:cubicBezTo>
                    <a:lnTo>
                      <a:pt x="3414121" y="2886256"/>
                    </a:lnTo>
                    <a:lnTo>
                      <a:pt x="5303721" y="2886256"/>
                    </a:lnTo>
                    <a:cubicBezTo>
                      <a:pt x="5450424" y="2886256"/>
                      <a:pt x="5569350" y="3005182"/>
                      <a:pt x="5569350" y="3151885"/>
                    </a:cubicBezTo>
                    <a:cubicBezTo>
                      <a:pt x="5569350" y="3298588"/>
                      <a:pt x="5450424" y="3417514"/>
                      <a:pt x="5303721" y="3417514"/>
                    </a:cubicBezTo>
                    <a:lnTo>
                      <a:pt x="3414121" y="3417514"/>
                    </a:lnTo>
                    <a:lnTo>
                      <a:pt x="3360706" y="3461586"/>
                    </a:lnTo>
                    <a:cubicBezTo>
                      <a:pt x="3301097" y="3501857"/>
                      <a:pt x="3229237" y="3525371"/>
                      <a:pt x="3151886" y="3525371"/>
                    </a:cubicBezTo>
                    <a:cubicBezTo>
                      <a:pt x="2945615" y="3525371"/>
                      <a:pt x="2778400" y="3358156"/>
                      <a:pt x="2778400" y="3151885"/>
                    </a:cubicBezTo>
                    <a:cubicBezTo>
                      <a:pt x="2778400" y="2945614"/>
                      <a:pt x="2945615" y="2778399"/>
                      <a:pt x="3151886" y="2778399"/>
                    </a:cubicBezTo>
                    <a:close/>
                    <a:moveTo>
                      <a:pt x="4790800" y="1722120"/>
                    </a:moveTo>
                    <a:lnTo>
                      <a:pt x="4835374" y="1771164"/>
                    </a:lnTo>
                    <a:cubicBezTo>
                      <a:pt x="5056555" y="2039173"/>
                      <a:pt x="5214654" y="2361171"/>
                      <a:pt x="5286941" y="2714428"/>
                    </a:cubicBezTo>
                    <a:lnTo>
                      <a:pt x="5296704" y="2778399"/>
                    </a:lnTo>
                    <a:lnTo>
                      <a:pt x="4309896" y="2778399"/>
                    </a:lnTo>
                    <a:lnTo>
                      <a:pt x="4274360" y="2681306"/>
                    </a:lnTo>
                    <a:cubicBezTo>
                      <a:pt x="4243771" y="2608987"/>
                      <a:pt x="4206346" y="2540264"/>
                      <a:pt x="4162895" y="2475947"/>
                    </a:cubicBezTo>
                    <a:lnTo>
                      <a:pt x="4109019" y="2403900"/>
                    </a:lnTo>
                    <a:close/>
                    <a:moveTo>
                      <a:pt x="1537875" y="1713480"/>
                    </a:moveTo>
                    <a:lnTo>
                      <a:pt x="2218859" y="2394464"/>
                    </a:lnTo>
                    <a:lnTo>
                      <a:pt x="2157927" y="2475947"/>
                    </a:lnTo>
                    <a:cubicBezTo>
                      <a:pt x="2071024" y="2604581"/>
                      <a:pt x="2008228" y="2750839"/>
                      <a:pt x="1976019" y="2908239"/>
                    </a:cubicBezTo>
                    <a:lnTo>
                      <a:pt x="1959706" y="3015127"/>
                    </a:lnTo>
                    <a:lnTo>
                      <a:pt x="996688" y="3015127"/>
                    </a:lnTo>
                    <a:lnTo>
                      <a:pt x="1000989" y="2929951"/>
                    </a:lnTo>
                    <a:cubicBezTo>
                      <a:pt x="1045452" y="2492130"/>
                      <a:pt x="1220032" y="2092775"/>
                      <a:pt x="1485448" y="1771164"/>
                    </a:cubicBezTo>
                    <a:close/>
                    <a:moveTo>
                      <a:pt x="3012381" y="988731"/>
                    </a:moveTo>
                    <a:lnTo>
                      <a:pt x="3012381" y="1952900"/>
                    </a:lnTo>
                    <a:lnTo>
                      <a:pt x="2916765" y="1967494"/>
                    </a:lnTo>
                    <a:cubicBezTo>
                      <a:pt x="2759365" y="1999702"/>
                      <a:pt x="2613107" y="2062498"/>
                      <a:pt x="2484473" y="2149402"/>
                    </a:cubicBezTo>
                    <a:lnTo>
                      <a:pt x="2418053" y="2199071"/>
                    </a:lnTo>
                    <a:lnTo>
                      <a:pt x="1735798" y="1516814"/>
                    </a:lnTo>
                    <a:lnTo>
                      <a:pt x="1779690" y="1476922"/>
                    </a:lnTo>
                    <a:cubicBezTo>
                      <a:pt x="2101301" y="1211505"/>
                      <a:pt x="2500656" y="1036926"/>
                      <a:pt x="2938477" y="992463"/>
                    </a:cubicBezTo>
                    <a:close/>
                    <a:moveTo>
                      <a:pt x="3291396" y="987870"/>
                    </a:moveTo>
                    <a:lnTo>
                      <a:pt x="3382344" y="992463"/>
                    </a:lnTo>
                    <a:cubicBezTo>
                      <a:pt x="3820165" y="1036926"/>
                      <a:pt x="4219521" y="1211505"/>
                      <a:pt x="4541132" y="1476922"/>
                    </a:cubicBezTo>
                    <a:lnTo>
                      <a:pt x="4593664" y="1524667"/>
                    </a:lnTo>
                    <a:lnTo>
                      <a:pt x="3912204" y="2206126"/>
                    </a:lnTo>
                    <a:lnTo>
                      <a:pt x="3836348" y="2149402"/>
                    </a:lnTo>
                    <a:cubicBezTo>
                      <a:pt x="3707714" y="2062498"/>
                      <a:pt x="3561457" y="1999703"/>
                      <a:pt x="3404057" y="1967494"/>
                    </a:cubicBezTo>
                    <a:lnTo>
                      <a:pt x="3291396" y="1950299"/>
                    </a:lnTo>
                    <a:close/>
                    <a:moveTo>
                      <a:pt x="3151886" y="467929"/>
                    </a:moveTo>
                    <a:cubicBezTo>
                      <a:pt x="1669577" y="467929"/>
                      <a:pt x="467929" y="1669578"/>
                      <a:pt x="467929" y="3151886"/>
                    </a:cubicBezTo>
                    <a:cubicBezTo>
                      <a:pt x="467929" y="4634195"/>
                      <a:pt x="1669577" y="5835844"/>
                      <a:pt x="3151886" y="5835844"/>
                    </a:cubicBezTo>
                    <a:cubicBezTo>
                      <a:pt x="4634195" y="5835844"/>
                      <a:pt x="5835843" y="4634195"/>
                      <a:pt x="5835843" y="3151886"/>
                    </a:cubicBezTo>
                    <a:cubicBezTo>
                      <a:pt x="5835843" y="1669578"/>
                      <a:pt x="4634195" y="467929"/>
                      <a:pt x="3151886" y="467929"/>
                    </a:cubicBezTo>
                    <a:close/>
                    <a:moveTo>
                      <a:pt x="3151886" y="0"/>
                    </a:moveTo>
                    <a:cubicBezTo>
                      <a:pt x="4892625" y="0"/>
                      <a:pt x="6303772" y="1411147"/>
                      <a:pt x="6303772" y="3151886"/>
                    </a:cubicBezTo>
                    <a:cubicBezTo>
                      <a:pt x="6303772" y="4892625"/>
                      <a:pt x="4892625" y="6303773"/>
                      <a:pt x="3151886" y="6303773"/>
                    </a:cubicBezTo>
                    <a:cubicBezTo>
                      <a:pt x="1411147" y="6303773"/>
                      <a:pt x="0" y="4892625"/>
                      <a:pt x="0" y="3151886"/>
                    </a:cubicBezTo>
                    <a:cubicBezTo>
                      <a:pt x="0" y="1411147"/>
                      <a:pt x="1411147" y="0"/>
                      <a:pt x="315188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5" tIns="149156" rIns="186445" bIns="149156" numCol="1" spcCol="0" rtlCol="0" fromWordArt="0" anchor="t" anchorCtr="0" forceAA="0" compatLnSpc="1">
                <a:prstTxWarp prst="textNoShape">
                  <a:avLst/>
                </a:prstTxWarp>
                <a:noAutofit/>
              </a:bodyPr>
              <a:lstStyle/>
              <a:p>
                <a:pPr algn="ctr" defTabSz="95054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5F29880-C91E-4B9C-95D4-98BAC5BB5A31}"/>
                </a:ext>
              </a:extLst>
            </p:cNvPr>
            <p:cNvGrpSpPr/>
            <p:nvPr/>
          </p:nvGrpSpPr>
          <p:grpSpPr>
            <a:xfrm>
              <a:off x="9856493" y="4623907"/>
              <a:ext cx="1021873" cy="977469"/>
              <a:chOff x="8851277" y="4706240"/>
              <a:chExt cx="1002069" cy="958525"/>
            </a:xfrm>
          </p:grpSpPr>
          <p:grpSp>
            <p:nvGrpSpPr>
              <p:cNvPr id="46" name="Group 45">
                <a:extLst>
                  <a:ext uri="{FF2B5EF4-FFF2-40B4-BE49-F238E27FC236}">
                    <a16:creationId xmlns:a16="http://schemas.microsoft.com/office/drawing/2014/main" id="{95506EB5-F2AE-4178-8E2F-08AEDF2B01EA}"/>
                  </a:ext>
                </a:extLst>
              </p:cNvPr>
              <p:cNvGrpSpPr/>
              <p:nvPr/>
            </p:nvGrpSpPr>
            <p:grpSpPr>
              <a:xfrm>
                <a:off x="8851277" y="4706240"/>
                <a:ext cx="1002069" cy="958525"/>
                <a:chOff x="7310655" y="4056710"/>
                <a:chExt cx="1002069" cy="958525"/>
              </a:xfrm>
            </p:grpSpPr>
            <p:sp>
              <p:nvSpPr>
                <p:cNvPr id="48" name="Rectangle 47">
                  <a:extLst>
                    <a:ext uri="{FF2B5EF4-FFF2-40B4-BE49-F238E27FC236}">
                      <a16:creationId xmlns:a16="http://schemas.microsoft.com/office/drawing/2014/main" id="{3BBCC616-9B92-4CBB-AC98-E588D0200A3E}"/>
                    </a:ext>
                  </a:extLst>
                </p:cNvPr>
                <p:cNvSpPr/>
                <p:nvPr/>
              </p:nvSpPr>
              <p:spPr bwMode="auto">
                <a:xfrm>
                  <a:off x="7310655" y="4056710"/>
                  <a:ext cx="1002069" cy="958525"/>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D61EC8B2-02EA-4D96-BBFC-4653DAA71B75}"/>
                    </a:ext>
                  </a:extLst>
                </p:cNvPr>
                <p:cNvSpPr txBox="1"/>
                <p:nvPr/>
              </p:nvSpPr>
              <p:spPr>
                <a:xfrm>
                  <a:off x="7320704" y="4692997"/>
                  <a:ext cx="992020" cy="239439"/>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Automation</a:t>
                  </a:r>
                </a:p>
              </p:txBody>
            </p:sp>
          </p:grpSp>
          <p:sp>
            <p:nvSpPr>
              <p:cNvPr id="50" name="Freeform 9">
                <a:extLst>
                  <a:ext uri="{FF2B5EF4-FFF2-40B4-BE49-F238E27FC236}">
                    <a16:creationId xmlns:a16="http://schemas.microsoft.com/office/drawing/2014/main" id="{69B20F63-D6FA-48C3-95C1-D38D38433840}"/>
                  </a:ext>
                </a:extLst>
              </p:cNvPr>
              <p:cNvSpPr>
                <a:spLocks noChangeAspect="1" noEditPoints="1"/>
              </p:cNvSpPr>
              <p:nvPr/>
            </p:nvSpPr>
            <p:spPr bwMode="black">
              <a:xfrm>
                <a:off x="9041661" y="4889459"/>
                <a:ext cx="579514" cy="46988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noFill/>
              <a:ln>
                <a:solidFill>
                  <a:schemeClr val="tx1"/>
                </a:solidFill>
              </a:ln>
            </p:spPr>
            <p:txBody>
              <a:bodyPr vert="horz" wrap="square" lIns="89605" tIns="44803" rIns="89605" bIns="44803" numCol="1" anchor="t" anchorCtr="0" compatLnSpc="1">
                <a:prstTxWarp prst="textNoShape">
                  <a:avLst/>
                </a:prstTxWarp>
              </a:bodyPr>
              <a:lstStyle/>
              <a:p>
                <a:pPr defTabSz="913935">
                  <a:defRPr/>
                </a:pPr>
                <a:endParaRPr lang="en-US" sz="1764" kern="0">
                  <a:solidFill>
                    <a:srgbClr val="2C2C2C"/>
                  </a:solidFill>
                  <a:latin typeface="Segoe UI"/>
                </a:endParaRPr>
              </a:p>
            </p:txBody>
          </p:sp>
        </p:grpSp>
        <p:grpSp>
          <p:nvGrpSpPr>
            <p:cNvPr id="10" name="Group 9">
              <a:extLst>
                <a:ext uri="{FF2B5EF4-FFF2-40B4-BE49-F238E27FC236}">
                  <a16:creationId xmlns:a16="http://schemas.microsoft.com/office/drawing/2014/main" id="{B3D14A97-B56B-4A02-B6E9-06D860B1FDF1}"/>
                </a:ext>
              </a:extLst>
            </p:cNvPr>
            <p:cNvGrpSpPr/>
            <p:nvPr/>
          </p:nvGrpSpPr>
          <p:grpSpPr>
            <a:xfrm>
              <a:off x="8680010" y="4861020"/>
              <a:ext cx="1060110" cy="1171601"/>
              <a:chOff x="8147678" y="4623056"/>
              <a:chExt cx="1039565" cy="1148896"/>
            </a:xfrm>
          </p:grpSpPr>
          <p:grpSp>
            <p:nvGrpSpPr>
              <p:cNvPr id="39" name="Group 38">
                <a:extLst>
                  <a:ext uri="{FF2B5EF4-FFF2-40B4-BE49-F238E27FC236}">
                    <a16:creationId xmlns:a16="http://schemas.microsoft.com/office/drawing/2014/main" id="{9637A655-C5F4-4470-9960-92B9437E9986}"/>
                  </a:ext>
                </a:extLst>
              </p:cNvPr>
              <p:cNvGrpSpPr/>
              <p:nvPr/>
            </p:nvGrpSpPr>
            <p:grpSpPr>
              <a:xfrm>
                <a:off x="8147678" y="4623056"/>
                <a:ext cx="1039565" cy="1148896"/>
                <a:chOff x="7273159" y="4056710"/>
                <a:chExt cx="1039565" cy="1148896"/>
              </a:xfrm>
            </p:grpSpPr>
            <p:sp>
              <p:nvSpPr>
                <p:cNvPr id="40" name="Rectangle 39">
                  <a:extLst>
                    <a:ext uri="{FF2B5EF4-FFF2-40B4-BE49-F238E27FC236}">
                      <a16:creationId xmlns:a16="http://schemas.microsoft.com/office/drawing/2014/main" id="{A682DFAA-03F6-4130-BC6E-0A32BDAFF272}"/>
                    </a:ext>
                  </a:extLst>
                </p:cNvPr>
                <p:cNvSpPr/>
                <p:nvPr/>
              </p:nvSpPr>
              <p:spPr bwMode="auto">
                <a:xfrm>
                  <a:off x="7310655" y="4056710"/>
                  <a:ext cx="1002069" cy="114889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91611D8-0AC6-4C4E-B858-CB346BBAF1D3}"/>
                    </a:ext>
                  </a:extLst>
                </p:cNvPr>
                <p:cNvSpPr txBox="1"/>
                <p:nvPr/>
              </p:nvSpPr>
              <p:spPr>
                <a:xfrm>
                  <a:off x="7273159" y="4731396"/>
                  <a:ext cx="1039565"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Familiar Developer Tools</a:t>
                  </a:r>
                </a:p>
              </p:txBody>
            </p:sp>
          </p:grpSp>
          <p:sp>
            <p:nvSpPr>
              <p:cNvPr id="43" name="Freeform 13">
                <a:extLst>
                  <a:ext uri="{FF2B5EF4-FFF2-40B4-BE49-F238E27FC236}">
                    <a16:creationId xmlns:a16="http://schemas.microsoft.com/office/drawing/2014/main" id="{20323865-C557-467F-B6D2-56EE6096AFC8}"/>
                  </a:ext>
                </a:extLst>
              </p:cNvPr>
              <p:cNvSpPr>
                <a:spLocks noChangeAspect="1" noEditPoints="1"/>
              </p:cNvSpPr>
              <p:nvPr/>
            </p:nvSpPr>
            <p:spPr bwMode="black">
              <a:xfrm>
                <a:off x="8513644" y="4825749"/>
                <a:ext cx="307631" cy="308016"/>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tx1"/>
              </a:solidFill>
              <a:ln>
                <a:solidFill>
                  <a:schemeClr val="tx1"/>
                </a:solidFill>
              </a:ln>
            </p:spPr>
            <p:txBody>
              <a:bodyPr vert="horz" wrap="square" lIns="91403" tIns="45700" rIns="91403" bIns="45700" numCol="1" anchor="t" anchorCtr="0" compatLnSpc="1">
                <a:prstTxWarp prst="textNoShape">
                  <a:avLst/>
                </a:prstTxWarp>
              </a:bodyPr>
              <a:lstStyle/>
              <a:p>
                <a:pPr defTabSz="932267">
                  <a:defRPr/>
                </a:pPr>
                <a:endParaRPr lang="en-US" kern="0">
                  <a:solidFill>
                    <a:srgbClr val="FFFFFF"/>
                  </a:solidFill>
                  <a:latin typeface="Segoe UI"/>
                </a:endParaRPr>
              </a:p>
            </p:txBody>
          </p:sp>
        </p:grpSp>
        <p:grpSp>
          <p:nvGrpSpPr>
            <p:cNvPr id="9" name="Group 8">
              <a:extLst>
                <a:ext uri="{FF2B5EF4-FFF2-40B4-BE49-F238E27FC236}">
                  <a16:creationId xmlns:a16="http://schemas.microsoft.com/office/drawing/2014/main" id="{8848A67E-0279-48F2-ABA7-FFF081366C5D}"/>
                </a:ext>
              </a:extLst>
            </p:cNvPr>
            <p:cNvGrpSpPr/>
            <p:nvPr/>
          </p:nvGrpSpPr>
          <p:grpSpPr>
            <a:xfrm>
              <a:off x="9563844" y="2353982"/>
              <a:ext cx="1443323" cy="1114411"/>
              <a:chOff x="10135554" y="2158781"/>
              <a:chExt cx="1415352" cy="1092814"/>
            </a:xfrm>
          </p:grpSpPr>
          <p:sp>
            <p:nvSpPr>
              <p:cNvPr id="13" name="Rectangle 12">
                <a:extLst>
                  <a:ext uri="{FF2B5EF4-FFF2-40B4-BE49-F238E27FC236}">
                    <a16:creationId xmlns:a16="http://schemas.microsoft.com/office/drawing/2014/main" id="{5DB6E6BD-DA2A-4D1D-AAF5-3005034E7A39}"/>
                  </a:ext>
                </a:extLst>
              </p:cNvPr>
              <p:cNvSpPr/>
              <p:nvPr/>
            </p:nvSpPr>
            <p:spPr bwMode="auto">
              <a:xfrm>
                <a:off x="10135554" y="2158781"/>
                <a:ext cx="1405421" cy="1092814"/>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TextBox 18">
                <a:extLst>
                  <a:ext uri="{FF2B5EF4-FFF2-40B4-BE49-F238E27FC236}">
                    <a16:creationId xmlns:a16="http://schemas.microsoft.com/office/drawing/2014/main" id="{0C749DFA-FD10-46F8-BEED-F4429B584B4E}"/>
                  </a:ext>
                </a:extLst>
              </p:cNvPr>
              <p:cNvSpPr txBox="1"/>
              <p:nvPr/>
            </p:nvSpPr>
            <p:spPr>
              <a:xfrm>
                <a:off x="10145485" y="2831815"/>
                <a:ext cx="1405421" cy="364827"/>
              </a:xfrm>
              <a:prstGeom prst="rect">
                <a:avLst/>
              </a:prstGeom>
              <a:noFill/>
              <a:ln>
                <a:noFill/>
              </a:ln>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Rich Semantic Modeling</a:t>
                </a:r>
              </a:p>
            </p:txBody>
          </p:sp>
          <p:sp>
            <p:nvSpPr>
              <p:cNvPr id="20" name="Freeform 21">
                <a:extLst>
                  <a:ext uri="{FF2B5EF4-FFF2-40B4-BE49-F238E27FC236}">
                    <a16:creationId xmlns:a16="http://schemas.microsoft.com/office/drawing/2014/main" id="{41F7B92B-8486-4486-8CE0-EC433FAC0917}"/>
                  </a:ext>
                </a:extLst>
              </p:cNvPr>
              <p:cNvSpPr>
                <a:spLocks noChangeAspect="1" noEditPoints="1"/>
              </p:cNvSpPr>
              <p:nvPr/>
            </p:nvSpPr>
            <p:spPr bwMode="black">
              <a:xfrm>
                <a:off x="10508522" y="2321733"/>
                <a:ext cx="527282" cy="45957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3007" tIns="74407" rIns="93007" bIns="74407" numCol="1" spcCol="0" rtlCol="0" fromWordArt="0" anchor="t" anchorCtr="0" forceAA="0" compatLnSpc="1">
                <a:prstTxWarp prst="textNoShape">
                  <a:avLst/>
                </a:prstTxWarp>
                <a:noAutofit/>
              </a:bodyPr>
              <a:lstStyle/>
              <a:p>
                <a:pPr algn="ctr" defTabSz="474150" fontAlgn="base">
                  <a:lnSpc>
                    <a:spcPct val="90000"/>
                  </a:lnSpc>
                  <a:spcBef>
                    <a:spcPct val="0"/>
                  </a:spcBef>
                  <a:spcAft>
                    <a:spcPct val="0"/>
                  </a:spcAft>
                  <a:defRPr/>
                </a:pPr>
                <a:endParaRPr lang="en-US" sz="122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A0AAE348-7DAC-4BDC-8C70-EEA3A9176E13}"/>
                </a:ext>
              </a:extLst>
            </p:cNvPr>
            <p:cNvGrpSpPr/>
            <p:nvPr/>
          </p:nvGrpSpPr>
          <p:grpSpPr>
            <a:xfrm>
              <a:off x="8339358" y="2103242"/>
              <a:ext cx="1084667" cy="1270946"/>
              <a:chOff x="8531428" y="1852879"/>
              <a:chExt cx="1063647" cy="1246316"/>
            </a:xfrm>
          </p:grpSpPr>
          <p:sp>
            <p:nvSpPr>
              <p:cNvPr id="14" name="Rectangle 13">
                <a:extLst>
                  <a:ext uri="{FF2B5EF4-FFF2-40B4-BE49-F238E27FC236}">
                    <a16:creationId xmlns:a16="http://schemas.microsoft.com/office/drawing/2014/main" id="{F3A203C5-C2CC-4EF7-BC3E-A7ECF7A899C4}"/>
                  </a:ext>
                </a:extLst>
              </p:cNvPr>
              <p:cNvSpPr/>
              <p:nvPr/>
            </p:nvSpPr>
            <p:spPr bwMode="auto">
              <a:xfrm>
                <a:off x="8531428" y="1852879"/>
                <a:ext cx="1063647" cy="1246316"/>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FC5E89E7-5637-4FE8-A6AB-C13BF7576E31}"/>
                  </a:ext>
                </a:extLst>
              </p:cNvPr>
              <p:cNvSpPr txBox="1"/>
              <p:nvPr/>
            </p:nvSpPr>
            <p:spPr>
              <a:xfrm>
                <a:off x="8563549" y="2436051"/>
                <a:ext cx="929690" cy="239440"/>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Security</a:t>
                </a:r>
              </a:p>
            </p:txBody>
          </p:sp>
          <p:sp>
            <p:nvSpPr>
              <p:cNvPr id="22" name="Freeform 99">
                <a:extLst>
                  <a:ext uri="{FF2B5EF4-FFF2-40B4-BE49-F238E27FC236}">
                    <a16:creationId xmlns:a16="http://schemas.microsoft.com/office/drawing/2014/main" id="{72641601-3B8C-495D-A377-B3496B6FEBDC}"/>
                  </a:ext>
                </a:extLst>
              </p:cNvPr>
              <p:cNvSpPr>
                <a:spLocks noChangeAspect="1"/>
              </p:cNvSpPr>
              <p:nvPr/>
            </p:nvSpPr>
            <p:spPr bwMode="auto">
              <a:xfrm>
                <a:off x="8852440" y="2002724"/>
                <a:ext cx="299199" cy="336810"/>
              </a:xfrm>
              <a:custGeom>
                <a:avLst/>
                <a:gdLst/>
                <a:ahLst/>
                <a:cxnLst/>
                <a:rect l="l" t="t" r="r" b="b"/>
                <a:pathLst>
                  <a:path w="1407693" h="1585061">
                    <a:moveTo>
                      <a:pt x="983922" y="368134"/>
                    </a:moveTo>
                    <a:cubicBezTo>
                      <a:pt x="975073" y="368134"/>
                      <a:pt x="959144" y="369906"/>
                      <a:pt x="935252" y="373450"/>
                    </a:cubicBezTo>
                    <a:cubicBezTo>
                      <a:pt x="911359" y="376107"/>
                      <a:pt x="896315" y="379651"/>
                      <a:pt x="889236" y="382309"/>
                    </a:cubicBezTo>
                    <a:cubicBezTo>
                      <a:pt x="882157" y="385853"/>
                      <a:pt x="869768" y="396484"/>
                      <a:pt x="852069" y="414203"/>
                    </a:cubicBezTo>
                    <a:cubicBezTo>
                      <a:pt x="833486" y="432807"/>
                      <a:pt x="806939" y="465587"/>
                      <a:pt x="772427" y="514313"/>
                    </a:cubicBezTo>
                    <a:cubicBezTo>
                      <a:pt x="737915" y="563040"/>
                      <a:pt x="706058" y="614424"/>
                      <a:pt x="675971" y="668466"/>
                    </a:cubicBezTo>
                    <a:cubicBezTo>
                      <a:pt x="646769" y="722508"/>
                      <a:pt x="618452" y="779208"/>
                      <a:pt x="592789" y="836794"/>
                    </a:cubicBezTo>
                    <a:cubicBezTo>
                      <a:pt x="568896" y="796041"/>
                      <a:pt x="546773" y="767691"/>
                      <a:pt x="527305" y="753516"/>
                    </a:cubicBezTo>
                    <a:cubicBezTo>
                      <a:pt x="507837" y="738455"/>
                      <a:pt x="491024" y="731367"/>
                      <a:pt x="477750" y="731367"/>
                    </a:cubicBezTo>
                    <a:cubicBezTo>
                      <a:pt x="467131" y="731367"/>
                      <a:pt x="454742" y="736683"/>
                      <a:pt x="438814" y="748200"/>
                    </a:cubicBezTo>
                    <a:cubicBezTo>
                      <a:pt x="422885" y="758831"/>
                      <a:pt x="414921" y="770349"/>
                      <a:pt x="414921" y="780980"/>
                    </a:cubicBezTo>
                    <a:cubicBezTo>
                      <a:pt x="414921" y="788067"/>
                      <a:pt x="422000" y="799584"/>
                      <a:pt x="437044" y="815531"/>
                    </a:cubicBezTo>
                    <a:cubicBezTo>
                      <a:pt x="465361" y="845653"/>
                      <a:pt x="490139" y="877547"/>
                      <a:pt x="512262" y="911212"/>
                    </a:cubicBezTo>
                    <a:cubicBezTo>
                      <a:pt x="525536" y="931589"/>
                      <a:pt x="534385" y="943992"/>
                      <a:pt x="538809" y="948422"/>
                    </a:cubicBezTo>
                    <a:cubicBezTo>
                      <a:pt x="543234" y="952851"/>
                      <a:pt x="556508" y="955509"/>
                      <a:pt x="579515" y="955509"/>
                    </a:cubicBezTo>
                    <a:cubicBezTo>
                      <a:pt x="610487" y="955509"/>
                      <a:pt x="629071" y="951079"/>
                      <a:pt x="635265" y="943106"/>
                    </a:cubicBezTo>
                    <a:cubicBezTo>
                      <a:pt x="640575" y="936018"/>
                      <a:pt x="651194" y="912984"/>
                      <a:pt x="667122" y="874003"/>
                    </a:cubicBezTo>
                    <a:cubicBezTo>
                      <a:pt x="706058" y="777436"/>
                      <a:pt x="754729" y="685299"/>
                      <a:pt x="813133" y="597591"/>
                    </a:cubicBezTo>
                    <a:cubicBezTo>
                      <a:pt x="870653" y="509884"/>
                      <a:pt x="923748" y="443439"/>
                      <a:pt x="972418" y="399142"/>
                    </a:cubicBezTo>
                    <a:cubicBezTo>
                      <a:pt x="982152" y="390282"/>
                      <a:pt x="987462" y="384967"/>
                      <a:pt x="989231" y="382309"/>
                    </a:cubicBezTo>
                    <a:cubicBezTo>
                      <a:pt x="991886" y="379651"/>
                      <a:pt x="992771" y="376993"/>
                      <a:pt x="992771" y="374336"/>
                    </a:cubicBezTo>
                    <a:cubicBezTo>
                      <a:pt x="992771" y="369906"/>
                      <a:pt x="990116" y="368134"/>
                      <a:pt x="983922" y="368134"/>
                    </a:cubicBezTo>
                    <a:close/>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solidFill>
                    <a:srgbClr val="0078D7"/>
                  </a:solidFill>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5D2F58EB-7FEE-4B54-8886-6DB5AF4068BD}"/>
                </a:ext>
              </a:extLst>
            </p:cNvPr>
            <p:cNvGrpSpPr/>
            <p:nvPr/>
          </p:nvGrpSpPr>
          <p:grpSpPr>
            <a:xfrm>
              <a:off x="7394873" y="4748857"/>
              <a:ext cx="1115542" cy="1121502"/>
              <a:chOff x="7310655" y="4056710"/>
              <a:chExt cx="1093922" cy="1099768"/>
            </a:xfrm>
          </p:grpSpPr>
          <p:sp>
            <p:nvSpPr>
              <p:cNvPr id="11" name="Rectangle 10">
                <a:extLst>
                  <a:ext uri="{FF2B5EF4-FFF2-40B4-BE49-F238E27FC236}">
                    <a16:creationId xmlns:a16="http://schemas.microsoft.com/office/drawing/2014/main" id="{F815763A-2AA0-4E40-9124-7695CA699934}"/>
                  </a:ext>
                </a:extLst>
              </p:cNvPr>
              <p:cNvSpPr/>
              <p:nvPr/>
            </p:nvSpPr>
            <p:spPr bwMode="auto">
              <a:xfrm>
                <a:off x="7310655" y="4056710"/>
                <a:ext cx="1093922" cy="1099768"/>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 name="Freeform 214">
                <a:extLst>
                  <a:ext uri="{FF2B5EF4-FFF2-40B4-BE49-F238E27FC236}">
                    <a16:creationId xmlns:a16="http://schemas.microsoft.com/office/drawing/2014/main" id="{4C6B7437-D815-4C6F-9BAE-20BE8E34F310}"/>
                  </a:ext>
                </a:extLst>
              </p:cNvPr>
              <p:cNvSpPr/>
              <p:nvPr/>
            </p:nvSpPr>
            <p:spPr bwMode="auto">
              <a:xfrm flipH="1" flipV="1">
                <a:off x="7634776" y="4286796"/>
                <a:ext cx="403391" cy="403391"/>
              </a:xfrm>
              <a:custGeom>
                <a:avLst/>
                <a:gdLst/>
                <a:ahLst/>
                <a:cxnLst/>
                <a:rect l="l" t="t" r="r" b="b"/>
                <a:pathLst>
                  <a:path w="4301747" h="4270663">
                    <a:moveTo>
                      <a:pt x="639250" y="2400189"/>
                    </a:moveTo>
                    <a:lnTo>
                      <a:pt x="3920" y="2311124"/>
                    </a:lnTo>
                    <a:cubicBezTo>
                      <a:pt x="-106916" y="318049"/>
                      <a:pt x="2157312" y="-748752"/>
                      <a:pt x="3661520" y="607015"/>
                    </a:cubicBezTo>
                    <a:lnTo>
                      <a:pt x="4094970" y="179504"/>
                    </a:lnTo>
                    <a:lnTo>
                      <a:pt x="4296850" y="1675795"/>
                    </a:lnTo>
                    <a:lnTo>
                      <a:pt x="2830248" y="1456101"/>
                    </a:lnTo>
                    <a:lnTo>
                      <a:pt x="3234009" y="1064215"/>
                    </a:lnTo>
                    <a:cubicBezTo>
                      <a:pt x="2826289" y="517951"/>
                      <a:pt x="631335" y="120127"/>
                      <a:pt x="639250" y="2400189"/>
                    </a:cubicBezTo>
                    <a:close/>
                    <a:moveTo>
                      <a:pt x="2177409" y="4270606"/>
                    </a:moveTo>
                    <a:cubicBezTo>
                      <a:pt x="1654578" y="4274424"/>
                      <a:pt x="1110292" y="4087325"/>
                      <a:pt x="640227" y="3663648"/>
                    </a:cubicBezTo>
                    <a:lnTo>
                      <a:pt x="206777" y="4091159"/>
                    </a:lnTo>
                    <a:lnTo>
                      <a:pt x="4897" y="2594868"/>
                    </a:lnTo>
                    <a:lnTo>
                      <a:pt x="1471499" y="2814562"/>
                    </a:lnTo>
                    <a:lnTo>
                      <a:pt x="1067738" y="3206448"/>
                    </a:lnTo>
                    <a:cubicBezTo>
                      <a:pt x="1475458" y="3752712"/>
                      <a:pt x="3670412" y="4150536"/>
                      <a:pt x="3662497" y="1870474"/>
                    </a:cubicBezTo>
                    <a:lnTo>
                      <a:pt x="4297827" y="1959539"/>
                    </a:lnTo>
                    <a:cubicBezTo>
                      <a:pt x="4374027" y="3329778"/>
                      <a:pt x="3327638" y="4262208"/>
                      <a:pt x="2177409" y="4270606"/>
                    </a:cubicBezTo>
                    <a:close/>
                  </a:path>
                </a:pathLst>
              </a:cu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1403" tIns="45700" rIns="45700" bIns="91403" numCol="1" spcCol="0" rtlCol="0" fromWordArt="0" anchor="b" anchorCtr="0" forceAA="0" compatLnSpc="1">
                <a:prstTxWarp prst="textNoShape">
                  <a:avLst/>
                </a:prstTxWarp>
                <a:noAutofit/>
              </a:bodyPr>
              <a:lstStyle/>
              <a:p>
                <a:pPr algn="ctr" defTabSz="913633" fontAlgn="base">
                  <a:spcBef>
                    <a:spcPct val="0"/>
                  </a:spcBef>
                  <a:spcAft>
                    <a:spcPct val="0"/>
                  </a:spcAft>
                  <a:defRPr/>
                </a:pPr>
                <a:endParaRPr lang="en-US" kern="0" spc="-5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TextBox 25">
                <a:extLst>
                  <a:ext uri="{FF2B5EF4-FFF2-40B4-BE49-F238E27FC236}">
                    <a16:creationId xmlns:a16="http://schemas.microsoft.com/office/drawing/2014/main" id="{6EED6A32-3000-4676-89AE-A58F43BA49EF}"/>
                  </a:ext>
                </a:extLst>
              </p:cNvPr>
              <p:cNvSpPr txBox="1"/>
              <p:nvPr/>
            </p:nvSpPr>
            <p:spPr>
              <a:xfrm>
                <a:off x="7316835" y="4693377"/>
                <a:ext cx="1087742"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ifecycle Management</a:t>
                </a:r>
              </a:p>
            </p:txBody>
          </p:sp>
        </p:grpSp>
        <p:grpSp>
          <p:nvGrpSpPr>
            <p:cNvPr id="6" name="Group 5">
              <a:extLst>
                <a:ext uri="{FF2B5EF4-FFF2-40B4-BE49-F238E27FC236}">
                  <a16:creationId xmlns:a16="http://schemas.microsoft.com/office/drawing/2014/main" id="{A3533D80-6FA4-4AB7-B03E-838B6B8263D2}"/>
                </a:ext>
              </a:extLst>
            </p:cNvPr>
            <p:cNvGrpSpPr/>
            <p:nvPr/>
          </p:nvGrpSpPr>
          <p:grpSpPr>
            <a:xfrm>
              <a:off x="7066686" y="2644429"/>
              <a:ext cx="1092860" cy="1149151"/>
              <a:chOff x="6962373" y="2500514"/>
              <a:chExt cx="1071681" cy="1126881"/>
            </a:xfrm>
          </p:grpSpPr>
          <p:sp>
            <p:nvSpPr>
              <p:cNvPr id="15" name="Rectangle 14">
                <a:extLst>
                  <a:ext uri="{FF2B5EF4-FFF2-40B4-BE49-F238E27FC236}">
                    <a16:creationId xmlns:a16="http://schemas.microsoft.com/office/drawing/2014/main" id="{BD69C2E0-28F6-42D8-88A6-44BCB0E89268}"/>
                  </a:ext>
                </a:extLst>
              </p:cNvPr>
              <p:cNvSpPr/>
              <p:nvPr/>
            </p:nvSpPr>
            <p:spPr bwMode="auto">
              <a:xfrm>
                <a:off x="6963530" y="2500514"/>
                <a:ext cx="1070524" cy="1126881"/>
              </a:xfrm>
              <a:prstGeom prst="rect">
                <a:avLst/>
              </a:prstGeom>
              <a:noFill/>
              <a:ln w="9525" cap="flat" cmpd="sng" algn="ctr">
                <a:solidFill>
                  <a:srgbClr val="737373"/>
                </a:solidFill>
                <a:prstDash val="solid"/>
                <a:headEnd type="none" w="med" len="med"/>
                <a:tailEnd type="none" w="med" len="med"/>
              </a:ln>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algn="ctr" defTabSz="950727"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TextBox 26">
                <a:extLst>
                  <a:ext uri="{FF2B5EF4-FFF2-40B4-BE49-F238E27FC236}">
                    <a16:creationId xmlns:a16="http://schemas.microsoft.com/office/drawing/2014/main" id="{AB033791-6DD8-459E-9D9F-BF24277EBDED}"/>
                  </a:ext>
                </a:extLst>
              </p:cNvPr>
              <p:cNvSpPr txBox="1"/>
              <p:nvPr/>
            </p:nvSpPr>
            <p:spPr>
              <a:xfrm>
                <a:off x="6962373" y="3119615"/>
                <a:ext cx="1070524" cy="364827"/>
              </a:xfrm>
              <a:prstGeom prst="rect">
                <a:avLst/>
              </a:prstGeom>
              <a:noFill/>
            </p:spPr>
            <p:txBody>
              <a:bodyPr wrap="square" lIns="91403" tIns="91403" rIns="91403" bIns="45700" rtlCol="0" anchor="ctr">
                <a:spAutoFit/>
              </a:bodyPr>
              <a:lstStyle/>
              <a:p>
                <a:pPr algn="ctr" defTabSz="913935">
                  <a:lnSpc>
                    <a:spcPct val="90000"/>
                  </a:lnSpc>
                  <a:spcAft>
                    <a:spcPts val="600"/>
                  </a:spcAft>
                  <a:defRPr/>
                </a:pPr>
                <a:r>
                  <a:rPr lang="en-US" sz="1099" b="1" kern="0">
                    <a:solidFill>
                      <a:srgbClr val="505050"/>
                    </a:solidFill>
                    <a:latin typeface="Segoe UI"/>
                  </a:rPr>
                  <a:t>Leading In-Memory Cache</a:t>
                </a:r>
              </a:p>
            </p:txBody>
          </p:sp>
          <p:sp>
            <p:nvSpPr>
              <p:cNvPr id="28" name="Freeform 70">
                <a:extLst>
                  <a:ext uri="{FF2B5EF4-FFF2-40B4-BE49-F238E27FC236}">
                    <a16:creationId xmlns:a16="http://schemas.microsoft.com/office/drawing/2014/main" id="{A0785C48-93EE-432B-BA28-0578EDD6735A}"/>
                  </a:ext>
                </a:extLst>
              </p:cNvPr>
              <p:cNvSpPr>
                <a:spLocks noChangeAspect="1"/>
              </p:cNvSpPr>
              <p:nvPr/>
            </p:nvSpPr>
            <p:spPr bwMode="black">
              <a:xfrm>
                <a:off x="7384448" y="2601457"/>
                <a:ext cx="297969" cy="429985"/>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rgbClr val="FFFFFF"/>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94872" tIns="75898" rIns="94872" bIns="75898" numCol="1" spcCol="0" rtlCol="0" fromWordArt="0" anchor="t" anchorCtr="0" forceAA="0" compatLnSpc="1">
                <a:prstTxWarp prst="textNoShape">
                  <a:avLst/>
                </a:prstTxWarp>
                <a:noAutofit/>
              </a:bodyPr>
              <a:lstStyle/>
              <a:p>
                <a:pPr algn="ctr" defTabSz="483678" fontAlgn="base">
                  <a:lnSpc>
                    <a:spcPct val="90000"/>
                  </a:lnSpc>
                  <a:spcBef>
                    <a:spcPct val="0"/>
                  </a:spcBef>
                  <a:spcAft>
                    <a:spcPct val="0"/>
                  </a:spcAft>
                  <a:defRPr/>
                </a:pPr>
                <a:endParaRPr lang="en-US" sz="1244"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53321C7F-46F9-4E71-B38D-10B39F889B49}"/>
                </a:ext>
              </a:extLst>
            </p:cNvPr>
            <p:cNvGrpSpPr/>
            <p:nvPr/>
          </p:nvGrpSpPr>
          <p:grpSpPr>
            <a:xfrm>
              <a:off x="7613344" y="2999966"/>
              <a:ext cx="2809793" cy="1948179"/>
              <a:chOff x="3866216" y="1715806"/>
              <a:chExt cx="4401484" cy="2800203"/>
            </a:xfrm>
          </p:grpSpPr>
          <p:sp>
            <p:nvSpPr>
              <p:cNvPr id="29" name="Freeform: Shape 28">
                <a:extLst>
                  <a:ext uri="{FF2B5EF4-FFF2-40B4-BE49-F238E27FC236}">
                    <a16:creationId xmlns:a16="http://schemas.microsoft.com/office/drawing/2014/main" id="{5C7C43B4-052A-4AC5-9B20-74E3716D8A6C}"/>
                  </a:ext>
                </a:extLst>
              </p:cNvPr>
              <p:cNvSpPr/>
              <p:nvPr/>
            </p:nvSpPr>
            <p:spPr bwMode="auto">
              <a:xfrm>
                <a:off x="3866216" y="1715806"/>
                <a:ext cx="4401484" cy="2800203"/>
              </a:xfrm>
              <a:custGeom>
                <a:avLst/>
                <a:gdLst>
                  <a:gd name="connsiteX0" fmla="*/ 3554184 w 7110373"/>
                  <a:gd name="connsiteY0" fmla="*/ 0 h 4967012"/>
                  <a:gd name="connsiteX1" fmla="*/ 5388931 w 7110373"/>
                  <a:gd name="connsiteY1" fmla="*/ 1091995 h 4967012"/>
                  <a:gd name="connsiteX2" fmla="*/ 5410832 w 7110373"/>
                  <a:gd name="connsiteY2" fmla="*/ 1137459 h 4967012"/>
                  <a:gd name="connsiteX3" fmla="*/ 5579544 w 7110373"/>
                  <a:gd name="connsiteY3" fmla="*/ 1163207 h 4967012"/>
                  <a:gd name="connsiteX4" fmla="*/ 7110373 w 7110373"/>
                  <a:gd name="connsiteY4" fmla="*/ 3041470 h 4967012"/>
                  <a:gd name="connsiteX5" fmla="*/ 5193158 w 7110373"/>
                  <a:gd name="connsiteY5" fmla="*/ 4958684 h 4967012"/>
                  <a:gd name="connsiteX6" fmla="*/ 5160895 w 7110373"/>
                  <a:gd name="connsiteY6" fmla="*/ 4956852 h 4967012"/>
                  <a:gd name="connsiteX7" fmla="*/ 5160895 w 7110373"/>
                  <a:gd name="connsiteY7" fmla="*/ 4967012 h 4967012"/>
                  <a:gd name="connsiteX8" fmla="*/ 1687215 w 7110373"/>
                  <a:gd name="connsiteY8" fmla="*/ 4967012 h 4967012"/>
                  <a:gd name="connsiteX9" fmla="*/ 1687215 w 7110373"/>
                  <a:gd name="connsiteY9" fmla="*/ 4956011 h 4967012"/>
                  <a:gd name="connsiteX10" fmla="*/ 1610252 w 7110373"/>
                  <a:gd name="connsiteY10" fmla="*/ 4958685 h 4967012"/>
                  <a:gd name="connsiteX11" fmla="*/ 0 w 7110373"/>
                  <a:gd name="connsiteY11" fmla="*/ 3348433 h 4967012"/>
                  <a:gd name="connsiteX12" fmla="*/ 1445613 w 7110373"/>
                  <a:gd name="connsiteY12" fmla="*/ 1746495 h 4967012"/>
                  <a:gd name="connsiteX13" fmla="*/ 1498120 w 7110373"/>
                  <a:gd name="connsiteY13" fmla="*/ 1743843 h 4967012"/>
                  <a:gd name="connsiteX14" fmla="*/ 1509990 w 7110373"/>
                  <a:gd name="connsiteY14" fmla="*/ 1666066 h 4967012"/>
                  <a:gd name="connsiteX15" fmla="*/ 3554184 w 7110373"/>
                  <a:gd name="connsiteY15" fmla="*/ 0 h 496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10373" h="4967012">
                    <a:moveTo>
                      <a:pt x="3554184" y="0"/>
                    </a:moveTo>
                    <a:cubicBezTo>
                      <a:pt x="4346452" y="0"/>
                      <a:pt x="5035590" y="441554"/>
                      <a:pt x="5388931" y="1091995"/>
                    </a:cubicBezTo>
                    <a:lnTo>
                      <a:pt x="5410832" y="1137459"/>
                    </a:lnTo>
                    <a:lnTo>
                      <a:pt x="5579544" y="1163207"/>
                    </a:lnTo>
                    <a:cubicBezTo>
                      <a:pt x="6453187" y="1341980"/>
                      <a:pt x="7110373" y="2114978"/>
                      <a:pt x="7110373" y="3041470"/>
                    </a:cubicBezTo>
                    <a:cubicBezTo>
                      <a:pt x="7110373" y="4100318"/>
                      <a:pt x="6252007" y="4958684"/>
                      <a:pt x="5193158" y="4958684"/>
                    </a:cubicBezTo>
                    <a:lnTo>
                      <a:pt x="5160895" y="4956852"/>
                    </a:lnTo>
                    <a:lnTo>
                      <a:pt x="5160895" y="4967012"/>
                    </a:lnTo>
                    <a:lnTo>
                      <a:pt x="1687215" y="4967012"/>
                    </a:lnTo>
                    <a:lnTo>
                      <a:pt x="1687215" y="4956011"/>
                    </a:lnTo>
                    <a:lnTo>
                      <a:pt x="1610252" y="4958685"/>
                    </a:lnTo>
                    <a:cubicBezTo>
                      <a:pt x="720934" y="4958685"/>
                      <a:pt x="0" y="4237751"/>
                      <a:pt x="0" y="3348433"/>
                    </a:cubicBezTo>
                    <a:cubicBezTo>
                      <a:pt x="0" y="2514698"/>
                      <a:pt x="633634" y="1828956"/>
                      <a:pt x="1445613" y="1746495"/>
                    </a:cubicBezTo>
                    <a:lnTo>
                      <a:pt x="1498120" y="1743843"/>
                    </a:lnTo>
                    <a:lnTo>
                      <a:pt x="1509990" y="1666066"/>
                    </a:lnTo>
                    <a:cubicBezTo>
                      <a:pt x="1704556" y="715244"/>
                      <a:pt x="2545843" y="0"/>
                      <a:pt x="3554184" y="0"/>
                    </a:cubicBezTo>
                    <a:close/>
                  </a:path>
                </a:pathLst>
              </a:custGeom>
              <a:solidFill>
                <a:srgbClr val="FFFFFF"/>
              </a:solidFill>
              <a:ln w="12700" cap="flat" cmpd="sng" algn="ctr">
                <a:solidFill>
                  <a:schemeClr val="tx1"/>
                </a:solidFill>
                <a:prstDash val="dash"/>
                <a:headEnd type="none" w="med" len="med"/>
                <a:tailEnd type="none" w="med" len="med"/>
              </a:ln>
              <a:effectLst/>
            </p:spPr>
            <p:txBody>
              <a:bodyPr rot="0" spcFirstLastPara="0" vertOverflow="overflow" horzOverflow="overflow" vert="horz" wrap="square" lIns="182805" tIns="146243" rIns="182805" bIns="146243" numCol="1" spcCol="0" rtlCol="0" fromWordArt="0" anchor="ctr" anchorCtr="0" forceAA="0" compatLnSpc="1">
                <a:prstTxWarp prst="textNoShape">
                  <a:avLst/>
                </a:prstTxWarp>
                <a:noAutofit/>
              </a:bodyPr>
              <a:lstStyle/>
              <a:p>
                <a:pPr algn="ctr" defTabSz="913935">
                  <a:defRPr/>
                </a:pPr>
                <a:endParaRPr lang="en-US" sz="1398" b="1" kern="0" spc="50">
                  <a:gradFill>
                    <a:gsLst>
                      <a:gs pos="24779">
                        <a:srgbClr val="505050"/>
                      </a:gs>
                      <a:gs pos="100000">
                        <a:srgbClr val="505050"/>
                      </a:gs>
                    </a:gsLst>
                    <a:lin ang="5400000" scaled="1"/>
                  </a:gradFill>
                  <a:latin typeface="Segoe UI"/>
                  <a:cs typeface="Segoe UI Semibold" panose="020B0702040204020203" pitchFamily="34" charset="0"/>
                </a:endParaRPr>
              </a:p>
            </p:txBody>
          </p:sp>
          <p:sp>
            <p:nvSpPr>
              <p:cNvPr id="30" name="Freeform 21">
                <a:extLst>
                  <a:ext uri="{FF2B5EF4-FFF2-40B4-BE49-F238E27FC236}">
                    <a16:creationId xmlns:a16="http://schemas.microsoft.com/office/drawing/2014/main" id="{794224B4-22F9-4F02-B140-31427D0EA1F0}"/>
                  </a:ext>
                </a:extLst>
              </p:cNvPr>
              <p:cNvSpPr>
                <a:spLocks/>
              </p:cNvSpPr>
              <p:nvPr/>
            </p:nvSpPr>
            <p:spPr bwMode="auto">
              <a:xfrm>
                <a:off x="4085242" y="1884407"/>
                <a:ext cx="3963432" cy="2418297"/>
              </a:xfrm>
              <a:custGeom>
                <a:avLst/>
                <a:gdLst>
                  <a:gd name="T0" fmla="*/ 181 w 776"/>
                  <a:gd name="T1" fmla="*/ 207 h 518"/>
                  <a:gd name="T2" fmla="*/ 388 w 776"/>
                  <a:gd name="T3" fmla="*/ 0 h 518"/>
                  <a:gd name="T4" fmla="*/ 580 w 776"/>
                  <a:gd name="T5" fmla="*/ 130 h 518"/>
                  <a:gd name="T6" fmla="*/ 582 w 776"/>
                  <a:gd name="T7" fmla="*/ 130 h 518"/>
                  <a:gd name="T8" fmla="*/ 776 w 776"/>
                  <a:gd name="T9" fmla="*/ 324 h 518"/>
                  <a:gd name="T10" fmla="*/ 582 w 776"/>
                  <a:gd name="T11" fmla="*/ 518 h 518"/>
                  <a:gd name="T12" fmla="*/ 155 w 776"/>
                  <a:gd name="T13" fmla="*/ 518 h 518"/>
                  <a:gd name="T14" fmla="*/ 0 w 776"/>
                  <a:gd name="T15" fmla="*/ 362 h 518"/>
                  <a:gd name="T16" fmla="*/ 155 w 776"/>
                  <a:gd name="T17" fmla="*/ 207 h 518"/>
                  <a:gd name="T18" fmla="*/ 181 w 776"/>
                  <a:gd name="T19" fmla="*/ 209 h 518"/>
                  <a:gd name="T20" fmla="*/ 181 w 776"/>
                  <a:gd name="T21" fmla="*/ 20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6" h="518">
                    <a:moveTo>
                      <a:pt x="181" y="207"/>
                    </a:moveTo>
                    <a:cubicBezTo>
                      <a:pt x="181" y="93"/>
                      <a:pt x="274" y="0"/>
                      <a:pt x="388" y="0"/>
                    </a:cubicBezTo>
                    <a:cubicBezTo>
                      <a:pt x="475" y="0"/>
                      <a:pt x="549" y="54"/>
                      <a:pt x="580" y="130"/>
                    </a:cubicBezTo>
                    <a:cubicBezTo>
                      <a:pt x="582" y="130"/>
                      <a:pt x="582" y="130"/>
                      <a:pt x="582" y="130"/>
                    </a:cubicBezTo>
                    <a:cubicBezTo>
                      <a:pt x="689" y="130"/>
                      <a:pt x="776" y="217"/>
                      <a:pt x="776" y="324"/>
                    </a:cubicBezTo>
                    <a:cubicBezTo>
                      <a:pt x="776" y="431"/>
                      <a:pt x="689" y="518"/>
                      <a:pt x="582" y="518"/>
                    </a:cubicBezTo>
                    <a:cubicBezTo>
                      <a:pt x="155" y="518"/>
                      <a:pt x="155" y="518"/>
                      <a:pt x="155" y="518"/>
                    </a:cubicBezTo>
                    <a:cubicBezTo>
                      <a:pt x="69" y="518"/>
                      <a:pt x="0" y="448"/>
                      <a:pt x="0" y="362"/>
                    </a:cubicBezTo>
                    <a:cubicBezTo>
                      <a:pt x="0" y="277"/>
                      <a:pt x="69" y="207"/>
                      <a:pt x="155" y="207"/>
                    </a:cubicBezTo>
                    <a:cubicBezTo>
                      <a:pt x="164" y="207"/>
                      <a:pt x="173" y="208"/>
                      <a:pt x="181" y="209"/>
                    </a:cubicBezTo>
                    <a:lnTo>
                      <a:pt x="181" y="207"/>
                    </a:lnTo>
                    <a:close/>
                  </a:path>
                </a:pathLst>
              </a:custGeom>
              <a:solidFill>
                <a:srgbClr val="FFFFFF"/>
              </a:solidFill>
              <a:ln w="25400" cap="flat">
                <a:solidFill>
                  <a:schemeClr val="accent6"/>
                </a:solidFill>
                <a:prstDash val="solid"/>
                <a:miter lim="800000"/>
                <a:headEnd/>
                <a:tailEnd/>
              </a:ln>
            </p:spPr>
            <p:txBody>
              <a:bodyPr vert="horz" wrap="square" lIns="91403" tIns="45700" rIns="91403" bIns="45700" numCol="1" anchor="t" anchorCtr="0" compatLnSpc="1">
                <a:prstTxWarp prst="textNoShape">
                  <a:avLst/>
                </a:prstTxWarp>
              </a:bodyPr>
              <a:lstStyle/>
              <a:p>
                <a:pPr defTabSz="913935">
                  <a:defRPr/>
                </a:pPr>
                <a:endParaRPr lang="en-US" kern="0">
                  <a:solidFill>
                    <a:srgbClr val="FFFFFF"/>
                  </a:solidFill>
                  <a:latin typeface="Segoe UI"/>
                </a:endParaRPr>
              </a:p>
            </p:txBody>
          </p:sp>
          <p:sp>
            <p:nvSpPr>
              <p:cNvPr id="31" name="Rectangle 30">
                <a:extLst>
                  <a:ext uri="{FF2B5EF4-FFF2-40B4-BE49-F238E27FC236}">
                    <a16:creationId xmlns:a16="http://schemas.microsoft.com/office/drawing/2014/main" id="{102D1168-A122-42E1-A3C0-022CB2EE42F5}"/>
                  </a:ext>
                </a:extLst>
              </p:cNvPr>
              <p:cNvSpPr/>
              <p:nvPr/>
            </p:nvSpPr>
            <p:spPr bwMode="auto">
              <a:xfrm>
                <a:off x="5006741" y="4087704"/>
                <a:ext cx="2142593" cy="322658"/>
              </a:xfrm>
              <a:prstGeom prst="rect">
                <a:avLst/>
              </a:prstGeom>
              <a:solidFill>
                <a:srgbClr val="FFFFFF"/>
              </a:solidFill>
              <a:ln w="10795" cap="flat" cmpd="sng" algn="ctr">
                <a:noFill/>
                <a:prstDash val="solid"/>
                <a:headEnd type="none" w="med" len="med"/>
                <a:tailEnd type="none" w="med" len="med"/>
              </a:ln>
              <a:effectLst/>
            </p:spPr>
            <p:txBody>
              <a:bodyPr vert="horz" wrap="square" lIns="0" tIns="46617" rIns="0" bIns="46617" numCol="1" rtlCol="0" anchor="ctr" anchorCtr="0" compatLnSpc="1">
                <a:prstTxWarp prst="textNoShape">
                  <a:avLst/>
                </a:prstTxWarp>
              </a:bodyPr>
              <a:lstStyle/>
              <a:p>
                <a:pPr algn="ctr" defTabSz="931998" fontAlgn="base">
                  <a:spcBef>
                    <a:spcPct val="0"/>
                  </a:spcBef>
                  <a:spcAft>
                    <a:spcPct val="0"/>
                  </a:spcAft>
                  <a:defRPr/>
                </a:pPr>
                <a:r>
                  <a:rPr lang="en-US" sz="2448" kern="0">
                    <a:solidFill>
                      <a:srgbClr val="FFB900"/>
                    </a:solidFill>
                    <a:latin typeface="Segoe UI Semibold" panose="020B0702040204020203" pitchFamily="34" charset="0"/>
                    <a:cs typeface="Segoe UI Semibold" panose="020B0702040204020203" pitchFamily="34" charset="0"/>
                  </a:rPr>
                  <a:t>Power BI</a:t>
                </a:r>
              </a:p>
            </p:txBody>
          </p:sp>
        </p:grpSp>
        <p:sp>
          <p:nvSpPr>
            <p:cNvPr id="24" name="Analysis Services">
              <a:extLst>
                <a:ext uri="{FF2B5EF4-FFF2-40B4-BE49-F238E27FC236}">
                  <a16:creationId xmlns:a16="http://schemas.microsoft.com/office/drawing/2014/main" id="{50094B22-B82D-418A-8A49-5C194322E97E}"/>
                </a:ext>
              </a:extLst>
            </p:cNvPr>
            <p:cNvSpPr/>
            <p:nvPr/>
          </p:nvSpPr>
          <p:spPr>
            <a:xfrm>
              <a:off x="8279368" y="4250661"/>
              <a:ext cx="1542034" cy="267419"/>
            </a:xfrm>
            <a:prstGeom prst="rect">
              <a:avLst/>
            </a:prstGeom>
          </p:spPr>
          <p:txBody>
            <a:bodyPr wrap="none">
              <a:spAutoFit/>
            </a:bodyPr>
            <a:lstStyle/>
            <a:p>
              <a:pPr algn="ctr" defTabSz="913935">
                <a:lnSpc>
                  <a:spcPct val="90000"/>
                </a:lnSpc>
                <a:spcAft>
                  <a:spcPts val="600"/>
                </a:spcAft>
                <a:defRPr/>
              </a:pPr>
              <a:r>
                <a:rPr lang="en-US" sz="1632" b="1" kern="0">
                  <a:solidFill>
                    <a:srgbClr val="505050"/>
                  </a:solidFill>
                  <a:latin typeface="Segoe UI"/>
                </a:rPr>
                <a:t>Analysis Services</a:t>
              </a:r>
            </a:p>
          </p:txBody>
        </p:sp>
        <p:sp>
          <p:nvSpPr>
            <p:cNvPr id="59" name="bar">
              <a:extLst>
                <a:ext uri="{FF2B5EF4-FFF2-40B4-BE49-F238E27FC236}">
                  <a16:creationId xmlns:a16="http://schemas.microsoft.com/office/drawing/2014/main" id="{1DB8859E-EF0A-4E66-B90D-4CF2B809B775}"/>
                </a:ext>
              </a:extLst>
            </p:cNvPr>
            <p:cNvSpPr>
              <a:spLocks noChangeAspect="1" noEditPoints="1"/>
            </p:cNvSpPr>
            <p:nvPr/>
          </p:nvSpPr>
          <p:spPr bwMode="auto">
            <a:xfrm>
              <a:off x="6994999" y="4012604"/>
              <a:ext cx="431511" cy="39566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22225" cap="sq">
              <a:solidFill>
                <a:schemeClr val="tx1"/>
              </a:solidFill>
              <a:prstDash val="solid"/>
              <a:miter lim="800000"/>
              <a:headEnd/>
              <a:tailEnd/>
            </a:ln>
          </p:spPr>
          <p:txBody>
            <a:bodyPr vert="horz" wrap="square" lIns="91403" tIns="45700" rIns="91403" bIns="45700" numCol="1" anchor="t" anchorCtr="0" compatLnSpc="1">
              <a:prstTxWarp prst="textNoShape">
                <a:avLst/>
              </a:prstTxWarp>
            </a:bodyPr>
            <a:lstStyle/>
            <a:p>
              <a:pPr defTabSz="932267">
                <a:defRPr/>
              </a:pPr>
              <a:endParaRPr lang="en-US">
                <a:solidFill>
                  <a:srgbClr val="0078D7"/>
                </a:solidFill>
                <a:latin typeface="Segoe UI Semilight"/>
              </a:endParaRPr>
            </a:p>
          </p:txBody>
        </p:sp>
        <p:pic>
          <p:nvPicPr>
            <p:cNvPr id="60" name="Picture 2" descr="Image result for Azure ANalysis Services Logo">
              <a:extLst>
                <a:ext uri="{FF2B5EF4-FFF2-40B4-BE49-F238E27FC236}">
                  <a16:creationId xmlns:a16="http://schemas.microsoft.com/office/drawing/2014/main" id="{6B8ECAB0-8EFE-433E-97BE-3CCEE20CDB01}"/>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8440149" y="3532344"/>
              <a:ext cx="1220474" cy="640749"/>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itle 1">
            <a:extLst>
              <a:ext uri="{FF2B5EF4-FFF2-40B4-BE49-F238E27FC236}">
                <a16:creationId xmlns:a16="http://schemas.microsoft.com/office/drawing/2014/main" id="{1E84D47B-CAAB-4150-8848-B4671587EFD5}"/>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nalysis Services integrated into Power BI</a:t>
            </a:r>
          </a:p>
        </p:txBody>
      </p:sp>
    </p:spTree>
    <p:extLst>
      <p:ext uri="{BB962C8B-B14F-4D97-AF65-F5344CB8AC3E}">
        <p14:creationId xmlns:p14="http://schemas.microsoft.com/office/powerpoint/2010/main" val="2081997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DirectQuery: </a:t>
              </a:r>
              <a:r>
                <a:rPr lang="en-US" sz="160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07" y="6013448"/>
            <a:ext cx="5433770" cy="461665"/>
          </a:xfrm>
          <a:prstGeom prst="rect">
            <a:avLst/>
          </a:prstGeom>
          <a:noFill/>
        </p:spPr>
        <p:txBody>
          <a:bodyPr wrap="square">
            <a:spAutoFit/>
          </a:bodyPr>
          <a:lstStyle/>
          <a:p>
            <a:r>
              <a:rPr lang="en-US" sz="1200" dirty="0">
                <a:gradFill>
                  <a:gsLst>
                    <a:gs pos="2917">
                      <a:srgbClr val="505050"/>
                    </a:gs>
                    <a:gs pos="30000">
                      <a:srgbClr val="505050"/>
                    </a:gs>
                  </a:gsLst>
                  <a:lin ang="5400000" scaled="0"/>
                </a:gradFill>
                <a:latin typeface="Segoe UI"/>
              </a:rPr>
              <a:t>Changing the </a:t>
            </a:r>
            <a:r>
              <a:rPr lang="en-US" sz="1200" b="1" dirty="0">
                <a:gradFill>
                  <a:gsLst>
                    <a:gs pos="2917">
                      <a:srgbClr val="505050"/>
                    </a:gs>
                    <a:gs pos="30000">
                      <a:srgbClr val="505050"/>
                    </a:gs>
                  </a:gsLst>
                  <a:lin ang="5400000" scaled="0"/>
                </a:gradFill>
                <a:latin typeface="Segoe UI"/>
              </a:rPr>
              <a:t>Storage mode</a:t>
            </a:r>
            <a:r>
              <a:rPr lang="en-US" sz="1200" dirty="0">
                <a:gradFill>
                  <a:gsLst>
                    <a:gs pos="2917">
                      <a:srgbClr val="505050"/>
                    </a:gs>
                    <a:gs pos="30000">
                      <a:srgbClr val="505050"/>
                    </a:gs>
                  </a:gsLst>
                  <a:lin ang="5400000" scaled="0"/>
                </a:gradFill>
                <a:latin typeface="Segoe UI"/>
              </a:rPr>
              <a:t> of a table to </a:t>
            </a:r>
            <a:r>
              <a:rPr lang="en-US" sz="1200" b="1" dirty="0">
                <a:gradFill>
                  <a:gsLst>
                    <a:gs pos="2917">
                      <a:srgbClr val="505050"/>
                    </a:gs>
                    <a:gs pos="30000">
                      <a:srgbClr val="505050"/>
                    </a:gs>
                  </a:gsLst>
                  <a:lin ang="5400000" scaled="0"/>
                </a:gradFill>
                <a:latin typeface="Segoe UI"/>
              </a:rPr>
              <a:t>Import</a:t>
            </a:r>
            <a:r>
              <a:rPr lang="en-US" sz="1200" dirty="0">
                <a:gradFill>
                  <a:gsLst>
                    <a:gs pos="2917">
                      <a:srgbClr val="505050"/>
                    </a:gs>
                    <a:gs pos="30000">
                      <a:srgbClr val="505050"/>
                    </a:gs>
                  </a:gsLst>
                  <a:lin ang="5400000" scaled="0"/>
                </a:gradFill>
                <a:latin typeface="Segoe UI"/>
              </a:rPr>
              <a:t> is an irreversible operation.</a:t>
            </a:r>
          </a:p>
          <a:p>
            <a:r>
              <a:rPr lang="en-US" sz="1200" dirty="0">
                <a:gradFill>
                  <a:gsLst>
                    <a:gs pos="2917">
                      <a:srgbClr val="505050"/>
                    </a:gs>
                    <a:gs pos="30000">
                      <a:srgbClr val="505050"/>
                    </a:gs>
                  </a:gsLst>
                  <a:lin ang="5400000" scaled="0"/>
                </a:gradFill>
                <a:latin typeface="Segoe UI"/>
              </a:rPr>
              <a:t>Once set, this property can't later be changed using Power BI Desktop.</a:t>
            </a:r>
          </a:p>
        </p:txBody>
      </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31044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5169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10522868-2A6E-47B7-BAF2-549A3431A5C5}"/>
              </a:ext>
            </a:extLst>
          </p:cNvPr>
          <p:cNvGraphicFramePr>
            <a:graphicFrameLocks noGrp="1"/>
          </p:cNvGraphicFramePr>
          <p:nvPr>
            <p:extLst>
              <p:ext uri="{D42A27DB-BD31-4B8C-83A1-F6EECF244321}">
                <p14:modId xmlns:p14="http://schemas.microsoft.com/office/powerpoint/2010/main" val="2356215126"/>
              </p:ext>
            </p:extLst>
          </p:nvPr>
        </p:nvGraphicFramePr>
        <p:xfrm>
          <a:off x="0" y="2575242"/>
          <a:ext cx="12434889" cy="1843805"/>
        </p:xfrm>
        <a:graphic>
          <a:graphicData uri="http://schemas.openxmlformats.org/drawingml/2006/table">
            <a:tbl>
              <a:tblPr bandRow="1">
                <a:tableStyleId>{2D5ABB26-0587-4C30-8999-92F81FD0307C}</a:tableStyleId>
              </a:tblPr>
              <a:tblGrid>
                <a:gridCol w="6537215">
                  <a:extLst>
                    <a:ext uri="{9D8B030D-6E8A-4147-A177-3AD203B41FA5}">
                      <a16:colId xmlns:a16="http://schemas.microsoft.com/office/drawing/2014/main" val="1577158595"/>
                    </a:ext>
                  </a:extLst>
                </a:gridCol>
                <a:gridCol w="1182431">
                  <a:extLst>
                    <a:ext uri="{9D8B030D-6E8A-4147-A177-3AD203B41FA5}">
                      <a16:colId xmlns:a16="http://schemas.microsoft.com/office/drawing/2014/main" val="2696631662"/>
                    </a:ext>
                  </a:extLst>
                </a:gridCol>
                <a:gridCol w="4715243">
                  <a:extLst>
                    <a:ext uri="{9D8B030D-6E8A-4147-A177-3AD203B41FA5}">
                      <a16:colId xmlns:a16="http://schemas.microsoft.com/office/drawing/2014/main" val="3284340505"/>
                    </a:ext>
                  </a:extLst>
                </a:gridCol>
              </a:tblGrid>
              <a:tr h="1843805">
                <a:tc>
                  <a:txBody>
                    <a:bodyPr/>
                    <a:lstStyle/>
                    <a:p>
                      <a:pPr algn="r" defTabSz="932597">
                        <a:defRPr/>
                      </a:pPr>
                      <a:r>
                        <a:rPr lang="en-US" sz="9600" b="1"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FLATFILE</a:t>
                      </a:r>
                      <a:endParaRPr lang="en-US" sz="8800" dirty="0">
                        <a:solidFill>
                          <a:prstClr val="black"/>
                        </a:solidFill>
                        <a:latin typeface="Segoe UI Black" panose="020B0A02040204020203" pitchFamily="34" charset="0"/>
                        <a:ea typeface="Segoe UI Black" panose="020B0A02040204020203" pitchFamily="34" charset="0"/>
                        <a:cs typeface="Segoe UI" panose="020B0502040204020203" pitchFamily="34" charset="0"/>
                      </a:endParaRPr>
                    </a:p>
                  </a:txBody>
                  <a:tcPr marL="91428" marR="91428" marT="45714" marB="45714" anchor="ctr"/>
                </a:tc>
                <a:tc>
                  <a:txBody>
                    <a:bodyPr/>
                    <a:lstStyle/>
                    <a:p>
                      <a:pPr algn="ctr"/>
                      <a:r>
                        <a:rPr lang="en-US" sz="4400" b="1" dirty="0">
                          <a:solidFill>
                            <a:srgbClr val="F2C811"/>
                          </a:solidFill>
                          <a:latin typeface="Segoe UI" panose="020B0502040204020203" pitchFamily="34" charset="0"/>
                          <a:cs typeface="Segoe UI" panose="020B0502040204020203" pitchFamily="34" charset="0"/>
                        </a:rPr>
                        <a:t>vs.</a:t>
                      </a:r>
                    </a:p>
                  </a:txBody>
                  <a:tcPr marL="91428" marR="91428" marT="45714" marB="45714" anchor="ctr"/>
                </a:tc>
                <a:tc>
                  <a: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9600" b="1" kern="1200" dirty="0">
                          <a:solidFill>
                            <a:prstClr val="black"/>
                          </a:solidFill>
                          <a:latin typeface="Segoe UI Black" panose="020B0A02040204020203" pitchFamily="34" charset="0"/>
                          <a:ea typeface="Segoe UI Black" panose="020B0A02040204020203" pitchFamily="34" charset="0"/>
                          <a:cs typeface="Segoe UI" panose="020B0502040204020203" pitchFamily="34" charset="0"/>
                        </a:rPr>
                        <a:t>STAR</a:t>
                      </a:r>
                    </a:p>
                  </a:txBody>
                  <a:tcPr marL="91428" marR="91428" marT="45714" marB="45714" anchor="ctr"/>
                </a:tc>
                <a:extLst>
                  <a:ext uri="{0D108BD9-81ED-4DB2-BD59-A6C34878D82A}">
                    <a16:rowId xmlns:a16="http://schemas.microsoft.com/office/drawing/2014/main" val="1359597373"/>
                  </a:ext>
                </a:extLst>
              </a:tr>
            </a:tbl>
          </a:graphicData>
        </a:graphic>
      </p:graphicFrame>
      <p:sp>
        <p:nvSpPr>
          <p:cNvPr id="24" name="TextBox 23">
            <a:extLst>
              <a:ext uri="{FF2B5EF4-FFF2-40B4-BE49-F238E27FC236}">
                <a16:creationId xmlns:a16="http://schemas.microsoft.com/office/drawing/2014/main" id="{0771EF23-15FC-4401-9994-ADA93A1E01F4}"/>
              </a:ext>
            </a:extLst>
          </p:cNvPr>
          <p:cNvSpPr txBox="1"/>
          <p:nvPr/>
        </p:nvSpPr>
        <p:spPr>
          <a:xfrm>
            <a:off x="697210" y="2830117"/>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13" name="TextBox 12">
            <a:extLst>
              <a:ext uri="{FF2B5EF4-FFF2-40B4-BE49-F238E27FC236}">
                <a16:creationId xmlns:a16="http://schemas.microsoft.com/office/drawing/2014/main" id="{7A964EBC-B01A-4B66-8754-DC2DEB6E040F}"/>
              </a:ext>
            </a:extLst>
          </p:cNvPr>
          <p:cNvSpPr txBox="1"/>
          <p:nvPr/>
        </p:nvSpPr>
        <p:spPr>
          <a:xfrm>
            <a:off x="7415418" y="2780631"/>
            <a:ext cx="462753" cy="307777"/>
          </a:xfrm>
          <a:prstGeom prst="rect">
            <a:avLst/>
          </a:prstGeom>
          <a:solidFill>
            <a:srgbClr val="F2C811"/>
          </a:solidFill>
        </p:spPr>
        <p:txBody>
          <a:bodyPr wrap="square" rtlCol="0">
            <a:spAutoFit/>
          </a:bodyPr>
          <a:lstStyle/>
          <a:p>
            <a:pPr algn="ctr"/>
            <a:r>
              <a:rPr lang="en-US" sz="1400">
                <a:solidFill>
                  <a:schemeClr val="bg1"/>
                </a:solidFill>
              </a:rPr>
              <a:t>the</a:t>
            </a:r>
          </a:p>
        </p:txBody>
      </p:sp>
      <p:sp>
        <p:nvSpPr>
          <p:cNvPr id="9" name="TextBox 8">
            <a:extLst>
              <a:ext uri="{FF2B5EF4-FFF2-40B4-BE49-F238E27FC236}">
                <a16:creationId xmlns:a16="http://schemas.microsoft.com/office/drawing/2014/main" id="{B79D718A-B3E8-478A-8782-2EB5711B6E67}"/>
              </a:ext>
            </a:extLst>
          </p:cNvPr>
          <p:cNvSpPr txBox="1"/>
          <p:nvPr/>
        </p:nvSpPr>
        <p:spPr>
          <a:xfrm>
            <a:off x="594642" y="4491855"/>
            <a:ext cx="11128410" cy="415498"/>
          </a:xfrm>
          <a:prstGeom prst="rect">
            <a:avLst/>
          </a:prstGeom>
          <a:noFill/>
        </p:spPr>
        <p:txBody>
          <a:bodyPr wrap="square" lIns="91428" tIns="45714" rIns="91428" bIns="45714" rtlCol="0" anchor="t">
            <a:spAutoFit/>
          </a:bodyPr>
          <a:lstStyle/>
          <a:p>
            <a:pPr defTabSz="932504">
              <a:defRPr/>
            </a:pPr>
            <a:r>
              <a:rPr lang="en-US" sz="2100" b="1">
                <a:gradFill>
                  <a:gsLst>
                    <a:gs pos="2917">
                      <a:srgbClr val="505050"/>
                    </a:gs>
                    <a:gs pos="30000">
                      <a:srgbClr val="505050"/>
                    </a:gs>
                  </a:gsLst>
                  <a:lin ang="5400000" scaled="0"/>
                </a:gradFill>
                <a:latin typeface="Segoe UI"/>
              </a:rPr>
              <a:t>which is better?...</a:t>
            </a:r>
          </a:p>
        </p:txBody>
      </p:sp>
      <p:graphicFrame>
        <p:nvGraphicFramePr>
          <p:cNvPr id="3" name="Table 3">
            <a:extLst>
              <a:ext uri="{FF2B5EF4-FFF2-40B4-BE49-F238E27FC236}">
                <a16:creationId xmlns:a16="http://schemas.microsoft.com/office/drawing/2014/main" id="{5A331F82-DA95-4882-880B-D526B562459F}"/>
              </a:ext>
            </a:extLst>
          </p:cNvPr>
          <p:cNvGraphicFramePr>
            <a:graphicFrameLocks noGrp="1"/>
          </p:cNvGraphicFramePr>
          <p:nvPr>
            <p:extLst>
              <p:ext uri="{D42A27DB-BD31-4B8C-83A1-F6EECF244321}">
                <p14:modId xmlns:p14="http://schemas.microsoft.com/office/powerpoint/2010/main" val="1934235823"/>
              </p:ext>
            </p:extLst>
          </p:nvPr>
        </p:nvGraphicFramePr>
        <p:xfrm>
          <a:off x="594642" y="4164407"/>
          <a:ext cx="11126990" cy="259068"/>
        </p:xfrm>
        <a:graphic>
          <a:graphicData uri="http://schemas.openxmlformats.org/drawingml/2006/table">
            <a:tbl>
              <a:tblPr bandRow="1">
                <a:tableStyleId>{5C22544A-7EE6-4342-B048-85BDC9FD1C3A}</a:tableStyleId>
              </a:tblPr>
              <a:tblGrid>
                <a:gridCol w="5563495">
                  <a:extLst>
                    <a:ext uri="{9D8B030D-6E8A-4147-A177-3AD203B41FA5}">
                      <a16:colId xmlns:a16="http://schemas.microsoft.com/office/drawing/2014/main" val="3764901635"/>
                    </a:ext>
                  </a:extLst>
                </a:gridCol>
                <a:gridCol w="5563495">
                  <a:extLst>
                    <a:ext uri="{9D8B030D-6E8A-4147-A177-3AD203B41FA5}">
                      <a16:colId xmlns:a16="http://schemas.microsoft.com/office/drawing/2014/main" val="2792298403"/>
                    </a:ext>
                  </a:extLst>
                </a:gridCol>
              </a:tblGrid>
              <a:tr h="259047">
                <a:tc>
                  <a:txBody>
                    <a:bodyPr/>
                    <a:lstStyle/>
                    <a:p>
                      <a:endParaRPr lang="en-US" sz="80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tc>
                  <a:txBody>
                    <a:bodyPr/>
                    <a:lstStyle/>
                    <a:p>
                      <a:endParaRPr lang="en-US" sz="1100">
                        <a:solidFill>
                          <a:schemeClr val="bg1"/>
                        </a:solidFill>
                      </a:endParaRPr>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811"/>
                    </a:solidFill>
                  </a:tcPr>
                </a:tc>
                <a:extLst>
                  <a:ext uri="{0D108BD9-81ED-4DB2-BD59-A6C34878D82A}">
                    <a16:rowId xmlns:a16="http://schemas.microsoft.com/office/drawing/2014/main" val="972844566"/>
                  </a:ext>
                </a:extLst>
              </a:tr>
            </a:tbl>
          </a:graphicData>
        </a:graphic>
      </p:graphicFrame>
    </p:spTree>
    <p:extLst>
      <p:ext uri="{BB962C8B-B14F-4D97-AF65-F5344CB8AC3E}">
        <p14:creationId xmlns:p14="http://schemas.microsoft.com/office/powerpoint/2010/main" val="29412415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932068580"/>
              </p:ext>
            </p:extLst>
          </p:nvPr>
        </p:nvGraphicFramePr>
        <p:xfrm>
          <a:off x="3623059" y="1603546"/>
          <a:ext cx="8451357" cy="4705592"/>
        </p:xfrm>
        <a:graphic>
          <a:graphicData uri="http://schemas.openxmlformats.org/drawingml/2006/table">
            <a:tbl>
              <a:tblPr firstRow="1" bandRow="1">
                <a:tableStyleId>{9D7B26C5-4107-4FEC-AEDC-1716B250A1EF}</a:tableStyleId>
              </a:tblPr>
              <a:tblGrid>
                <a:gridCol w="8451357">
                  <a:extLst>
                    <a:ext uri="{9D8B030D-6E8A-4147-A177-3AD203B41FA5}">
                      <a16:colId xmlns:a16="http://schemas.microsoft.com/office/drawing/2014/main" val="3489525494"/>
                    </a:ext>
                  </a:extLst>
                </a:gridCol>
              </a:tblGrid>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r h="588199">
                <a:tc>
                  <a:txBody>
                    <a:bodyPr/>
                    <a:lstStyle/>
                    <a:p>
                      <a:endParaRPr lang="en-US" sz="1900" dirty="0"/>
                    </a:p>
                  </a:txBody>
                  <a:tcPr marL="93248" marR="93248" marT="46624" marB="46624">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Normalized (Flat File)</a:t>
            </a:r>
          </a:p>
        </p:txBody>
      </p:sp>
      <p:sp>
        <p:nvSpPr>
          <p:cNvPr id="2" name="Content Placeholder 2">
            <a:extLst>
              <a:ext uri="{FF2B5EF4-FFF2-40B4-BE49-F238E27FC236}">
                <a16:creationId xmlns:a16="http://schemas.microsoft.com/office/drawing/2014/main" id="{2A1FB337-CDF0-458C-864B-CA1289A60A44}"/>
              </a:ext>
            </a:extLst>
          </p:cNvPr>
          <p:cNvSpPr>
            <a:spLocks noGrp="1"/>
          </p:cNvSpPr>
          <p:nvPr>
            <p:ph idx="1"/>
          </p:nvPr>
        </p:nvSpPr>
        <p:spPr>
          <a:xfrm>
            <a:off x="275142" y="1631427"/>
            <a:ext cx="3282846" cy="4678311"/>
          </a:xfrm>
        </p:spPr>
        <p:txBody>
          <a:bodyPr vert="horz" lIns="91428" tIns="45714" rIns="91428" bIns="45714" rtlCol="0" anchor="t">
            <a:normAutofit/>
          </a:bodyPr>
          <a:lstStyle/>
          <a:p>
            <a:pPr marL="466043" indent="-466043">
              <a:buFont typeface="+mj-lt"/>
              <a:buAutoNum type="arabicPeriod"/>
            </a:pPr>
            <a:r>
              <a:rPr lang="en-US" sz="2448" b="1">
                <a:gradFill>
                  <a:gsLst>
                    <a:gs pos="2917">
                      <a:srgbClr val="505050"/>
                    </a:gs>
                    <a:gs pos="30000">
                      <a:srgbClr val="505050"/>
                    </a:gs>
                  </a:gsLst>
                  <a:lin ang="5400000" scaled="0"/>
                </a:gradFill>
                <a:latin typeface="Segoe UI"/>
              </a:rPr>
              <a:t>Advantages</a:t>
            </a:r>
            <a:endParaRPr lang="en-US"/>
          </a:p>
          <a:p>
            <a:pPr marL="699065" lvl="1" indent="-233022"/>
            <a:r>
              <a:rPr lang="en-US" sz="1800">
                <a:gradFill>
                  <a:gsLst>
                    <a:gs pos="2917">
                      <a:srgbClr val="505050"/>
                    </a:gs>
                    <a:gs pos="30000">
                      <a:srgbClr val="505050"/>
                    </a:gs>
                  </a:gsLst>
                  <a:lin ang="5400000" scaled="0"/>
                </a:gradFill>
                <a:latin typeface="Segoe UI"/>
              </a:rPr>
              <a:t>Single table to manage</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Limited maintenance</a:t>
            </a:r>
            <a:endParaRPr lang="en-US" sz="1800">
              <a:gradFill>
                <a:gsLst>
                  <a:gs pos="2917">
                    <a:srgbClr val="505050"/>
                  </a:gs>
                  <a:gs pos="30000">
                    <a:srgbClr val="505050"/>
                  </a:gs>
                </a:gsLst>
                <a:lin ang="5400000" scaled="0"/>
              </a:gradFill>
              <a:latin typeface="Segoe UI"/>
              <a:cs typeface="Segoe UI"/>
            </a:endParaRPr>
          </a:p>
          <a:p>
            <a:pPr marL="466043" lvl="2" indent="0">
              <a:buNone/>
            </a:pPr>
            <a:endParaRPr lang="en-US" sz="1800">
              <a:gradFill>
                <a:gsLst>
                  <a:gs pos="2917">
                    <a:srgbClr val="505050"/>
                  </a:gs>
                  <a:gs pos="30000">
                    <a:srgbClr val="505050"/>
                  </a:gs>
                </a:gsLst>
                <a:lin ang="5400000" scaled="0"/>
              </a:gradFill>
              <a:latin typeface="Segoe UI"/>
              <a:cs typeface="Segoe UI"/>
            </a:endParaRPr>
          </a:p>
          <a:p>
            <a:pPr marL="466043" lvl="2" indent="0">
              <a:spcBef>
                <a:spcPts val="509"/>
              </a:spcBef>
              <a:buNone/>
            </a:pPr>
            <a:endParaRPr lang="en-US" sz="1800">
              <a:gradFill>
                <a:gsLst>
                  <a:gs pos="2917">
                    <a:srgbClr val="505050"/>
                  </a:gs>
                  <a:gs pos="30000">
                    <a:srgbClr val="505050"/>
                  </a:gs>
                </a:gsLst>
                <a:lin ang="5400000" scaled="0"/>
              </a:gradFill>
              <a:latin typeface="Segoe UI"/>
            </a:endParaRPr>
          </a:p>
          <a:p>
            <a:pPr marL="466043" indent="-466043">
              <a:buFont typeface="+mj-lt"/>
              <a:buAutoNum type="arabicPeriod"/>
            </a:pPr>
            <a:r>
              <a:rPr lang="en-US" sz="2448" b="1">
                <a:gradFill>
                  <a:gsLst>
                    <a:gs pos="2917">
                      <a:srgbClr val="505050"/>
                    </a:gs>
                    <a:gs pos="30000">
                      <a:srgbClr val="505050"/>
                    </a:gs>
                  </a:gsLst>
                  <a:lin ang="5400000" scaled="0"/>
                </a:gradFill>
                <a:latin typeface="Segoe UI"/>
              </a:rPr>
              <a:t>Disadvantages</a:t>
            </a:r>
            <a:endParaRPr lang="en-US" sz="2448"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Slow refresh</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organization</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Complicated DAX (possibly)</a:t>
            </a:r>
            <a:endParaRPr lang="en-US" sz="1800">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Time Intelligence can be challenging</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28092980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elationship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p>
          <a:p>
            <a:pPr marL="699065" lvl="1" indent="-233022"/>
            <a:r>
              <a:rPr lang="en-US" sz="1800">
                <a:gradFill>
                  <a:gsLst>
                    <a:gs pos="2917">
                      <a:srgbClr val="505050"/>
                    </a:gs>
                    <a:gs pos="30000">
                      <a:srgbClr val="505050"/>
                    </a:gs>
                  </a:gsLst>
                  <a:lin ang="5400000" scaled="0"/>
                </a:gradFill>
                <a:latin typeface="Segoe UI"/>
              </a:rPr>
              <a:t>Only one column</a:t>
            </a:r>
          </a:p>
          <a:p>
            <a:pPr marL="699065" lvl="1" indent="-233022"/>
            <a:r>
              <a:rPr lang="en-US" sz="1800">
                <a:gradFill>
                  <a:gsLst>
                    <a:gs pos="2917">
                      <a:srgbClr val="505050"/>
                    </a:gs>
                    <a:gs pos="30000">
                      <a:srgbClr val="505050"/>
                    </a:gs>
                  </a:gsLst>
                  <a:lin ang="5400000" scaled="0"/>
                </a:gradFill>
                <a:latin typeface="Segoe UI"/>
              </a:rPr>
              <a:t>Can be costly</a:t>
            </a:r>
          </a:p>
          <a:p>
            <a:pPr marL="699065" lvl="1" indent="-233022"/>
            <a:r>
              <a:rPr lang="en-US" sz="1800">
                <a:gradFill>
                  <a:gsLst>
                    <a:gs pos="2917">
                      <a:srgbClr val="505050"/>
                    </a:gs>
                    <a:gs pos="30000">
                      <a:srgbClr val="505050"/>
                    </a:gs>
                  </a:gsLst>
                  <a:lin ang="5400000" scaled="0"/>
                </a:gradFill>
                <a:latin typeface="Segoe UI"/>
              </a:rPr>
              <a:t>Be careful with</a:t>
            </a:r>
          </a:p>
          <a:p>
            <a:pPr marL="903051" lvl="2" indent="-233022"/>
            <a:r>
              <a:rPr lang="en-US" sz="1392">
                <a:gradFill>
                  <a:gsLst>
                    <a:gs pos="2917">
                      <a:srgbClr val="505050"/>
                    </a:gs>
                    <a:gs pos="30000">
                      <a:srgbClr val="505050"/>
                    </a:gs>
                  </a:gsLst>
                  <a:lin ang="5400000" scaled="0"/>
                </a:gradFill>
                <a:latin typeface="Segoe UI"/>
              </a:rPr>
              <a:t>Many-to-many</a:t>
            </a:r>
          </a:p>
          <a:p>
            <a:pPr marL="903051" lvl="2" indent="-233022"/>
            <a:r>
              <a:rPr lang="en-US" sz="1392">
                <a:gradFill>
                  <a:gsLst>
                    <a:gs pos="2917">
                      <a:srgbClr val="505050"/>
                    </a:gs>
                    <a:gs pos="30000">
                      <a:srgbClr val="505050"/>
                    </a:gs>
                  </a:gsLst>
                  <a:lin ang="5400000" scaled="0"/>
                </a:gradFill>
                <a:latin typeface="Segoe UI"/>
              </a:rPr>
              <a:t>Bi-directional</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cs typeface="Segoe UI"/>
              </a:rPr>
              <a:t>Filtering</a:t>
            </a:r>
          </a:p>
          <a:p>
            <a:pPr marL="699065" lvl="1" indent="-233022"/>
            <a:r>
              <a:rPr lang="en-US" sz="1800">
                <a:gradFill>
                  <a:gsLst>
                    <a:gs pos="2917">
                      <a:srgbClr val="505050"/>
                    </a:gs>
                    <a:gs pos="30000">
                      <a:srgbClr val="505050"/>
                    </a:gs>
                  </a:gsLst>
                  <a:lin ang="5400000" scaled="0"/>
                </a:gradFill>
                <a:latin typeface="Segoe UI"/>
                <a:cs typeface="Segoe UI"/>
              </a:rPr>
              <a:t>Aggregating</a:t>
            </a:r>
          </a:p>
          <a:p>
            <a:pPr marL="699065" lvl="1" indent="-233022"/>
            <a:r>
              <a:rPr lang="en-US" sz="1800">
                <a:gradFill>
                  <a:gsLst>
                    <a:gs pos="2917">
                      <a:srgbClr val="505050"/>
                    </a:gs>
                    <a:gs pos="30000">
                      <a:srgbClr val="505050"/>
                    </a:gs>
                  </a:gsLst>
                  <a:lin ang="5400000" scaled="0"/>
                </a:gradFill>
                <a:latin typeface="Segoe UI"/>
                <a:cs typeface="Segoe UI"/>
              </a:rPr>
              <a:t>Simpler DAX</a:t>
            </a:r>
          </a:p>
        </p:txBody>
      </p:sp>
      <p:pic>
        <p:nvPicPr>
          <p:cNvPr id="3" name="Picture 2">
            <a:extLst>
              <a:ext uri="{FF2B5EF4-FFF2-40B4-BE49-F238E27FC236}">
                <a16:creationId xmlns:a16="http://schemas.microsoft.com/office/drawing/2014/main" id="{3979EFD7-90AE-4D17-BA20-6AAA975737EA}"/>
              </a:ext>
            </a:extLst>
          </p:cNvPr>
          <p:cNvPicPr>
            <a:picLocks noChangeAspect="1"/>
          </p:cNvPicPr>
          <p:nvPr/>
        </p:nvPicPr>
        <p:blipFill>
          <a:blip r:embed="rId3"/>
          <a:stretch>
            <a:fillRect/>
          </a:stretch>
        </p:blipFill>
        <p:spPr>
          <a:xfrm>
            <a:off x="3861535" y="1383054"/>
            <a:ext cx="7575266" cy="5175056"/>
          </a:xfrm>
          <a:prstGeom prst="rect">
            <a:avLst/>
          </a:prstGeom>
        </p:spPr>
      </p:pic>
    </p:spTree>
    <p:extLst>
      <p:ext uri="{BB962C8B-B14F-4D97-AF65-F5344CB8AC3E}">
        <p14:creationId xmlns:p14="http://schemas.microsoft.com/office/powerpoint/2010/main" val="27910438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3960491385"/>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Snowflake Schema</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aphicFrame>
        <p:nvGraphicFramePr>
          <p:cNvPr id="4" name="Table 3">
            <a:extLst>
              <a:ext uri="{FF2B5EF4-FFF2-40B4-BE49-F238E27FC236}">
                <a16:creationId xmlns:a16="http://schemas.microsoft.com/office/drawing/2014/main" id="{A1BD67C1-A60B-4492-B8E6-D3FA53D4FF1E}"/>
              </a:ext>
            </a:extLst>
          </p:cNvPr>
          <p:cNvGraphicFramePr>
            <a:graphicFrameLocks noGrp="1"/>
          </p:cNvGraphicFramePr>
          <p:nvPr>
            <p:extLst>
              <p:ext uri="{D42A27DB-BD31-4B8C-83A1-F6EECF244321}">
                <p14:modId xmlns:p14="http://schemas.microsoft.com/office/powerpoint/2010/main" val="603541604"/>
              </p:ext>
            </p:extLst>
          </p:nvPr>
        </p:nvGraphicFramePr>
        <p:xfrm>
          <a:off x="3182392" y="325470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 Subcategory</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Subcategory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a:t>SubcategoryNam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7" name="Connector: Elbow 6">
            <a:extLst>
              <a:ext uri="{FF2B5EF4-FFF2-40B4-BE49-F238E27FC236}">
                <a16:creationId xmlns:a16="http://schemas.microsoft.com/office/drawing/2014/main" id="{590E4620-1F31-431C-9E47-9DEB3178A787}"/>
              </a:ext>
            </a:extLst>
          </p:cNvPr>
          <p:cNvCxnSpPr>
            <a:cxnSpLocks/>
          </p:cNvCxnSpPr>
          <p:nvPr/>
        </p:nvCxnSpPr>
        <p:spPr>
          <a:xfrm flipV="1">
            <a:off x="4734979" y="3244243"/>
            <a:ext cx="772716" cy="647402"/>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FC7D8826-BC51-42E3-8343-12A73A5B3481}"/>
              </a:ext>
            </a:extLst>
          </p:cNvPr>
          <p:cNvSpPr txBox="1"/>
          <p:nvPr/>
        </p:nvSpPr>
        <p:spPr>
          <a:xfrm>
            <a:off x="2168885" y="4947735"/>
            <a:ext cx="45713" cy="369285"/>
          </a:xfrm>
          <a:prstGeom prst="rect">
            <a:avLst/>
          </a:prstGeom>
          <a:noFill/>
        </p:spPr>
        <p:txBody>
          <a:bodyPr wrap="square" rtlCol="0">
            <a:spAutoFit/>
          </a:bodyPr>
          <a:lstStyle/>
          <a:p>
            <a:endParaRPr lang="en-US"/>
          </a:p>
        </p:txBody>
      </p:sp>
      <p:grpSp>
        <p:nvGrpSpPr>
          <p:cNvPr id="11" name="Group 10">
            <a:extLst>
              <a:ext uri="{FF2B5EF4-FFF2-40B4-BE49-F238E27FC236}">
                <a16:creationId xmlns:a16="http://schemas.microsoft.com/office/drawing/2014/main" id="{943EA2DE-D7B7-457A-B975-E6C2B171E66F}"/>
              </a:ext>
            </a:extLst>
          </p:cNvPr>
          <p:cNvGrpSpPr/>
          <p:nvPr/>
        </p:nvGrpSpPr>
        <p:grpSpPr>
          <a:xfrm>
            <a:off x="5469758" y="3228368"/>
            <a:ext cx="1344234" cy="246221"/>
            <a:chOff x="5469758" y="3228368"/>
            <a:chExt cx="1344234" cy="246221"/>
          </a:xfrm>
        </p:grpSpPr>
        <p:sp>
          <p:nvSpPr>
            <p:cNvPr id="10" name="Rectangle 9">
              <a:extLst>
                <a:ext uri="{FF2B5EF4-FFF2-40B4-BE49-F238E27FC236}">
                  <a16:creationId xmlns:a16="http://schemas.microsoft.com/office/drawing/2014/main" id="{048CC5C6-4F3C-476E-9FDF-3B171401BF06}"/>
                </a:ext>
              </a:extLst>
            </p:cNvPr>
            <p:cNvSpPr/>
            <p:nvPr/>
          </p:nvSpPr>
          <p:spPr>
            <a:xfrm>
              <a:off x="5529705" y="3274564"/>
              <a:ext cx="1284287"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062AF86-4EB6-4F11-AA6D-CB9672789C45}"/>
                </a:ext>
              </a:extLst>
            </p:cNvPr>
            <p:cNvSpPr txBox="1"/>
            <p:nvPr/>
          </p:nvSpPr>
          <p:spPr>
            <a:xfrm>
              <a:off x="5469758" y="3228368"/>
              <a:ext cx="1034295" cy="246221"/>
            </a:xfrm>
            <a:prstGeom prst="rect">
              <a:avLst/>
            </a:prstGeom>
            <a:noFill/>
          </p:spPr>
          <p:txBody>
            <a:bodyPr wrap="square" rtlCol="0">
              <a:spAutoFit/>
            </a:bodyPr>
            <a:lstStyle/>
            <a:p>
              <a:r>
                <a:rPr lang="en-US" sz="1000" err="1"/>
                <a:t>SubcategoryFK</a:t>
              </a:r>
              <a:endParaRPr lang="en-US" sz="1000"/>
            </a:p>
          </p:txBody>
        </p:sp>
      </p:grpSp>
      <p:sp>
        <p:nvSpPr>
          <p:cNvPr id="12" name="Content Placeholder 2">
            <a:extLst>
              <a:ext uri="{FF2B5EF4-FFF2-40B4-BE49-F238E27FC236}">
                <a16:creationId xmlns:a16="http://schemas.microsoft.com/office/drawing/2014/main" id="{4698AD93-E68F-4119-A311-F946FE6FD5C1}"/>
              </a:ext>
            </a:extLst>
          </p:cNvPr>
          <p:cNvSpPr txBox="1">
            <a:spLocks/>
          </p:cNvSpPr>
          <p:nvPr/>
        </p:nvSpPr>
        <p:spPr>
          <a:xfrm>
            <a:off x="285456" y="1677994"/>
            <a:ext cx="3113218"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ore Tables</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y more DAX</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Relationship size</a:t>
            </a:r>
          </a:p>
          <a:p>
            <a:pPr marL="342866" lvl="1" indent="-342866">
              <a:spcBef>
                <a:spcPts val="509"/>
              </a:spcBef>
            </a:pPr>
            <a:r>
              <a:rPr lang="en-US" sz="1800">
                <a:gradFill>
                  <a:gsLst>
                    <a:gs pos="2917">
                      <a:srgbClr val="505050"/>
                    </a:gs>
                    <a:gs pos="30000">
                      <a:srgbClr val="505050"/>
                    </a:gs>
                  </a:gsLst>
                  <a:lin ang="5400000" scaled="0"/>
                </a:gradFill>
                <a:latin typeface="Segoe UI"/>
                <a:cs typeface="Segoe UI"/>
              </a:rPr>
              <a:t>Possible query performance</a:t>
            </a:r>
          </a:p>
          <a:p>
            <a:pPr marL="342866" lvl="1" indent="-342866">
              <a:spcBef>
                <a:spcPts val="509"/>
              </a:spcBef>
            </a:pPr>
            <a:endParaRPr lang="en-US" sz="22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71294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7E1FB3A-5E17-2C5B-F201-7D8395E72301}"/>
              </a:ext>
            </a:extLst>
          </p:cNvPr>
          <p:cNvGrpSpPr/>
          <p:nvPr/>
        </p:nvGrpSpPr>
        <p:grpSpPr>
          <a:xfrm>
            <a:off x="3525274" y="2174361"/>
            <a:ext cx="4885978" cy="2645802"/>
            <a:chOff x="3525274" y="2055801"/>
            <a:chExt cx="4885978" cy="2645802"/>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3525274"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6506252"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302660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1499234021"/>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29216889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Denormalized (Star Schema)</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225372297"/>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68616696"/>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263738655"/>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722129891"/>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113218" cy="4678311"/>
          </a:xfrm>
        </p:spPr>
        <p:txBody>
          <a:bodyPr>
            <a:normAutofit/>
          </a:bodyPr>
          <a:lstStyle/>
          <a:p>
            <a:pPr marL="466251" indent="-466251">
              <a:buFont typeface="+mj-lt"/>
              <a:buAutoNum type="arabicPeriod"/>
            </a:pPr>
            <a:r>
              <a:rPr lang="en-US" sz="2448" b="1">
                <a:gradFill>
                  <a:gsLst>
                    <a:gs pos="2917">
                      <a:srgbClr val="505050"/>
                    </a:gs>
                    <a:gs pos="30000">
                      <a:srgbClr val="505050"/>
                    </a:gs>
                  </a:gsLst>
                  <a:lin ang="5400000" scaled="0"/>
                </a:gradFill>
                <a:latin typeface="Segoe UI"/>
              </a:rPr>
              <a:t>Advantages</a:t>
            </a:r>
          </a:p>
          <a:p>
            <a:pPr marL="752002" lvl="2" indent="-285750"/>
            <a:r>
              <a:rPr lang="en-US" sz="1800">
                <a:gradFill>
                  <a:gsLst>
                    <a:gs pos="2917">
                      <a:srgbClr val="505050"/>
                    </a:gs>
                    <a:gs pos="30000">
                      <a:srgbClr val="505050"/>
                    </a:gs>
                  </a:gsLst>
                  <a:lin ang="5400000" scaled="0"/>
                </a:gradFill>
                <a:latin typeface="Segoe UI"/>
              </a:rPr>
              <a:t>Simple DAX (possibly)</a:t>
            </a:r>
          </a:p>
          <a:p>
            <a:pPr marL="752002" lvl="2" indent="-285750"/>
            <a:r>
              <a:rPr lang="en-US" sz="1800">
                <a:gradFill>
                  <a:gsLst>
                    <a:gs pos="2917">
                      <a:srgbClr val="505050"/>
                    </a:gs>
                    <a:gs pos="30000">
                      <a:srgbClr val="505050"/>
                    </a:gs>
                  </a:gsLst>
                  <a:lin ang="5400000" scaled="0"/>
                </a:gradFill>
                <a:latin typeface="Segoe UI"/>
              </a:rPr>
              <a:t>Organized</a:t>
            </a:r>
          </a:p>
          <a:p>
            <a:pPr marL="752002" lvl="2" indent="-285750"/>
            <a:r>
              <a:rPr lang="en-US" sz="1800">
                <a:gradFill>
                  <a:gsLst>
                    <a:gs pos="2917">
                      <a:srgbClr val="505050"/>
                    </a:gs>
                    <a:gs pos="30000">
                      <a:srgbClr val="505050"/>
                    </a:gs>
                  </a:gsLst>
                  <a:lin ang="5400000" scaled="0"/>
                </a:gradFill>
                <a:latin typeface="Segoe UI"/>
              </a:rPr>
              <a:t>Faster Refresh</a:t>
            </a:r>
          </a:p>
          <a:p>
            <a:pPr marL="752002" lvl="2" indent="-285750"/>
            <a:r>
              <a:rPr lang="en-US" sz="1800">
                <a:gradFill>
                  <a:gsLst>
                    <a:gs pos="2917">
                      <a:srgbClr val="505050"/>
                    </a:gs>
                    <a:gs pos="30000">
                      <a:srgbClr val="505050"/>
                    </a:gs>
                  </a:gsLst>
                  <a:lin ang="5400000" scaled="0"/>
                </a:gradFill>
                <a:latin typeface="Segoe UI"/>
              </a:rPr>
              <a:t>Consistency</a:t>
            </a:r>
          </a:p>
          <a:p>
            <a:pPr marL="752002" lvl="2" indent="-285750"/>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b="1">
                <a:gradFill>
                  <a:gsLst>
                    <a:gs pos="2917">
                      <a:srgbClr val="505050"/>
                    </a:gs>
                    <a:gs pos="30000">
                      <a:srgbClr val="505050"/>
                    </a:gs>
                  </a:gsLst>
                  <a:lin ang="5400000" scaled="0"/>
                </a:gradFill>
                <a:latin typeface="Segoe UI"/>
              </a:rPr>
              <a:t>Disadvantages</a:t>
            </a:r>
          </a:p>
          <a:p>
            <a:pPr lvl="1"/>
            <a:r>
              <a:rPr lang="en-US" sz="1800">
                <a:gradFill>
                  <a:gsLst>
                    <a:gs pos="2917">
                      <a:srgbClr val="505050"/>
                    </a:gs>
                    <a:gs pos="30000">
                      <a:srgbClr val="505050"/>
                    </a:gs>
                  </a:gsLst>
                  <a:lin ang="5400000" scaled="0"/>
                </a:gradFill>
                <a:latin typeface="Segoe UI"/>
              </a:rPr>
              <a:t>Subject Matter Expert</a:t>
            </a:r>
          </a:p>
          <a:p>
            <a:pPr lvl="1"/>
            <a:r>
              <a:rPr lang="en-US" sz="1800">
                <a:gradFill>
                  <a:gsLst>
                    <a:gs pos="2917">
                      <a:srgbClr val="505050"/>
                    </a:gs>
                    <a:gs pos="30000">
                      <a:srgbClr val="505050"/>
                    </a:gs>
                  </a:gsLst>
                  <a:lin ang="5400000" scaled="0"/>
                </a:gradFill>
                <a:latin typeface="Segoe UI"/>
              </a:rPr>
              <a:t>Maintenance</a:t>
            </a:r>
          </a:p>
          <a:p>
            <a:pPr lvl="1"/>
            <a:r>
              <a:rPr lang="en-US" sz="1800">
                <a:gradFill>
                  <a:gsLst>
                    <a:gs pos="2917">
                      <a:srgbClr val="505050"/>
                    </a:gs>
                    <a:gs pos="30000">
                      <a:srgbClr val="505050"/>
                    </a:gs>
                  </a:gsLst>
                  <a:lin ang="5400000" scaled="0"/>
                </a:gradFill>
                <a:latin typeface="Segoe UI"/>
              </a:rPr>
              <a:t>Cost</a:t>
            </a:r>
          </a:p>
        </p:txBody>
      </p:sp>
      <p:sp>
        <p:nvSpPr>
          <p:cNvPr id="53" name="Star: 5 Points 52">
            <a:extLst>
              <a:ext uri="{FF2B5EF4-FFF2-40B4-BE49-F238E27FC236}">
                <a16:creationId xmlns:a16="http://schemas.microsoft.com/office/drawing/2014/main" id="{ED40AF88-37EC-45C2-996E-163050E5E480}"/>
              </a:ext>
            </a:extLst>
          </p:cNvPr>
          <p:cNvSpPr/>
          <p:nvPr/>
        </p:nvSpPr>
        <p:spPr>
          <a:xfrm>
            <a:off x="5870257" y="1468120"/>
            <a:ext cx="5918200" cy="4678311"/>
          </a:xfrm>
          <a:prstGeom prst="star5">
            <a:avLst/>
          </a:prstGeom>
          <a:solidFill>
            <a:srgbClr val="F2C811">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86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anim calcmode="lin" valueType="num">
                                      <p:cBhvr>
                                        <p:cTn id="8" dur="2000" fill="hold"/>
                                        <p:tgtEl>
                                          <p:spTgt spid="53"/>
                                        </p:tgtEl>
                                        <p:attrNameLst>
                                          <p:attrName>ppt_x</p:attrName>
                                        </p:attrNameLst>
                                      </p:cBhvr>
                                      <p:tavLst>
                                        <p:tav tm="0">
                                          <p:val>
                                            <p:strVal val="#ppt_x"/>
                                          </p:val>
                                        </p:tav>
                                        <p:tav tm="100000">
                                          <p:val>
                                            <p:strVal val="#ppt_x"/>
                                          </p:val>
                                        </p:tav>
                                      </p:tavLst>
                                    </p:anim>
                                    <p:anim calcmode="lin" valueType="num">
                                      <p:cBhvr>
                                        <p:cTn id="9" dur="2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809716726"/>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Ship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Role-Playing Dimensions</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2747566219"/>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2581133537"/>
              </p:ext>
            </p:extLst>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446611177"/>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2438549675"/>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Order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85456" y="1677994"/>
            <a:ext cx="3113218" cy="4678311"/>
          </a:xfrm>
        </p:spPr>
        <p:txBody>
          <a:bodyPr vert="horz" lIns="91428" tIns="45714" rIns="91428" bIns="45714" rtlCol="0" anchor="t">
            <a:normAutofit/>
          </a:bodyPr>
          <a:lstStyle/>
          <a:p>
            <a:pPr marL="0" lvl="1" indent="0">
              <a:buNone/>
            </a:pPr>
            <a:r>
              <a:rPr lang="en-US" sz="2400" b="1">
                <a:gradFill>
                  <a:gsLst>
                    <a:gs pos="2917">
                      <a:srgbClr val="505050"/>
                    </a:gs>
                    <a:gs pos="30000">
                      <a:srgbClr val="505050"/>
                    </a:gs>
                  </a:gsLst>
                  <a:lin ang="5400000" scaled="0"/>
                </a:gradFill>
                <a:latin typeface="Segoe UI"/>
              </a:rPr>
              <a:t>Design decisions</a:t>
            </a:r>
          </a:p>
          <a:p>
            <a:pPr marL="342866" lvl="1" indent="-342866"/>
            <a:r>
              <a:rPr lang="en-US" sz="1800">
                <a:gradFill>
                  <a:gsLst>
                    <a:gs pos="2917">
                      <a:srgbClr val="505050"/>
                    </a:gs>
                    <a:gs pos="30000">
                      <a:srgbClr val="505050"/>
                    </a:gs>
                  </a:gsLst>
                  <a:lin ang="5400000" scaled="0"/>
                </a:gradFill>
                <a:latin typeface="Segoe UI"/>
                <a:cs typeface="Segoe UI"/>
              </a:rPr>
              <a:t>Multiple Tables</a:t>
            </a:r>
          </a:p>
          <a:p>
            <a:pPr marL="342866" lvl="1" indent="-342866"/>
            <a:r>
              <a:rPr lang="en-US" sz="1800">
                <a:gradFill>
                  <a:gsLst>
                    <a:gs pos="2917">
                      <a:srgbClr val="505050"/>
                    </a:gs>
                    <a:gs pos="30000">
                      <a:srgbClr val="505050"/>
                    </a:gs>
                  </a:gsLst>
                  <a:lin ang="5400000" scaled="0"/>
                </a:gradFill>
                <a:latin typeface="Segoe UI"/>
                <a:cs typeface="Segoe UI"/>
              </a:rPr>
              <a:t>Single-Table</a:t>
            </a:r>
          </a:p>
          <a:p>
            <a:pPr marL="342866" lvl="1" indent="-342866"/>
            <a:r>
              <a:rPr lang="en-US" sz="1800" err="1">
                <a:gradFill>
                  <a:gsLst>
                    <a:gs pos="2917">
                      <a:srgbClr val="505050"/>
                    </a:gs>
                    <a:gs pos="30000">
                      <a:srgbClr val="505050"/>
                    </a:gs>
                  </a:gsLst>
                  <a:lin ang="5400000" scaled="0"/>
                </a:gradFill>
                <a:latin typeface="Segoe UI"/>
                <a:cs typeface="Segoe UI"/>
              </a:rPr>
              <a:t>UseRelationship</a:t>
            </a:r>
            <a:r>
              <a:rPr lang="en-US" sz="1800">
                <a:gradFill>
                  <a:gsLst>
                    <a:gs pos="2917">
                      <a:srgbClr val="505050"/>
                    </a:gs>
                    <a:gs pos="30000">
                      <a:srgbClr val="505050"/>
                    </a:gs>
                  </a:gsLst>
                  <a:lin ang="5400000" scaled="0"/>
                </a:gradFill>
                <a:latin typeface="Segoe UI"/>
                <a:cs typeface="Segoe UI"/>
              </a:rPr>
              <a:t>()</a:t>
            </a:r>
          </a:p>
        </p:txBody>
      </p:sp>
    </p:spTree>
    <p:extLst>
      <p:ext uri="{BB962C8B-B14F-4D97-AF65-F5344CB8AC3E}">
        <p14:creationId xmlns:p14="http://schemas.microsoft.com/office/powerpoint/2010/main" val="28415210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503A381-976D-4E10-8FCC-D124293998D0}"/>
              </a:ext>
            </a:extLst>
          </p:cNvPr>
          <p:cNvSpPr txBox="1">
            <a:spLocks/>
          </p:cNvSpPr>
          <p:nvPr/>
        </p:nvSpPr>
        <p:spPr>
          <a:xfrm>
            <a:off x="275142" y="1631427"/>
            <a:ext cx="3586393" cy="4678311"/>
          </a:xfrm>
          <a:prstGeom prst="rect">
            <a:avLst/>
          </a:prstGeom>
        </p:spPr>
        <p:txBody>
          <a:bodyPr vert="horz" lIns="91428" tIns="45714" rIns="91428" bIns="45714" rtlCol="0" anchor="t">
            <a:normAutofit/>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dorsement</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Promotion</a:t>
            </a:r>
          </a:p>
          <a:p>
            <a:pPr marL="1165108" lvl="2" indent="0">
              <a:spcBef>
                <a:spcPts val="509"/>
              </a:spcBef>
            </a:pPr>
            <a:r>
              <a:rPr lang="en-US" sz="1400">
                <a:gradFill>
                  <a:gsLst>
                    <a:gs pos="2917">
                      <a:srgbClr val="505050"/>
                    </a:gs>
                    <a:gs pos="30000">
                      <a:srgbClr val="505050"/>
                    </a:gs>
                  </a:gsLst>
                  <a:lin ang="5400000" scaled="0"/>
                </a:gradFill>
                <a:latin typeface="Segoe UI"/>
                <a:cs typeface="Segoe UI"/>
              </a:rPr>
              <a:t> Certif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nsistency</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xtensible</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aintenanc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Disciplin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omplication</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Scalability</a:t>
            </a:r>
          </a:p>
        </p:txBody>
      </p:sp>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roduct</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err="1"/>
                        <a:t>ProductPK</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r>
                        <a:rPr lang="en-US" sz="1000" err="1"/>
                        <a:t>SubcategoryName</a:t>
                      </a:r>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One Dataset…</a:t>
            </a: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Du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Purchas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Invoice Dat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964694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5212147" y="2935215"/>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8" y="4278622"/>
                <a:ext cx="359774" cy="287564"/>
                <a:chOff x="2533828" y="3717460"/>
                <a:chExt cx="655893"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28" y="3878938"/>
                  <a:ext cx="351436"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401" y="3717460"/>
                  <a:ext cx="289320"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5"/>
              <a:ext cx="827554" cy="930332"/>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grpSp>
        <p:nvGrpSpPr>
          <p:cNvPr id="50" name="Group 49">
            <a:extLst>
              <a:ext uri="{FF2B5EF4-FFF2-40B4-BE49-F238E27FC236}">
                <a16:creationId xmlns:a16="http://schemas.microsoft.com/office/drawing/2014/main" id="{95887442-13AC-4CF9-89FF-CE8909E39C7D}"/>
              </a:ext>
              <a:ext uri="{C183D7F6-B498-43B3-948B-1728B52AA6E4}">
                <adec:decorative xmlns:adec="http://schemas.microsoft.com/office/drawing/2017/decorative" val="1"/>
              </a:ext>
            </a:extLst>
          </p:cNvPr>
          <p:cNvGrpSpPr/>
          <p:nvPr/>
        </p:nvGrpSpPr>
        <p:grpSpPr>
          <a:xfrm>
            <a:off x="3423022" y="2214289"/>
            <a:ext cx="4251710" cy="4251709"/>
            <a:chOff x="4442005" y="1739637"/>
            <a:chExt cx="4169254" cy="4169253"/>
          </a:xfrm>
        </p:grpSpPr>
        <p:grpSp>
          <p:nvGrpSpPr>
            <p:cNvPr id="51" name="!!Datasets">
              <a:extLst>
                <a:ext uri="{FF2B5EF4-FFF2-40B4-BE49-F238E27FC236}">
                  <a16:creationId xmlns:a16="http://schemas.microsoft.com/office/drawing/2014/main" id="{505D0B35-A846-4CA8-BC69-70B42A7B838A}"/>
                </a:ext>
              </a:extLst>
            </p:cNvPr>
            <p:cNvGrpSpPr/>
            <p:nvPr/>
          </p:nvGrpSpPr>
          <p:grpSpPr>
            <a:xfrm>
              <a:off x="4930151" y="4018649"/>
              <a:ext cx="1416215" cy="1394299"/>
              <a:chOff x="5169145" y="4150447"/>
              <a:chExt cx="1584080" cy="1559568"/>
            </a:xfrm>
          </p:grpSpPr>
          <p:sp>
            <p:nvSpPr>
              <p:cNvPr id="55" name="Oval 54">
                <a:extLst>
                  <a:ext uri="{FF2B5EF4-FFF2-40B4-BE49-F238E27FC236}">
                    <a16:creationId xmlns:a16="http://schemas.microsoft.com/office/drawing/2014/main" id="{7FE541A4-E423-4E4C-A2DA-9C652FBAB00F}"/>
                  </a:ext>
                </a:extLst>
              </p:cNvPr>
              <p:cNvSpPr/>
              <p:nvPr/>
            </p:nvSpPr>
            <p:spPr bwMode="auto">
              <a:xfrm>
                <a:off x="5169145" y="4150447"/>
                <a:ext cx="1584080" cy="1559568"/>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0F8EFBFA-4C86-415B-9C75-D97939B3BB0B}"/>
                  </a:ext>
                </a:extLst>
              </p:cNvPr>
              <p:cNvSpPr txBox="1"/>
              <p:nvPr/>
            </p:nvSpPr>
            <p:spPr>
              <a:xfrm>
                <a:off x="5797690" y="4452607"/>
                <a:ext cx="326990" cy="79035"/>
              </a:xfrm>
              <a:prstGeom prst="rect">
                <a:avLst/>
              </a:prstGeom>
              <a:noFill/>
            </p:spPr>
            <p:txBody>
              <a:bodyPr wrap="square" lIns="0" tIns="0" rIns="0" bIns="0" rtlCol="0">
                <a:spAutoFit/>
              </a:bodyPr>
              <a:lstStyle/>
              <a:p>
                <a:pPr algn="ctr" defTabSz="932504">
                  <a:lnSpc>
                    <a:spcPct val="90000"/>
                  </a:lnSpc>
                  <a:spcAft>
                    <a:spcPts val="600"/>
                  </a:spcAft>
                  <a:defRPr/>
                </a:pPr>
                <a:r>
                  <a:rPr lang="en-US" sz="510" kern="0">
                    <a:solidFill>
                      <a:srgbClr val="FFC000"/>
                    </a:solidFill>
                    <a:latin typeface="Segoe UI Semibold"/>
                  </a:rPr>
                  <a:t>Security</a:t>
                </a:r>
              </a:p>
            </p:txBody>
          </p:sp>
          <p:sp>
            <p:nvSpPr>
              <p:cNvPr id="57" name="TextBox 56">
                <a:extLst>
                  <a:ext uri="{FF2B5EF4-FFF2-40B4-BE49-F238E27FC236}">
                    <a16:creationId xmlns:a16="http://schemas.microsoft.com/office/drawing/2014/main" id="{40AF8036-29C9-47D4-9D28-519B7F4ABDF7}"/>
                  </a:ext>
                </a:extLst>
              </p:cNvPr>
              <p:cNvSpPr txBox="1"/>
              <p:nvPr/>
            </p:nvSpPr>
            <p:spPr>
              <a:xfrm>
                <a:off x="6257197" y="4859130"/>
                <a:ext cx="413100" cy="189629"/>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Data</a:t>
                </a:r>
                <a:br>
                  <a:rPr lang="en-US" sz="612" kern="0">
                    <a:solidFill>
                      <a:srgbClr val="FFC000"/>
                    </a:solidFill>
                    <a:latin typeface="Segoe UI Semibold"/>
                  </a:rPr>
                </a:br>
                <a:r>
                  <a:rPr lang="en-US" sz="612" kern="0">
                    <a:solidFill>
                      <a:srgbClr val="FFC000"/>
                    </a:solidFill>
                    <a:latin typeface="Segoe UI Semibold"/>
                  </a:rPr>
                  <a:t>modeling</a:t>
                </a:r>
              </a:p>
            </p:txBody>
          </p:sp>
          <p:sp>
            <p:nvSpPr>
              <p:cNvPr id="58" name="Lock" title="Icon of a padlock">
                <a:extLst>
                  <a:ext uri="{FF2B5EF4-FFF2-40B4-BE49-F238E27FC236}">
                    <a16:creationId xmlns:a16="http://schemas.microsoft.com/office/drawing/2014/main" id="{5EE34D36-72B0-4E11-BCD9-8B60F87EB664}"/>
                  </a:ext>
                </a:extLst>
              </p:cNvPr>
              <p:cNvSpPr>
                <a:spLocks noChangeAspect="1" noEditPoints="1"/>
              </p:cNvSpPr>
              <p:nvPr/>
            </p:nvSpPr>
            <p:spPr bwMode="auto">
              <a:xfrm>
                <a:off x="5913343" y="4257430"/>
                <a:ext cx="95685" cy="13373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sp>
            <p:nvSpPr>
              <p:cNvPr id="59" name="Graphic 3">
                <a:extLst>
                  <a:ext uri="{FF2B5EF4-FFF2-40B4-BE49-F238E27FC236}">
                    <a16:creationId xmlns:a16="http://schemas.microsoft.com/office/drawing/2014/main" id="{A8AD8C30-98A9-48DA-8E5C-B1CD17CDAC38}"/>
                  </a:ext>
                </a:extLst>
              </p:cNvPr>
              <p:cNvSpPr/>
              <p:nvPr/>
            </p:nvSpPr>
            <p:spPr>
              <a:xfrm>
                <a:off x="6399703" y="4671858"/>
                <a:ext cx="128088" cy="131856"/>
              </a:xfrm>
              <a:custGeom>
                <a:avLst/>
                <a:gdLst>
                  <a:gd name="connsiteX0" fmla="*/ 9207 w 323850"/>
                  <a:gd name="connsiteY0" fmla="*/ 283819 h 333375"/>
                  <a:gd name="connsiteX1" fmla="*/ 9207 w 323850"/>
                  <a:gd name="connsiteY1" fmla="*/ 326872 h 333375"/>
                  <a:gd name="connsiteX2" fmla="*/ 52260 w 323850"/>
                  <a:gd name="connsiteY2" fmla="*/ 326872 h 333375"/>
                  <a:gd name="connsiteX3" fmla="*/ 162750 w 323850"/>
                  <a:gd name="connsiteY3" fmla="*/ 216763 h 333375"/>
                  <a:gd name="connsiteX4" fmla="*/ 120078 w 323850"/>
                  <a:gd name="connsiteY4" fmla="*/ 173139 h 333375"/>
                  <a:gd name="connsiteX5" fmla="*/ 9207 w 323850"/>
                  <a:gd name="connsiteY5" fmla="*/ 283819 h 333375"/>
                  <a:gd name="connsiteX6" fmla="*/ 9207 w 323850"/>
                  <a:gd name="connsiteY6" fmla="*/ 283819 h 333375"/>
                  <a:gd name="connsiteX7" fmla="*/ 9207 w 323850"/>
                  <a:gd name="connsiteY7" fmla="*/ 283819 h 333375"/>
                  <a:gd name="connsiteX8" fmla="*/ 328104 w 323850"/>
                  <a:gd name="connsiteY8" fmla="*/ 51314 h 333375"/>
                  <a:gd name="connsiteX9" fmla="*/ 285051 w 323850"/>
                  <a:gd name="connsiteY9" fmla="*/ 8261 h 333375"/>
                  <a:gd name="connsiteX10" fmla="*/ 251428 w 323850"/>
                  <a:gd name="connsiteY10" fmla="*/ 43218 h 333375"/>
                  <a:gd name="connsiteX11" fmla="*/ 251428 w 323850"/>
                  <a:gd name="connsiteY11" fmla="*/ 86271 h 333375"/>
                  <a:gd name="connsiteX12" fmla="*/ 294481 w 323850"/>
                  <a:gd name="connsiteY12" fmla="*/ 86271 h 333375"/>
                  <a:gd name="connsiteX13" fmla="*/ 328104 w 323850"/>
                  <a:gd name="connsiteY13" fmla="*/ 51314 h 333375"/>
                  <a:gd name="connsiteX14" fmla="*/ 328104 w 323850"/>
                  <a:gd name="connsiteY14" fmla="*/ 51314 h 333375"/>
                  <a:gd name="connsiteX15" fmla="*/ 328104 w 323850"/>
                  <a:gd name="connsiteY15" fmla="*/ 51314 h 333375"/>
                  <a:gd name="connsiteX16" fmla="*/ 328104 w 323850"/>
                  <a:gd name="connsiteY16" fmla="*/ 51314 h 333375"/>
                  <a:gd name="connsiteX17" fmla="*/ 250094 w 323850"/>
                  <a:gd name="connsiteY17" fmla="*/ 86271 h 333375"/>
                  <a:gd name="connsiteX18" fmla="*/ 190849 w 323850"/>
                  <a:gd name="connsiteY18" fmla="*/ 145421 h 333375"/>
                  <a:gd name="connsiteX19" fmla="*/ 122935 w 323850"/>
                  <a:gd name="connsiteY19" fmla="*/ 21310 h 333375"/>
                  <a:gd name="connsiteX20" fmla="*/ 140176 w 323850"/>
                  <a:gd name="connsiteY20" fmla="*/ 93224 h 333375"/>
                  <a:gd name="connsiteX21" fmla="*/ 320484 w 323850"/>
                  <a:gd name="connsiteY21" fmla="*/ 277723 h 333375"/>
                  <a:gd name="connsiteX22" fmla="*/ 320484 w 323850"/>
                  <a:gd name="connsiteY22" fmla="*/ 327920 h 333375"/>
                  <a:gd name="connsiteX23" fmla="*/ 271430 w 323850"/>
                  <a:gd name="connsiteY23" fmla="*/ 327920 h 333375"/>
                  <a:gd name="connsiteX24" fmla="*/ 92360 w 323850"/>
                  <a:gd name="connsiteY24" fmla="*/ 144754 h 333375"/>
                  <a:gd name="connsiteX25" fmla="*/ 20732 w 323850"/>
                  <a:gd name="connsiteY25" fmla="*/ 125800 h 333375"/>
                  <a:gd name="connsiteX26" fmla="*/ 7588 w 323850"/>
                  <a:gd name="connsiteY26" fmla="*/ 40265 h 333375"/>
                  <a:gd name="connsiteX27" fmla="*/ 63309 w 323850"/>
                  <a:gd name="connsiteY27" fmla="*/ 97225 h 333375"/>
                  <a:gd name="connsiteX28" fmla="*/ 95122 w 323850"/>
                  <a:gd name="connsiteY28" fmla="*/ 64649 h 333375"/>
                  <a:gd name="connsiteX29" fmla="*/ 39401 w 323850"/>
                  <a:gd name="connsiteY29" fmla="*/ 7785 h 333375"/>
                  <a:gd name="connsiteX30" fmla="*/ 122935 w 323850"/>
                  <a:gd name="connsiteY30" fmla="*/ 21310 h 333375"/>
                  <a:gd name="connsiteX31" fmla="*/ 122935 w 323850"/>
                  <a:gd name="connsiteY31" fmla="*/ 2131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3850" h="333375">
                    <a:moveTo>
                      <a:pt x="9207" y="283819"/>
                    </a:moveTo>
                    <a:cubicBezTo>
                      <a:pt x="-2890" y="295916"/>
                      <a:pt x="-2890" y="314776"/>
                      <a:pt x="9207" y="326872"/>
                    </a:cubicBezTo>
                    <a:cubicBezTo>
                      <a:pt x="21304" y="338969"/>
                      <a:pt x="41497" y="338969"/>
                      <a:pt x="52260" y="326872"/>
                    </a:cubicBezTo>
                    <a:cubicBezTo>
                      <a:pt x="91312" y="287915"/>
                      <a:pt x="162750" y="216763"/>
                      <a:pt x="162750" y="216763"/>
                    </a:cubicBezTo>
                    <a:lnTo>
                      <a:pt x="120078" y="173139"/>
                    </a:lnTo>
                    <a:lnTo>
                      <a:pt x="9207" y="283819"/>
                    </a:lnTo>
                    <a:lnTo>
                      <a:pt x="9207" y="283819"/>
                    </a:lnTo>
                    <a:lnTo>
                      <a:pt x="9207" y="283819"/>
                    </a:lnTo>
                    <a:close/>
                    <a:moveTo>
                      <a:pt x="328104" y="51314"/>
                    </a:moveTo>
                    <a:cubicBezTo>
                      <a:pt x="285051" y="8261"/>
                      <a:pt x="285051" y="8261"/>
                      <a:pt x="285051" y="8261"/>
                    </a:cubicBezTo>
                    <a:cubicBezTo>
                      <a:pt x="251428" y="43218"/>
                      <a:pt x="251428" y="43218"/>
                      <a:pt x="251428" y="43218"/>
                    </a:cubicBezTo>
                    <a:cubicBezTo>
                      <a:pt x="251428" y="86271"/>
                      <a:pt x="251428" y="86271"/>
                      <a:pt x="251428" y="86271"/>
                    </a:cubicBezTo>
                    <a:cubicBezTo>
                      <a:pt x="294481" y="86271"/>
                      <a:pt x="294481" y="86271"/>
                      <a:pt x="294481" y="86271"/>
                    </a:cubicBezTo>
                    <a:cubicBezTo>
                      <a:pt x="328104" y="51314"/>
                      <a:pt x="328104" y="51314"/>
                      <a:pt x="328104" y="51314"/>
                    </a:cubicBezTo>
                    <a:lnTo>
                      <a:pt x="328104" y="51314"/>
                    </a:lnTo>
                    <a:lnTo>
                      <a:pt x="328104" y="51314"/>
                    </a:lnTo>
                    <a:lnTo>
                      <a:pt x="328104" y="51314"/>
                    </a:lnTo>
                    <a:close/>
                    <a:moveTo>
                      <a:pt x="250094" y="86271"/>
                    </a:moveTo>
                    <a:lnTo>
                      <a:pt x="190849" y="145421"/>
                    </a:lnTo>
                    <a:moveTo>
                      <a:pt x="122935" y="21310"/>
                    </a:moveTo>
                    <a:cubicBezTo>
                      <a:pt x="141509" y="40265"/>
                      <a:pt x="148177" y="68840"/>
                      <a:pt x="140176" y="93224"/>
                    </a:cubicBezTo>
                    <a:lnTo>
                      <a:pt x="320484" y="277723"/>
                    </a:lnTo>
                    <a:cubicBezTo>
                      <a:pt x="333724" y="291249"/>
                      <a:pt x="333724" y="314395"/>
                      <a:pt x="320484" y="327920"/>
                    </a:cubicBezTo>
                    <a:cubicBezTo>
                      <a:pt x="307244" y="341446"/>
                      <a:pt x="284670" y="341446"/>
                      <a:pt x="271430" y="327920"/>
                    </a:cubicBezTo>
                    <a:lnTo>
                      <a:pt x="92360" y="144754"/>
                    </a:lnTo>
                    <a:cubicBezTo>
                      <a:pt x="67119" y="151517"/>
                      <a:pt x="40639" y="146088"/>
                      <a:pt x="20732" y="125800"/>
                    </a:cubicBezTo>
                    <a:cubicBezTo>
                      <a:pt x="-1747" y="102749"/>
                      <a:pt x="-5652" y="67411"/>
                      <a:pt x="7588" y="40265"/>
                    </a:cubicBezTo>
                    <a:lnTo>
                      <a:pt x="63309" y="97225"/>
                    </a:lnTo>
                    <a:lnTo>
                      <a:pt x="95122" y="64649"/>
                    </a:lnTo>
                    <a:lnTo>
                      <a:pt x="39401" y="7785"/>
                    </a:lnTo>
                    <a:cubicBezTo>
                      <a:pt x="67214" y="-5836"/>
                      <a:pt x="100361" y="-1740"/>
                      <a:pt x="122935" y="21310"/>
                    </a:cubicBezTo>
                    <a:lnTo>
                      <a:pt x="122935" y="21310"/>
                    </a:lnTo>
                    <a:close/>
                  </a:path>
                </a:pathLst>
              </a:custGeom>
              <a:noFill/>
              <a:ln w="9525" cap="sq">
                <a:solidFill>
                  <a:srgbClr val="BB6100"/>
                </a:solidFill>
                <a:prstDash val="solid"/>
                <a:miter/>
              </a:ln>
            </p:spPr>
            <p:txBody>
              <a:bodyPr rtlCol="0" anchor="ctr"/>
              <a:lstStyle/>
              <a:p>
                <a:pPr defTabSz="932504">
                  <a:defRPr/>
                </a:pPr>
                <a:endParaRPr lang="en-US" sz="1122">
                  <a:solidFill>
                    <a:srgbClr val="FFC000"/>
                  </a:solidFill>
                  <a:latin typeface="Segoe UI"/>
                </a:endParaRPr>
              </a:p>
            </p:txBody>
          </p:sp>
          <p:grpSp>
            <p:nvGrpSpPr>
              <p:cNvPr id="60" name="Group 59">
                <a:extLst>
                  <a:ext uri="{FF2B5EF4-FFF2-40B4-BE49-F238E27FC236}">
                    <a16:creationId xmlns:a16="http://schemas.microsoft.com/office/drawing/2014/main" id="{3781723E-CB82-4D64-BF1F-FF228EF4B02C}"/>
                  </a:ext>
                </a:extLst>
              </p:cNvPr>
              <p:cNvGrpSpPr/>
              <p:nvPr/>
            </p:nvGrpSpPr>
            <p:grpSpPr>
              <a:xfrm>
                <a:off x="5273912" y="4674266"/>
                <a:ext cx="425689" cy="469305"/>
                <a:chOff x="7188505" y="3194265"/>
                <a:chExt cx="875903" cy="965651"/>
              </a:xfrm>
            </p:grpSpPr>
            <p:sp>
              <p:nvSpPr>
                <p:cNvPr id="76" name="TextBox 75">
                  <a:extLst>
                    <a:ext uri="{FF2B5EF4-FFF2-40B4-BE49-F238E27FC236}">
                      <a16:creationId xmlns:a16="http://schemas.microsoft.com/office/drawing/2014/main" id="{3659D5FE-1EC7-4930-8409-E684CA2E4EC5}"/>
                    </a:ext>
                  </a:extLst>
                </p:cNvPr>
                <p:cNvSpPr txBox="1"/>
                <p:nvPr/>
              </p:nvSpPr>
              <p:spPr>
                <a:xfrm>
                  <a:off x="7188505" y="3574641"/>
                  <a:ext cx="875903" cy="585275"/>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In-memory</a:t>
                  </a:r>
                  <a:br>
                    <a:rPr lang="en-US" sz="612" kern="0">
                      <a:solidFill>
                        <a:srgbClr val="FFC000"/>
                      </a:solidFill>
                      <a:latin typeface="Segoe UI Semibold"/>
                    </a:rPr>
                  </a:br>
                  <a:r>
                    <a:rPr lang="en-US" sz="612" kern="0">
                      <a:solidFill>
                        <a:srgbClr val="FFC000"/>
                      </a:solidFill>
                      <a:latin typeface="Segoe UI Semibold"/>
                    </a:rPr>
                    <a:t>cache</a:t>
                  </a:r>
                </a:p>
              </p:txBody>
            </p:sp>
            <p:sp>
              <p:nvSpPr>
                <p:cNvPr id="77" name="LightningBolt_E945" title="Icon of a lightning bolt">
                  <a:extLst>
                    <a:ext uri="{FF2B5EF4-FFF2-40B4-BE49-F238E27FC236}">
                      <a16:creationId xmlns:a16="http://schemas.microsoft.com/office/drawing/2014/main" id="{799441F8-4AFA-42A7-83F4-91B7DDDC825C}"/>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61" name="Group 60">
                <a:extLst>
                  <a:ext uri="{FF2B5EF4-FFF2-40B4-BE49-F238E27FC236}">
                    <a16:creationId xmlns:a16="http://schemas.microsoft.com/office/drawing/2014/main" id="{AA96C057-CFBD-4412-8370-8123550C34AC}"/>
                  </a:ext>
                </a:extLst>
              </p:cNvPr>
              <p:cNvGrpSpPr/>
              <p:nvPr/>
            </p:nvGrpSpPr>
            <p:grpSpPr>
              <a:xfrm>
                <a:off x="5902446" y="5183675"/>
                <a:ext cx="593606" cy="363025"/>
                <a:chOff x="8612440" y="4278622"/>
                <a:chExt cx="1221411" cy="746964"/>
              </a:xfrm>
            </p:grpSpPr>
            <p:sp>
              <p:nvSpPr>
                <p:cNvPr id="68" name="TextBox 67">
                  <a:extLst>
                    <a:ext uri="{FF2B5EF4-FFF2-40B4-BE49-F238E27FC236}">
                      <a16:creationId xmlns:a16="http://schemas.microsoft.com/office/drawing/2014/main" id="{513F3A63-CD30-43E5-9488-1C116551FDBA}"/>
                    </a:ext>
                  </a:extLst>
                </p:cNvPr>
                <p:cNvSpPr txBox="1"/>
                <p:nvPr/>
              </p:nvSpPr>
              <p:spPr>
                <a:xfrm>
                  <a:off x="8612440" y="4635403"/>
                  <a:ext cx="1221411" cy="390183"/>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Business logic</a:t>
                  </a:r>
                  <a:br>
                    <a:rPr lang="en-US" sz="612" kern="0">
                      <a:solidFill>
                        <a:srgbClr val="FFC000"/>
                      </a:solidFill>
                      <a:latin typeface="Segoe UI Semibold"/>
                    </a:rPr>
                  </a:br>
                  <a:r>
                    <a:rPr lang="en-US" sz="612" kern="0">
                      <a:solidFill>
                        <a:srgbClr val="FFC000"/>
                      </a:solidFill>
                      <a:latin typeface="Segoe UI Semibold"/>
                    </a:rPr>
                    <a:t>&amp; metrics</a:t>
                  </a:r>
                </a:p>
              </p:txBody>
            </p:sp>
            <p:grpSp>
              <p:nvGrpSpPr>
                <p:cNvPr id="69" name="Group 68">
                  <a:extLst>
                    <a:ext uri="{FF2B5EF4-FFF2-40B4-BE49-F238E27FC236}">
                      <a16:creationId xmlns:a16="http://schemas.microsoft.com/office/drawing/2014/main" id="{40345755-25B4-407C-85C3-2A9D8A0A49D8}"/>
                    </a:ext>
                  </a:extLst>
                </p:cNvPr>
                <p:cNvGrpSpPr/>
                <p:nvPr/>
              </p:nvGrpSpPr>
              <p:grpSpPr>
                <a:xfrm>
                  <a:off x="9043258" y="4278622"/>
                  <a:ext cx="359774" cy="287564"/>
                  <a:chOff x="2533828" y="3717460"/>
                  <a:chExt cx="655893" cy="524250"/>
                </a:xfrm>
              </p:grpSpPr>
              <p:grpSp>
                <p:nvGrpSpPr>
                  <p:cNvPr id="70" name="Group 69">
                    <a:extLst>
                      <a:ext uri="{FF2B5EF4-FFF2-40B4-BE49-F238E27FC236}">
                        <a16:creationId xmlns:a16="http://schemas.microsoft.com/office/drawing/2014/main" id="{08F1D689-CFCD-47D7-AD5F-7D9ADD5D1565}"/>
                      </a:ext>
                    </a:extLst>
                  </p:cNvPr>
                  <p:cNvGrpSpPr/>
                  <p:nvPr/>
                </p:nvGrpSpPr>
                <p:grpSpPr>
                  <a:xfrm>
                    <a:off x="2533828" y="3878938"/>
                    <a:ext cx="351436" cy="362772"/>
                    <a:chOff x="6979556" y="4967290"/>
                    <a:chExt cx="295275" cy="304800"/>
                  </a:xfrm>
                </p:grpSpPr>
                <p:sp>
                  <p:nvSpPr>
                    <p:cNvPr id="74" name="Freeform: Shape 73">
                      <a:extLst>
                        <a:ext uri="{FF2B5EF4-FFF2-40B4-BE49-F238E27FC236}">
                          <a16:creationId xmlns:a16="http://schemas.microsoft.com/office/drawing/2014/main" id="{046FF842-012B-4FE1-AAA7-E99188DFACC1}"/>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5" name="Freeform: Shape 74">
                      <a:extLst>
                        <a:ext uri="{FF2B5EF4-FFF2-40B4-BE49-F238E27FC236}">
                          <a16:creationId xmlns:a16="http://schemas.microsoft.com/office/drawing/2014/main" id="{AF162D75-DF0D-45A2-BC88-7642869CEE3F}"/>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nvGrpSpPr>
                  <p:cNvPr id="71" name="Group 70">
                    <a:extLst>
                      <a:ext uri="{FF2B5EF4-FFF2-40B4-BE49-F238E27FC236}">
                        <a16:creationId xmlns:a16="http://schemas.microsoft.com/office/drawing/2014/main" id="{35DA3CCD-237B-4D79-A554-6FB002B7301B}"/>
                      </a:ext>
                    </a:extLst>
                  </p:cNvPr>
                  <p:cNvGrpSpPr/>
                  <p:nvPr/>
                </p:nvGrpSpPr>
                <p:grpSpPr>
                  <a:xfrm>
                    <a:off x="2900401" y="3717460"/>
                    <a:ext cx="289320" cy="298652"/>
                    <a:chOff x="6979556" y="4967290"/>
                    <a:chExt cx="295275" cy="304800"/>
                  </a:xfrm>
                </p:grpSpPr>
                <p:sp>
                  <p:nvSpPr>
                    <p:cNvPr id="72" name="Freeform: Shape 71">
                      <a:extLst>
                        <a:ext uri="{FF2B5EF4-FFF2-40B4-BE49-F238E27FC236}">
                          <a16:creationId xmlns:a16="http://schemas.microsoft.com/office/drawing/2014/main" id="{5BC8C6F1-E403-4F2D-8B64-0572C2EC970A}"/>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sp>
                  <p:nvSpPr>
                    <p:cNvPr id="73" name="Freeform: Shape 72">
                      <a:extLst>
                        <a:ext uri="{FF2B5EF4-FFF2-40B4-BE49-F238E27FC236}">
                          <a16:creationId xmlns:a16="http://schemas.microsoft.com/office/drawing/2014/main" id="{0C6B14D8-7B72-417B-877C-20E54C1019CC}"/>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9525"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510">
                        <a:solidFill>
                          <a:srgbClr val="FFC000"/>
                        </a:solidFill>
                        <a:latin typeface="Segoe UI"/>
                      </a:endParaRPr>
                    </a:p>
                  </p:txBody>
                </p:sp>
              </p:grpSp>
            </p:grpSp>
          </p:grpSp>
          <p:grpSp>
            <p:nvGrpSpPr>
              <p:cNvPr id="62" name="Group 61">
                <a:extLst>
                  <a:ext uri="{FF2B5EF4-FFF2-40B4-BE49-F238E27FC236}">
                    <a16:creationId xmlns:a16="http://schemas.microsoft.com/office/drawing/2014/main" id="{DF3D35BC-05A0-4398-AA92-CB5928995BC9}"/>
                  </a:ext>
                </a:extLst>
              </p:cNvPr>
              <p:cNvGrpSpPr/>
              <p:nvPr/>
            </p:nvGrpSpPr>
            <p:grpSpPr>
              <a:xfrm>
                <a:off x="5488210" y="5204131"/>
                <a:ext cx="213724" cy="310397"/>
                <a:chOff x="7498789" y="4274821"/>
                <a:chExt cx="439761" cy="638677"/>
              </a:xfrm>
            </p:grpSpPr>
            <p:sp>
              <p:nvSpPr>
                <p:cNvPr id="66" name="TextBox 65">
                  <a:extLst>
                    <a:ext uri="{FF2B5EF4-FFF2-40B4-BE49-F238E27FC236}">
                      <a16:creationId xmlns:a16="http://schemas.microsoft.com/office/drawing/2014/main" id="{BB36E47B-74F7-4A08-A145-24A7A89B1A26}"/>
                    </a:ext>
                  </a:extLst>
                </p:cNvPr>
                <p:cNvSpPr txBox="1"/>
                <p:nvPr/>
              </p:nvSpPr>
              <p:spPr>
                <a:xfrm>
                  <a:off x="7498789" y="4718406"/>
                  <a:ext cx="439761" cy="195092"/>
                </a:xfrm>
                <a:prstGeom prst="rect">
                  <a:avLst/>
                </a:prstGeom>
                <a:noFill/>
              </p:spPr>
              <p:txBody>
                <a:bodyPr wrap="square" lIns="0" tIns="0" rIns="0" bIns="0" rtlCol="0">
                  <a:spAutoFit/>
                </a:bodyPr>
                <a:lstStyle/>
                <a:p>
                  <a:pPr algn="ctr" defTabSz="932504">
                    <a:lnSpc>
                      <a:spcPct val="90000"/>
                    </a:lnSpc>
                    <a:spcAft>
                      <a:spcPts val="600"/>
                    </a:spcAft>
                    <a:defRPr/>
                  </a:pPr>
                  <a:r>
                    <a:rPr lang="en-US" sz="612" kern="0">
                      <a:solidFill>
                        <a:srgbClr val="FFC000"/>
                      </a:solidFill>
                      <a:latin typeface="Segoe UI Semibold"/>
                    </a:rPr>
                    <a:t>ALM</a:t>
                  </a:r>
                </a:p>
              </p:txBody>
            </p:sp>
            <p:sp>
              <p:nvSpPr>
                <p:cNvPr id="67" name="transform" title="Icon of a circle and a square with two curved lines making a cycle">
                  <a:extLst>
                    <a:ext uri="{FF2B5EF4-FFF2-40B4-BE49-F238E27FC236}">
                      <a16:creationId xmlns:a16="http://schemas.microsoft.com/office/drawing/2014/main" id="{D04C9F6C-ADED-464D-97C3-288D00DA570D}"/>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122">
                    <a:solidFill>
                      <a:srgbClr val="FFC000"/>
                    </a:solidFill>
                    <a:latin typeface="Segoe UI"/>
                  </a:endParaRPr>
                </a:p>
              </p:txBody>
            </p:sp>
          </p:grpSp>
          <p:grpSp>
            <p:nvGrpSpPr>
              <p:cNvPr id="63" name="Group 62">
                <a:extLst>
                  <a:ext uri="{FF2B5EF4-FFF2-40B4-BE49-F238E27FC236}">
                    <a16:creationId xmlns:a16="http://schemas.microsoft.com/office/drawing/2014/main" id="{D389F9F6-2442-4E9D-864A-2012C3AE0B53}"/>
                  </a:ext>
                </a:extLst>
              </p:cNvPr>
              <p:cNvGrpSpPr/>
              <p:nvPr/>
            </p:nvGrpSpPr>
            <p:grpSpPr>
              <a:xfrm>
                <a:off x="5679789" y="4615466"/>
                <a:ext cx="562792" cy="529034"/>
                <a:chOff x="3769143" y="3856277"/>
                <a:chExt cx="1158008" cy="1088549"/>
              </a:xfrm>
            </p:grpSpPr>
            <p:pic>
              <p:nvPicPr>
                <p:cNvPr id="64" name="Picture 63">
                  <a:extLst>
                    <a:ext uri="{FF2B5EF4-FFF2-40B4-BE49-F238E27FC236}">
                      <a16:creationId xmlns:a16="http://schemas.microsoft.com/office/drawing/2014/main" id="{984CFCF6-4B05-4C30-B72B-6D9FC6EEA3BA}"/>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4" cy="490769"/>
                </a:xfrm>
                <a:prstGeom prst="rect">
                  <a:avLst/>
                </a:prstGeom>
              </p:spPr>
            </p:pic>
            <p:sp>
              <p:nvSpPr>
                <p:cNvPr id="65" name="TextBox 64">
                  <a:extLst>
                    <a:ext uri="{FF2B5EF4-FFF2-40B4-BE49-F238E27FC236}">
                      <a16:creationId xmlns:a16="http://schemas.microsoft.com/office/drawing/2014/main" id="{10B46B6F-D9BA-4850-8051-64FC22BACE8E}"/>
                    </a:ext>
                  </a:extLst>
                </p:cNvPr>
                <p:cNvSpPr txBox="1"/>
                <p:nvPr/>
              </p:nvSpPr>
              <p:spPr>
                <a:xfrm>
                  <a:off x="3769143" y="4489415"/>
                  <a:ext cx="1158008" cy="455411"/>
                </a:xfrm>
                <a:prstGeom prst="rect">
                  <a:avLst/>
                </a:prstGeom>
                <a:noFill/>
              </p:spPr>
              <p:txBody>
                <a:bodyPr wrap="square" lIns="0" tIns="0" rIns="0" bIns="0" rtlCol="0">
                  <a:spAutoFit/>
                </a:bodyPr>
                <a:lstStyle/>
                <a:p>
                  <a:pPr algn="ctr" defTabSz="932504">
                    <a:lnSpc>
                      <a:spcPct val="90000"/>
                    </a:lnSpc>
                    <a:spcAft>
                      <a:spcPts val="600"/>
                    </a:spcAft>
                    <a:defRPr/>
                  </a:pPr>
                  <a:r>
                    <a:rPr lang="en-US" sz="714" b="1" kern="0">
                      <a:solidFill>
                        <a:srgbClr val="FFC000"/>
                      </a:solidFill>
                      <a:latin typeface="Segoe UI"/>
                    </a:rPr>
                    <a:t>Power BI Datasets</a:t>
                  </a:r>
                </a:p>
              </p:txBody>
            </p:sp>
          </p:grpSp>
        </p:grpSp>
        <p:grpSp>
          <p:nvGrpSpPr>
            <p:cNvPr id="52" name="!!Local">
              <a:extLst>
                <a:ext uri="{FF2B5EF4-FFF2-40B4-BE49-F238E27FC236}">
                  <a16:creationId xmlns:a16="http://schemas.microsoft.com/office/drawing/2014/main" id="{0B3D724B-1F4F-4B53-AAEE-431B9D1C11C3}"/>
                </a:ext>
              </a:extLst>
            </p:cNvPr>
            <p:cNvGrpSpPr/>
            <p:nvPr/>
          </p:nvGrpSpPr>
          <p:grpSpPr>
            <a:xfrm>
              <a:off x="4442005" y="1739637"/>
              <a:ext cx="4169254" cy="4169253"/>
              <a:chOff x="4817899" y="2476066"/>
              <a:chExt cx="4169254" cy="4169253"/>
            </a:xfrm>
          </p:grpSpPr>
          <p:sp>
            <p:nvSpPr>
              <p:cNvPr id="53" name="Oval 52">
                <a:extLst>
                  <a:ext uri="{FF2B5EF4-FFF2-40B4-BE49-F238E27FC236}">
                    <a16:creationId xmlns:a16="http://schemas.microsoft.com/office/drawing/2014/main" id="{66A9BE1B-FA9D-4900-9BCE-125C227E4EA9}"/>
                  </a:ext>
                </a:extLst>
              </p:cNvPr>
              <p:cNvSpPr/>
              <p:nvPr/>
            </p:nvSpPr>
            <p:spPr bwMode="auto">
              <a:xfrm>
                <a:off x="4817899" y="2476066"/>
                <a:ext cx="4169254" cy="4169253"/>
              </a:xfrm>
              <a:prstGeom prst="ellipse">
                <a:avLst/>
              </a:prstGeom>
              <a:noFill/>
              <a:ln w="12700">
                <a:solidFill>
                  <a:srgbClr val="BB6100"/>
                </a:solidFill>
                <a:prstDash val="dash"/>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err="1">
                  <a:solidFill>
                    <a:srgbClr val="FFC000"/>
                  </a:solidFill>
                  <a:latin typeface="Segoe UI"/>
                  <a:cs typeface="Segoe UI" pitchFamily="34" charset="0"/>
                </a:endParaRPr>
              </a:p>
            </p:txBody>
          </p:sp>
          <p:sp>
            <p:nvSpPr>
              <p:cNvPr id="54" name="TextBox 53">
                <a:extLst>
                  <a:ext uri="{FF2B5EF4-FFF2-40B4-BE49-F238E27FC236}">
                    <a16:creationId xmlns:a16="http://schemas.microsoft.com/office/drawing/2014/main" id="{EAED2349-CE0B-4088-B1D7-AE0331F87316}"/>
                  </a:ext>
                </a:extLst>
              </p:cNvPr>
              <p:cNvSpPr txBox="1"/>
              <p:nvPr/>
            </p:nvSpPr>
            <p:spPr>
              <a:xfrm>
                <a:off x="5284208" y="3850832"/>
                <a:ext cx="622789" cy="463216"/>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Dataset</a:t>
                </a:r>
              </a:p>
            </p:txBody>
          </p:sp>
        </p:grpSp>
      </p:grpSp>
      <p:grpSp>
        <p:nvGrpSpPr>
          <p:cNvPr id="8" name="Group 7">
            <a:extLst>
              <a:ext uri="{FF2B5EF4-FFF2-40B4-BE49-F238E27FC236}">
                <a16:creationId xmlns:a16="http://schemas.microsoft.com/office/drawing/2014/main" id="{4F77F981-A606-4EFD-9F3D-183970EE232F}"/>
              </a:ext>
            </a:extLst>
          </p:cNvPr>
          <p:cNvGrpSpPr/>
          <p:nvPr/>
        </p:nvGrpSpPr>
        <p:grpSpPr>
          <a:xfrm>
            <a:off x="4998836" y="1615083"/>
            <a:ext cx="4252519" cy="4252518"/>
            <a:chOff x="4999473" y="1614842"/>
            <a:chExt cx="4253062" cy="4253061"/>
          </a:xfrm>
        </p:grpSpPr>
        <p:sp>
          <p:nvSpPr>
            <p:cNvPr id="80" name="TextBox 79">
              <a:extLst>
                <a:ext uri="{FF2B5EF4-FFF2-40B4-BE49-F238E27FC236}">
                  <a16:creationId xmlns:a16="http://schemas.microsoft.com/office/drawing/2014/main" id="{8E0627D0-3213-45EA-BD89-4D313072181F}"/>
                </a:ext>
              </a:extLst>
            </p:cNvPr>
            <p:cNvSpPr txBox="1"/>
            <p:nvPr/>
          </p:nvSpPr>
          <p:spPr>
            <a:xfrm>
              <a:off x="8062771" y="4466084"/>
              <a:ext cx="635187" cy="472437"/>
            </a:xfrm>
            <a:prstGeom prst="rect">
              <a:avLst/>
            </a:prstGeom>
            <a:noFill/>
          </p:spPr>
          <p:txBody>
            <a:bodyPr wrap="square" lIns="0" tIns="0" rIns="0" bIns="0" rtlCol="0">
              <a:spAutoFit/>
            </a:bodyPr>
            <a:lstStyle/>
            <a:p>
              <a:pPr algn="ctr" defTabSz="932504">
                <a:lnSpc>
                  <a:spcPct val="90000"/>
                </a:lnSpc>
                <a:spcAft>
                  <a:spcPts val="600"/>
                </a:spcAft>
                <a:defRPr/>
              </a:pPr>
              <a:r>
                <a:rPr lang="en-US" sz="1428" b="1" kern="0">
                  <a:solidFill>
                    <a:srgbClr val="FFC000"/>
                  </a:solidFill>
                  <a:latin typeface="Segoe UI Semibold"/>
                </a:rPr>
                <a:t>Local</a:t>
              </a:r>
            </a:p>
            <a:p>
              <a:pPr algn="ctr" defTabSz="932504">
                <a:lnSpc>
                  <a:spcPct val="90000"/>
                </a:lnSpc>
                <a:spcAft>
                  <a:spcPts val="600"/>
                </a:spcAft>
                <a:defRPr/>
              </a:pPr>
              <a:r>
                <a:rPr lang="en-US" sz="1428" b="1" kern="0">
                  <a:solidFill>
                    <a:srgbClr val="FFC000"/>
                  </a:solidFill>
                  <a:latin typeface="Segoe UI Semibold"/>
                </a:rPr>
                <a:t>Model</a:t>
              </a:r>
            </a:p>
          </p:txBody>
        </p:sp>
        <p:sp>
          <p:nvSpPr>
            <p:cNvPr id="81" name="Oval 80">
              <a:extLst>
                <a:ext uri="{FF2B5EF4-FFF2-40B4-BE49-F238E27FC236}">
                  <a16:creationId xmlns:a16="http://schemas.microsoft.com/office/drawing/2014/main" id="{7ACAE6C1-B2A8-48F0-A7EB-287617F99D07}"/>
                </a:ext>
              </a:extLst>
            </p:cNvPr>
            <p:cNvSpPr/>
            <p:nvPr/>
          </p:nvSpPr>
          <p:spPr bwMode="auto">
            <a:xfrm>
              <a:off x="4999473" y="1614842"/>
              <a:ext cx="4253062" cy="4253061"/>
            </a:xfrm>
            <a:prstGeom prst="ellipse">
              <a:avLst/>
            </a:prstGeom>
            <a:noFill/>
            <a:ln w="12700">
              <a:solidFill>
                <a:srgbClr val="BB61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defTabSz="950933" fontAlgn="base">
                <a:spcBef>
                  <a:spcPct val="0"/>
                </a:spcBef>
                <a:spcAft>
                  <a:spcPct val="0"/>
                </a:spcAft>
                <a:defRPr/>
              </a:pPr>
              <a:endParaRPr lang="en-IN" sz="2040">
                <a:solidFill>
                  <a:srgbClr val="FFC000"/>
                </a:solidFill>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8B01592C-BADA-4C1C-B4EC-AD6198B71770}"/>
                </a:ext>
              </a:extLst>
            </p:cNvPr>
            <p:cNvGrpSpPr/>
            <p:nvPr/>
          </p:nvGrpSpPr>
          <p:grpSpPr>
            <a:xfrm>
              <a:off x="7383458" y="2083328"/>
              <a:ext cx="1530621" cy="2173382"/>
              <a:chOff x="7383458" y="2083328"/>
              <a:chExt cx="1530621" cy="2173382"/>
            </a:xfrm>
          </p:grpSpPr>
          <p:grpSp>
            <p:nvGrpSpPr>
              <p:cNvPr id="105" name="Group 104" descr="excel">
                <a:extLst>
                  <a:ext uri="{FF2B5EF4-FFF2-40B4-BE49-F238E27FC236}">
                    <a16:creationId xmlns:a16="http://schemas.microsoft.com/office/drawing/2014/main" id="{5C18D409-4F46-4E29-BF4A-56CB3495CF28}"/>
                  </a:ext>
                </a:extLst>
              </p:cNvPr>
              <p:cNvGrpSpPr/>
              <p:nvPr/>
            </p:nvGrpSpPr>
            <p:grpSpPr>
              <a:xfrm>
                <a:off x="7553645" y="2239064"/>
                <a:ext cx="541327" cy="671143"/>
                <a:chOff x="8154094" y="5755612"/>
                <a:chExt cx="902385" cy="1118787"/>
              </a:xfrm>
            </p:grpSpPr>
            <p:pic>
              <p:nvPicPr>
                <p:cNvPr id="106" name="Picture 105" descr="A close up of a sign&#10;&#10;Description automatically generated">
                  <a:extLst>
                    <a:ext uri="{FF2B5EF4-FFF2-40B4-BE49-F238E27FC236}">
                      <a16:creationId xmlns:a16="http://schemas.microsoft.com/office/drawing/2014/main" id="{8F232900-13FA-4B7C-AFA3-DB2F11AC45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4094" y="5755612"/>
                  <a:ext cx="902385" cy="902382"/>
                </a:xfrm>
                <a:prstGeom prst="rect">
                  <a:avLst/>
                </a:prstGeom>
              </p:spPr>
            </p:pic>
            <p:sp>
              <p:nvSpPr>
                <p:cNvPr id="107" name="TextBox 106">
                  <a:extLst>
                    <a:ext uri="{FF2B5EF4-FFF2-40B4-BE49-F238E27FC236}">
                      <a16:creationId xmlns:a16="http://schemas.microsoft.com/office/drawing/2014/main" id="{1E991FBD-777F-41B5-A7D6-8382973ABF93}"/>
                    </a:ext>
                  </a:extLst>
                </p:cNvPr>
                <p:cNvSpPr txBox="1"/>
                <p:nvPr/>
              </p:nvSpPr>
              <p:spPr>
                <a:xfrm>
                  <a:off x="8459094" y="6631979"/>
                  <a:ext cx="551538" cy="242420"/>
                </a:xfrm>
                <a:prstGeom prst="rect">
                  <a:avLst/>
                </a:prstGeom>
                <a:noFill/>
              </p:spPr>
              <p:txBody>
                <a:bodyPr wrap="square" lIns="0" tIns="0" rIns="0" bIns="0" rtlCol="0">
                  <a:spAutoFit/>
                </a:bodyPr>
                <a:lstStyle/>
                <a:p>
                  <a:pPr defTabSz="932325">
                    <a:lnSpc>
                      <a:spcPct val="90000"/>
                    </a:lnSpc>
                    <a:spcAft>
                      <a:spcPts val="600"/>
                    </a:spcAft>
                    <a:defRPr/>
                  </a:pPr>
                  <a:r>
                    <a:rPr lang="en-US" sz="1050" kern="0">
                      <a:gradFill>
                        <a:gsLst>
                          <a:gs pos="82000">
                            <a:schemeClr val="tx1"/>
                          </a:gs>
                          <a:gs pos="0">
                            <a:schemeClr val="tx1"/>
                          </a:gs>
                        </a:gsLst>
                        <a:lin ang="2700000" scaled="1"/>
                      </a:gradFill>
                      <a:latin typeface="+mj-lt"/>
                    </a:rPr>
                    <a:t>Excel</a:t>
                  </a:r>
                </a:p>
              </p:txBody>
            </p:sp>
          </p:grpSp>
          <p:grpSp>
            <p:nvGrpSpPr>
              <p:cNvPr id="6" name="Group 5">
                <a:extLst>
                  <a:ext uri="{FF2B5EF4-FFF2-40B4-BE49-F238E27FC236}">
                    <a16:creationId xmlns:a16="http://schemas.microsoft.com/office/drawing/2014/main" id="{0643AB83-D9F9-4CDA-9A42-A580BBB72D87}"/>
                  </a:ext>
                </a:extLst>
              </p:cNvPr>
              <p:cNvGrpSpPr/>
              <p:nvPr/>
            </p:nvGrpSpPr>
            <p:grpSpPr>
              <a:xfrm>
                <a:off x="7383458" y="2083328"/>
                <a:ext cx="1530621" cy="2173382"/>
                <a:chOff x="7383458" y="2083328"/>
                <a:chExt cx="1530621" cy="2173382"/>
              </a:xfrm>
            </p:grpSpPr>
            <p:sp>
              <p:nvSpPr>
                <p:cNvPr id="82" name="Oval 81">
                  <a:extLst>
                    <a:ext uri="{FF2B5EF4-FFF2-40B4-BE49-F238E27FC236}">
                      <a16:creationId xmlns:a16="http://schemas.microsoft.com/office/drawing/2014/main" id="{DF7E07FA-00B3-4CCD-8D8A-1F122CEB9DA7}"/>
                    </a:ext>
                  </a:extLst>
                </p:cNvPr>
                <p:cNvSpPr/>
                <p:nvPr/>
              </p:nvSpPr>
              <p:spPr bwMode="auto">
                <a:xfrm>
                  <a:off x="7383458" y="2083328"/>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a:solidFill>
                      <a:srgbClr val="FFC000"/>
                    </a:solidFill>
                    <a:latin typeface="Segoe UI"/>
                    <a:ea typeface="Segoe UI" pitchFamily="34" charset="0"/>
                    <a:cs typeface="Segoe UI" pitchFamily="34" charset="0"/>
                  </a:endParaRPr>
                </a:p>
              </p:txBody>
            </p:sp>
            <p:sp>
              <p:nvSpPr>
                <p:cNvPr id="2" name="Oval 1">
                  <a:extLst>
                    <a:ext uri="{FF2B5EF4-FFF2-40B4-BE49-F238E27FC236}">
                      <a16:creationId xmlns:a16="http://schemas.microsoft.com/office/drawing/2014/main" id="{048EA7A7-4344-4F8E-90A9-A3A558D6D308}"/>
                    </a:ext>
                  </a:extLst>
                </p:cNvPr>
                <p:cNvSpPr/>
                <p:nvPr/>
              </p:nvSpPr>
              <p:spPr bwMode="auto">
                <a:xfrm>
                  <a:off x="7917173" y="3275229"/>
                  <a:ext cx="996906" cy="981481"/>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632" kern="0" err="1">
                    <a:solidFill>
                      <a:srgbClr val="FFC000"/>
                    </a:solidFill>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B33A2400-E3C1-4DCC-9572-AC50C980B259}"/>
                    </a:ext>
                  </a:extLst>
                </p:cNvPr>
                <p:cNvGrpSpPr/>
                <p:nvPr/>
              </p:nvGrpSpPr>
              <p:grpSpPr>
                <a:xfrm>
                  <a:off x="8090547" y="3391004"/>
                  <a:ext cx="675805" cy="824564"/>
                  <a:chOff x="8090547" y="3391004"/>
                  <a:chExt cx="675805" cy="824564"/>
                </a:xfrm>
              </p:grpSpPr>
              <p:pic>
                <p:nvPicPr>
                  <p:cNvPr id="2050" name="Picture 2" descr="See the source image">
                    <a:extLst>
                      <a:ext uri="{FF2B5EF4-FFF2-40B4-BE49-F238E27FC236}">
                        <a16:creationId xmlns:a16="http://schemas.microsoft.com/office/drawing/2014/main" id="{12518563-2292-46CC-BF5F-082AF64C26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5670" y="3391004"/>
                    <a:ext cx="500509" cy="50050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8B4B622-F5C2-4172-8158-E2C5BA2102B8}"/>
                      </a:ext>
                    </a:extLst>
                  </p:cNvPr>
                  <p:cNvSpPr txBox="1"/>
                  <p:nvPr/>
                </p:nvSpPr>
                <p:spPr>
                  <a:xfrm>
                    <a:off x="8090547" y="3924719"/>
                    <a:ext cx="675805" cy="290849"/>
                  </a:xfrm>
                  <a:prstGeom prst="rect">
                    <a:avLst/>
                  </a:prstGeom>
                  <a:noFill/>
                </p:spPr>
                <p:txBody>
                  <a:bodyPr wrap="square" lIns="0" tIns="0" rIns="0" bIns="0" rtlCol="0">
                    <a:spAutoFit/>
                  </a:bodyPr>
                  <a:lstStyle/>
                  <a:p>
                    <a:pPr algn="ctr" defTabSz="932325">
                      <a:lnSpc>
                        <a:spcPct val="90000"/>
                      </a:lnSpc>
                      <a:spcAft>
                        <a:spcPts val="600"/>
                      </a:spcAft>
                      <a:defRPr/>
                    </a:pPr>
                    <a:r>
                      <a:rPr lang="en-US" sz="1050" kern="0">
                        <a:gradFill>
                          <a:gsLst>
                            <a:gs pos="82000">
                              <a:schemeClr val="tx1"/>
                            </a:gs>
                            <a:gs pos="0">
                              <a:schemeClr val="tx1"/>
                            </a:gs>
                          </a:gsLst>
                          <a:lin ang="2700000" scaled="1"/>
                        </a:gradFill>
                        <a:latin typeface="+mj-lt"/>
                      </a:rPr>
                      <a:t>Relational data</a:t>
                    </a:r>
                  </a:p>
                </p:txBody>
              </p:sp>
            </p:grpSp>
          </p:grpSp>
        </p:grpSp>
      </p:grpSp>
      <p:cxnSp>
        <p:nvCxnSpPr>
          <p:cNvPr id="9" name="Straight Connector 8">
            <a:extLst>
              <a:ext uri="{FF2B5EF4-FFF2-40B4-BE49-F238E27FC236}">
                <a16:creationId xmlns:a16="http://schemas.microsoft.com/office/drawing/2014/main" id="{8E0D638A-FDA8-4ED0-9CAF-F0FA49315FF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75F041CA-841D-4A70-AC69-1D2C34F4E2AB}"/>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defTabSz="932291">
              <a:defRPr/>
            </a:pPr>
            <a:r>
              <a:rPr lang="en-US" sz="4000" spc="0" err="1">
                <a:solidFill>
                  <a:srgbClr val="FFC000"/>
                </a:solidFill>
              </a:rPr>
              <a:t>DirectQuery</a:t>
            </a:r>
            <a:r>
              <a:rPr lang="en-US" sz="4000" spc="0">
                <a:solidFill>
                  <a:srgbClr val="FFC000"/>
                </a:solidFill>
              </a:rPr>
              <a:t> for Power BI datasets and Azure Analysis Services</a:t>
            </a:r>
            <a:br>
              <a:rPr lang="en-US" sz="4080" spc="0">
                <a:solidFill>
                  <a:srgbClr val="FFC000"/>
                </a:solidFill>
              </a:rPr>
            </a:br>
            <a:r>
              <a:rPr lang="en-US" sz="1600" spc="0">
                <a:solidFill>
                  <a:schemeClr val="tx1"/>
                </a:solidFill>
              </a:rPr>
              <a:t>(Currently in Public Preview)</a:t>
            </a:r>
            <a:endParaRPr lang="en-US" sz="4080" spc="0">
              <a:solidFill>
                <a:schemeClr val="tx1"/>
              </a:solidFill>
            </a:endParaRPr>
          </a:p>
        </p:txBody>
      </p:sp>
    </p:spTree>
    <p:extLst>
      <p:ext uri="{BB962C8B-B14F-4D97-AF65-F5344CB8AC3E}">
        <p14:creationId xmlns:p14="http://schemas.microsoft.com/office/powerpoint/2010/main" val="211254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par>
                                <p:cTn id="12" presetID="42" presetClass="path" presetSubtype="0" accel="50000" decel="50000" fill="hold" nodeType="withEffect">
                                  <p:stCondLst>
                                    <p:cond delay="0"/>
                                  </p:stCondLst>
                                  <p:childTnLst>
                                    <p:animMotion origin="layout" path="M 1.07225E-7 2.52383E-6 L -0.19045 -0.00318 " pathEditMode="relative" rAng="0" ptsTypes="AA">
                                      <p:cBhvr>
                                        <p:cTn id="13" dur="2000" spd="-100000" fill="hold"/>
                                        <p:tgtEl>
                                          <p:spTgt spid="50"/>
                                        </p:tgtEl>
                                        <p:attrNameLst>
                                          <p:attrName>ppt_x</p:attrName>
                                          <p:attrName>ppt_y</p:attrName>
                                        </p:attrNameLst>
                                      </p:cBhvr>
                                      <p:rCtr x="-9523" y="-159"/>
                                    </p:animMotion>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par>
                                <p:cTn id="18" presetID="42" presetClass="path" presetSubtype="0" accel="50000" decel="50000" fill="hold" nodeType="withEffect">
                                  <p:stCondLst>
                                    <p:cond delay="0"/>
                                  </p:stCondLst>
                                  <p:childTnLst>
                                    <p:animMotion origin="layout" path="M 2.58616E-6 4.62551E-6 L 0.23334 0.00839 " pathEditMode="relative" rAng="0" ptsTypes="AA">
                                      <p:cBhvr>
                                        <p:cTn id="19" dur="2000" spd="-100000" fill="hold"/>
                                        <p:tgtEl>
                                          <p:spTgt spid="8"/>
                                        </p:tgtEl>
                                        <p:attrNameLst>
                                          <p:attrName>ppt_x</p:attrName>
                                          <p:attrName>ppt_y</p:attrName>
                                        </p:attrNameLst>
                                      </p:cBhvr>
                                      <p:rCtr x="11667" y="4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02045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3EEE6E78-0B43-40AD-AE2A-3AC35D55B8FB}"/>
              </a:ext>
            </a:extLst>
          </p:cNvPr>
          <p:cNvGrpSpPr/>
          <p:nvPr/>
        </p:nvGrpSpPr>
        <p:grpSpPr>
          <a:xfrm>
            <a:off x="257804" y="1684183"/>
            <a:ext cx="11751932" cy="4623773"/>
            <a:chOff x="257836" y="1683951"/>
            <a:chExt cx="11753432" cy="4624363"/>
          </a:xfrm>
        </p:grpSpPr>
        <p:grpSp>
          <p:nvGrpSpPr>
            <p:cNvPr id="41" name="Group 40">
              <a:extLst>
                <a:ext uri="{FF2B5EF4-FFF2-40B4-BE49-F238E27FC236}">
                  <a16:creationId xmlns:a16="http://schemas.microsoft.com/office/drawing/2014/main" id="{FE6E94C7-265F-438E-9EF9-6882F92FEC40}"/>
                </a:ext>
              </a:extLst>
            </p:cNvPr>
            <p:cNvGrpSpPr/>
            <p:nvPr/>
          </p:nvGrpSpPr>
          <p:grpSpPr>
            <a:xfrm>
              <a:off x="6054342" y="1683951"/>
              <a:ext cx="5956926" cy="4624363"/>
              <a:chOff x="6057843" y="1683952"/>
              <a:chExt cx="5956926" cy="4624363"/>
            </a:xfrm>
          </p:grpSpPr>
          <p:sp>
            <p:nvSpPr>
              <p:cNvPr id="12" name="TextBox 11"/>
              <p:cNvSpPr txBox="1"/>
              <p:nvPr/>
            </p:nvSpPr>
            <p:spPr>
              <a:xfrm>
                <a:off x="6057843" y="5548234"/>
                <a:ext cx="1722622" cy="760081"/>
              </a:xfrm>
              <a:prstGeom prst="rect">
                <a:avLst/>
              </a:prstGeom>
              <a:noFill/>
            </p:spPr>
            <p:txBody>
              <a:bodyPr wrap="non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Data Freshnes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near real-time)</a:t>
                </a:r>
              </a:p>
            </p:txBody>
          </p:sp>
          <p:sp>
            <p:nvSpPr>
              <p:cNvPr id="37" name="Isosceles Triangle 36">
                <a:extLst>
                  <a:ext uri="{FF2B5EF4-FFF2-40B4-BE49-F238E27FC236}">
                    <a16:creationId xmlns:a16="http://schemas.microsoft.com/office/drawing/2014/main" id="{BA405A82-3094-44D8-8C5C-B641154CC619}"/>
                  </a:ext>
                </a:extLst>
              </p:cNvPr>
              <p:cNvSpPr/>
              <p:nvPr/>
            </p:nvSpPr>
            <p:spPr bwMode="auto">
              <a:xfrm>
                <a:off x="6146800" y="1683952"/>
                <a:ext cx="5867969" cy="3911979"/>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0" name="TextBox 19"/>
              <p:cNvSpPr txBox="1"/>
              <p:nvPr/>
            </p:nvSpPr>
            <p:spPr>
              <a:xfrm>
                <a:off x="6314966" y="5074738"/>
                <a:ext cx="1637920" cy="544637"/>
              </a:xfrm>
              <a:prstGeom prst="rect">
                <a:avLst/>
              </a:prstGeom>
              <a:noFill/>
            </p:spPr>
            <p:txBody>
              <a:bodyPr wrap="none" lIns="182779" tIns="146222" rIns="182779" bIns="146222" rtlCol="0">
                <a:spAutoFit/>
              </a:bodyPr>
              <a:lstStyle/>
              <a:p>
                <a:pPr algn="ctr" defTabSz="621446">
                  <a:lnSpc>
                    <a:spcPct val="90000"/>
                  </a:lnSpc>
                  <a:spcAft>
                    <a:spcPts val="600"/>
                  </a:spcAft>
                </a:pPr>
                <a:r>
                  <a:rPr lang="en-US">
                    <a:solidFill>
                      <a:schemeClr val="bg1"/>
                    </a:solidFill>
                    <a:latin typeface="+mj-lt"/>
                  </a:rPr>
                  <a:t>DirectQuery</a:t>
                </a:r>
              </a:p>
            </p:txBody>
          </p:sp>
        </p:grpSp>
        <p:sp>
          <p:nvSpPr>
            <p:cNvPr id="47" name="Text Placeholder 2">
              <a:extLst>
                <a:ext uri="{FF2B5EF4-FFF2-40B4-BE49-F238E27FC236}">
                  <a16:creationId xmlns:a16="http://schemas.microsoft.com/office/drawing/2014/main" id="{EBC3A24F-4950-4042-8CC6-993DE16B5ED6}"/>
                </a:ext>
              </a:extLst>
            </p:cNvPr>
            <p:cNvSpPr txBox="1">
              <a:spLocks/>
            </p:cNvSpPr>
            <p:nvPr/>
          </p:nvSpPr>
          <p:spPr>
            <a:xfrm>
              <a:off x="257836" y="3016076"/>
              <a:ext cx="5434464" cy="110373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err="1">
                  <a:gradFill>
                    <a:gsLst>
                      <a:gs pos="2917">
                        <a:srgbClr val="505050"/>
                      </a:gs>
                      <a:gs pos="30000">
                        <a:srgbClr val="505050"/>
                      </a:gs>
                    </a:gsLst>
                    <a:lin ang="5400000" scaled="0"/>
                  </a:gradFill>
                  <a:latin typeface="Segoe UI"/>
                  <a:cs typeface="+mn-cs"/>
                </a:rPr>
                <a:t>DirectQuery</a:t>
              </a:r>
              <a:r>
                <a:rPr lang="en-US" sz="1600" b="1" dirty="0">
                  <a:gradFill>
                    <a:gsLst>
                      <a:gs pos="2917">
                        <a:srgbClr val="505050"/>
                      </a:gs>
                      <a:gs pos="30000">
                        <a:srgbClr val="505050"/>
                      </a:gs>
                    </a:gsLst>
                    <a:lin ang="5400000" scaled="0"/>
                  </a:gradFill>
                  <a:latin typeface="Segoe UI"/>
                  <a:cs typeface="+mn-cs"/>
                </a:rPr>
                <a:t>: </a:t>
              </a:r>
              <a:r>
                <a:rPr lang="en-US" sz="1600" dirty="0">
                  <a:gradFill>
                    <a:gsLst>
                      <a:gs pos="2917">
                        <a:srgbClr val="505050"/>
                      </a:gs>
                      <a:gs pos="30000">
                        <a:srgbClr val="505050"/>
                      </a:gs>
                    </a:gsLst>
                    <a:lin ang="5400000" scaled="0"/>
                  </a:gradFill>
                  <a:latin typeface="Segoe UI"/>
                  <a:cs typeface="+mn-cs"/>
                </a:rPr>
                <a:t>Does not import the data into memory, consists only of the metadata defining the structure. When the model is queried, native queries are used to retrieve data from the underlying data source.</a:t>
              </a:r>
            </a:p>
          </p:txBody>
        </p:sp>
      </p:grpSp>
      <p:sp>
        <p:nvSpPr>
          <p:cNvPr id="4" name="Title 1">
            <a:extLst>
              <a:ext uri="{FF2B5EF4-FFF2-40B4-BE49-F238E27FC236}">
                <a16:creationId xmlns:a16="http://schemas.microsoft.com/office/drawing/2014/main" id="{2A288852-D4E0-4A4A-B227-8BCE5C9DEB15}"/>
              </a:ext>
            </a:extLst>
          </p:cNvPr>
          <p:cNvSpPr txBox="1">
            <a:spLocks/>
          </p:cNvSpPr>
          <p:nvPr/>
        </p:nvSpPr>
        <p:spPr>
          <a:xfrm>
            <a:off x="275107" y="296593"/>
            <a:ext cx="11884675" cy="917197"/>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torage Modes</a:t>
            </a:r>
          </a:p>
        </p:txBody>
      </p:sp>
      <p:sp>
        <p:nvSpPr>
          <p:cNvPr id="14" name="Text Placeholder 2">
            <a:extLst>
              <a:ext uri="{FF2B5EF4-FFF2-40B4-BE49-F238E27FC236}">
                <a16:creationId xmlns:a16="http://schemas.microsoft.com/office/drawing/2014/main" id="{870E74A7-55E3-4A2E-BAA5-7145B4E4C2D1}"/>
              </a:ext>
            </a:extLst>
          </p:cNvPr>
          <p:cNvSpPr txBox="1">
            <a:spLocks/>
          </p:cNvSpPr>
          <p:nvPr/>
        </p:nvSpPr>
        <p:spPr>
          <a:xfrm>
            <a:off x="257804" y="1524832"/>
            <a:ext cx="5433770" cy="1356502"/>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Import: </a:t>
            </a:r>
            <a:r>
              <a:rPr lang="en-US" sz="1600" dirty="0">
                <a:gradFill>
                  <a:gsLst>
                    <a:gs pos="2917">
                      <a:srgbClr val="505050"/>
                    </a:gs>
                    <a:gs pos="30000">
                      <a:srgbClr val="505050"/>
                    </a:gs>
                  </a:gsLst>
                  <a:lin ang="5400000" scaled="0"/>
                </a:gradFill>
                <a:latin typeface="Segoe UI"/>
                <a:cs typeface="+mn-cs"/>
              </a:rPr>
              <a:t>Caches data into memory to deliver extremely fast performance using the </a:t>
            </a:r>
            <a:r>
              <a:rPr lang="en-US" sz="1600" b="1" dirty="0">
                <a:gradFill>
                  <a:gsLst>
                    <a:gs pos="2917">
                      <a:srgbClr val="505050"/>
                    </a:gs>
                    <a:gs pos="30000">
                      <a:srgbClr val="505050"/>
                    </a:gs>
                  </a:gsLst>
                  <a:lin ang="5400000" scaled="0"/>
                </a:gradFill>
                <a:latin typeface="Segoe UI"/>
                <a:cs typeface="+mn-cs"/>
              </a:rPr>
              <a:t>analysis services </a:t>
            </a:r>
            <a:r>
              <a:rPr lang="en-US" sz="1600" dirty="0">
                <a:gradFill>
                  <a:gsLst>
                    <a:gs pos="2917">
                      <a:srgbClr val="505050"/>
                    </a:gs>
                    <a:gs pos="30000">
                      <a:srgbClr val="505050"/>
                    </a:gs>
                  </a:gsLst>
                  <a:lin ang="5400000" scaled="0"/>
                </a:gradFill>
                <a:latin typeface="Segoe UI"/>
                <a:cs typeface="+mn-cs"/>
              </a:rPr>
              <a:t>database engine. The default mode when creating a new Power BI Desktop solution along with providing Data Modelers the most design flexibility.</a:t>
            </a:r>
          </a:p>
        </p:txBody>
      </p:sp>
      <p:grpSp>
        <p:nvGrpSpPr>
          <p:cNvPr id="43" name="Group 42">
            <a:extLst>
              <a:ext uri="{FF2B5EF4-FFF2-40B4-BE49-F238E27FC236}">
                <a16:creationId xmlns:a16="http://schemas.microsoft.com/office/drawing/2014/main" id="{7BAC9F35-528E-4C54-94DB-03DE14E883F4}"/>
              </a:ext>
            </a:extLst>
          </p:cNvPr>
          <p:cNvGrpSpPr/>
          <p:nvPr/>
        </p:nvGrpSpPr>
        <p:grpSpPr>
          <a:xfrm>
            <a:off x="9454665" y="3890492"/>
            <a:ext cx="2558572" cy="2417462"/>
            <a:chOff x="9455871" y="3890542"/>
            <a:chExt cx="2558899" cy="2417771"/>
          </a:xfrm>
        </p:grpSpPr>
        <p:sp>
          <p:nvSpPr>
            <p:cNvPr id="8" name="TextBox 7"/>
            <p:cNvSpPr txBox="1"/>
            <p:nvPr/>
          </p:nvSpPr>
          <p:spPr>
            <a:xfrm>
              <a:off x="9658305" y="5548232"/>
              <a:ext cx="2354714" cy="760081"/>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1600">
                  <a:gradFill>
                    <a:gsLst>
                      <a:gs pos="2917">
                        <a:srgbClr val="000000"/>
                      </a:gs>
                      <a:gs pos="30000">
                        <a:srgbClr val="000000"/>
                      </a:gs>
                    </a:gsLst>
                    <a:lin ang="5400000" scaled="0"/>
                  </a:gradFill>
                  <a:latin typeface="Segoe UI"/>
                </a:rPr>
                <a:t>Query Performance</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Compressed and Optimized)</a:t>
              </a:r>
            </a:p>
          </p:txBody>
        </p:sp>
        <p:sp>
          <p:nvSpPr>
            <p:cNvPr id="24" name="Isosceles Triangle 23">
              <a:extLst>
                <a:ext uri="{FF2B5EF4-FFF2-40B4-BE49-F238E27FC236}">
                  <a16:creationId xmlns:a16="http://schemas.microsoft.com/office/drawing/2014/main" id="{A06338FE-1A78-40E1-B474-1534CC3F1E92}"/>
                </a:ext>
              </a:extLst>
            </p:cNvPr>
            <p:cNvSpPr/>
            <p:nvPr/>
          </p:nvSpPr>
          <p:spPr bwMode="auto">
            <a:xfrm>
              <a:off x="9455871" y="3890542"/>
              <a:ext cx="2558899" cy="1705933"/>
            </a:xfrm>
            <a:prstGeom prst="triangle">
              <a:avLst/>
            </a:prstGeom>
            <a:solidFill>
              <a:srgbClr val="F2C8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1" name="TextBox 20"/>
            <p:cNvSpPr txBox="1"/>
            <p:nvPr/>
          </p:nvSpPr>
          <p:spPr>
            <a:xfrm>
              <a:off x="10670361" y="5139889"/>
              <a:ext cx="1340907" cy="544637"/>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a:solidFill>
                    <a:srgbClr val="000000"/>
                  </a:solidFill>
                  <a:latin typeface="+mj-lt"/>
                </a:rPr>
                <a:t>Import</a:t>
              </a:r>
            </a:p>
          </p:txBody>
        </p:sp>
      </p:grpSp>
      <p:grpSp>
        <p:nvGrpSpPr>
          <p:cNvPr id="5" name="Group 4">
            <a:extLst>
              <a:ext uri="{FF2B5EF4-FFF2-40B4-BE49-F238E27FC236}">
                <a16:creationId xmlns:a16="http://schemas.microsoft.com/office/drawing/2014/main" id="{6351B261-DE54-4A46-AEE7-050960FD222F}"/>
              </a:ext>
            </a:extLst>
          </p:cNvPr>
          <p:cNvGrpSpPr/>
          <p:nvPr/>
        </p:nvGrpSpPr>
        <p:grpSpPr>
          <a:xfrm>
            <a:off x="275107" y="1524832"/>
            <a:ext cx="11744153" cy="5134864"/>
            <a:chOff x="275142" y="1524580"/>
            <a:chExt cx="11745652" cy="5135520"/>
          </a:xfrm>
        </p:grpSpPr>
        <p:grpSp>
          <p:nvGrpSpPr>
            <p:cNvPr id="51" name="Group 50">
              <a:extLst>
                <a:ext uri="{FF2B5EF4-FFF2-40B4-BE49-F238E27FC236}">
                  <a16:creationId xmlns:a16="http://schemas.microsoft.com/office/drawing/2014/main" id="{F7EDDFA3-7F6C-4A71-94F7-1EFBE437B135}"/>
                </a:ext>
              </a:extLst>
            </p:cNvPr>
            <p:cNvGrpSpPr/>
            <p:nvPr/>
          </p:nvGrpSpPr>
          <p:grpSpPr>
            <a:xfrm>
              <a:off x="275142" y="1524580"/>
              <a:ext cx="11745652" cy="4282980"/>
              <a:chOff x="275142" y="1524580"/>
              <a:chExt cx="11745652" cy="4282980"/>
            </a:xfrm>
          </p:grpSpPr>
          <p:grpSp>
            <p:nvGrpSpPr>
              <p:cNvPr id="42" name="Group 41">
                <a:extLst>
                  <a:ext uri="{FF2B5EF4-FFF2-40B4-BE49-F238E27FC236}">
                    <a16:creationId xmlns:a16="http://schemas.microsoft.com/office/drawing/2014/main" id="{CAB7A3C9-4208-4D23-9CA0-CF663A8DCC8E}"/>
                  </a:ext>
                </a:extLst>
              </p:cNvPr>
              <p:cNvGrpSpPr/>
              <p:nvPr/>
            </p:nvGrpSpPr>
            <p:grpSpPr>
              <a:xfrm>
                <a:off x="6134536" y="1524580"/>
                <a:ext cx="5886258" cy="4072145"/>
                <a:chOff x="6134536" y="1524580"/>
                <a:chExt cx="5886258" cy="4072145"/>
              </a:xfrm>
            </p:grpSpPr>
            <p:sp>
              <p:nvSpPr>
                <p:cNvPr id="7" name="TextBox 6"/>
                <p:cNvSpPr txBox="1"/>
                <p:nvPr/>
              </p:nvSpPr>
              <p:spPr>
                <a:xfrm>
                  <a:off x="10361582" y="1524580"/>
                  <a:ext cx="1436005" cy="1357167"/>
                </a:xfrm>
                <a:prstGeom prst="rect">
                  <a:avLst/>
                </a:prstGeom>
                <a:solidFill>
                  <a:schemeClr val="bg1">
                    <a:lumMod val="95000"/>
                  </a:schemeClr>
                </a:solidFill>
              </p:spPr>
              <p:txBody>
                <a:bodyPr wrap="none" lIns="182779" tIns="146222" rIns="182779" bIns="146222" rtlCol="0">
                  <a:spAutoFit/>
                </a:bodyPr>
                <a:lstStyle/>
                <a:p>
                  <a:pPr algn="ctr" defTabSz="621446">
                    <a:lnSpc>
                      <a:spcPct val="90000"/>
                    </a:lnSpc>
                    <a:spcAft>
                      <a:spcPts val="600"/>
                    </a:spcAft>
                  </a:pPr>
                  <a:r>
                    <a:rPr lang="en-US">
                      <a:gradFill>
                        <a:gsLst>
                          <a:gs pos="2917">
                            <a:srgbClr val="000000"/>
                          </a:gs>
                          <a:gs pos="30000">
                            <a:srgbClr val="000000"/>
                          </a:gs>
                        </a:gsLst>
                        <a:lin ang="5400000" scaled="0"/>
                      </a:gradFill>
                      <a:latin typeface="+mj-lt"/>
                    </a:rPr>
                    <a:t>Mixed</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Composite</a:t>
                  </a:r>
                </a:p>
                <a:p>
                  <a:pPr algn="ctr" defTabSz="621446">
                    <a:lnSpc>
                      <a:spcPct val="90000"/>
                    </a:lnSpc>
                    <a:spcAft>
                      <a:spcPts val="600"/>
                    </a:spcAft>
                  </a:pPr>
                  <a:r>
                    <a:rPr lang="en-US" sz="1400">
                      <a:gradFill>
                        <a:gsLst>
                          <a:gs pos="2917">
                            <a:srgbClr val="000000"/>
                          </a:gs>
                          <a:gs pos="30000">
                            <a:srgbClr val="000000"/>
                          </a:gs>
                        </a:gsLst>
                        <a:lin ang="5400000" scaled="0"/>
                      </a:gradFill>
                      <a:latin typeface="Segoe UI"/>
                    </a:rPr>
                    <a:t>Aggregations</a:t>
                  </a:r>
                </a:p>
                <a:p>
                  <a:pPr algn="ctr" defTabSz="621446">
                    <a:lnSpc>
                      <a:spcPct val="90000"/>
                    </a:lnSpc>
                    <a:spcAft>
                      <a:spcPts val="600"/>
                    </a:spcAft>
                  </a:pPr>
                  <a:r>
                    <a:rPr lang="en-US" sz="1200">
                      <a:gradFill>
                        <a:gsLst>
                          <a:gs pos="2917">
                            <a:srgbClr val="000000"/>
                          </a:gs>
                          <a:gs pos="30000">
                            <a:srgbClr val="000000"/>
                          </a:gs>
                        </a:gsLst>
                        <a:lin ang="5400000" scaled="0"/>
                      </a:gradFill>
                      <a:latin typeface="Segoe UI"/>
                    </a:rPr>
                    <a:t>(Big Models)</a:t>
                  </a:r>
                </a:p>
              </p:txBody>
            </p:sp>
            <p:sp>
              <p:nvSpPr>
                <p:cNvPr id="11" name="Isosceles Triangle 10"/>
                <p:cNvSpPr/>
                <p:nvPr/>
              </p:nvSpPr>
              <p:spPr bwMode="auto">
                <a:xfrm>
                  <a:off x="6134536" y="1672553"/>
                  <a:ext cx="5886258" cy="3924172"/>
                </a:xfrm>
                <a:prstGeom prst="triangle">
                  <a:avLst/>
                </a:prstGeom>
                <a:solidFill>
                  <a:srgbClr val="F2C811">
                    <a:alpha val="65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0" rIns="0" bIns="46610" numCol="1" rtlCol="0" anchor="ctr" anchorCtr="0" compatLnSpc="1">
                  <a:prstTxWarp prst="textNoShape">
                    <a:avLst/>
                  </a:prstTxWarp>
                </a:bodyPr>
                <a:lstStyle/>
                <a:p>
                  <a:pPr algn="ctr" defTabSz="931960" fontAlgn="base">
                    <a:spcBef>
                      <a:spcPct val="0"/>
                    </a:spcBef>
                    <a:spcAft>
                      <a:spcPct val="0"/>
                    </a:spcAft>
                  </a:pPr>
                  <a:endParaRPr lang="en-US" sz="2000">
                    <a:gradFill>
                      <a:gsLst>
                        <a:gs pos="0">
                          <a:srgbClr val="FFFFFF"/>
                        </a:gs>
                        <a:gs pos="100000">
                          <a:srgbClr val="FFFFFF"/>
                        </a:gs>
                      </a:gsLst>
                      <a:lin ang="5400000" scaled="0"/>
                    </a:gradFill>
                    <a:latin typeface="Segoe UI"/>
                  </a:endParaRPr>
                </a:p>
              </p:txBody>
            </p:sp>
            <p:sp>
              <p:nvSpPr>
                <p:cNvPr id="29" name="TextBox 28">
                  <a:extLst>
                    <a:ext uri="{FF2B5EF4-FFF2-40B4-BE49-F238E27FC236}">
                      <a16:creationId xmlns:a16="http://schemas.microsoft.com/office/drawing/2014/main" id="{D35C2071-A088-4E1F-B660-883E003F8DE1}"/>
                    </a:ext>
                  </a:extLst>
                </p:cNvPr>
                <p:cNvSpPr txBox="1"/>
                <p:nvPr/>
              </p:nvSpPr>
              <p:spPr>
                <a:xfrm>
                  <a:off x="8304856" y="3215074"/>
                  <a:ext cx="1544853" cy="904736"/>
                </a:xfrm>
                <a:prstGeom prst="rect">
                  <a:avLst/>
                </a:prstGeom>
                <a:noFill/>
              </p:spPr>
              <p:txBody>
                <a:bodyPr wrap="square" lIns="182779" tIns="146222" rIns="182779" bIns="146222" rtlCol="0">
                  <a:spAutoFit/>
                </a:bodyPr>
                <a:lstStyle/>
                <a:p>
                  <a:pPr algn="ctr" defTabSz="621446">
                    <a:lnSpc>
                      <a:spcPct val="90000"/>
                    </a:lnSpc>
                    <a:spcAft>
                      <a:spcPts val="600"/>
                    </a:spcAft>
                  </a:pPr>
                  <a:r>
                    <a:rPr lang="en-US" sz="4400">
                      <a:solidFill>
                        <a:schemeClr val="bg1"/>
                      </a:solidFill>
                      <a:latin typeface="+mj-lt"/>
                    </a:rPr>
                    <a:t>Dual</a:t>
                  </a:r>
                </a:p>
              </p:txBody>
            </p:sp>
          </p:grpSp>
          <p:sp>
            <p:nvSpPr>
              <p:cNvPr id="49" name="Text Placeholder 2">
                <a:extLst>
                  <a:ext uri="{FF2B5EF4-FFF2-40B4-BE49-F238E27FC236}">
                    <a16:creationId xmlns:a16="http://schemas.microsoft.com/office/drawing/2014/main" id="{2BC01710-A7E0-42E2-B935-77DDB32A2F51}"/>
                  </a:ext>
                </a:extLst>
              </p:cNvPr>
              <p:cNvSpPr txBox="1">
                <a:spLocks/>
              </p:cNvSpPr>
              <p:nvPr/>
            </p:nvSpPr>
            <p:spPr>
              <a:xfrm>
                <a:off x="275142" y="4254631"/>
                <a:ext cx="5434464" cy="155292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dirty="0">
                    <a:gradFill>
                      <a:gsLst>
                        <a:gs pos="2917">
                          <a:srgbClr val="505050"/>
                        </a:gs>
                        <a:gs pos="30000">
                          <a:srgbClr val="505050"/>
                        </a:gs>
                      </a:gsLst>
                      <a:lin ang="5400000" scaled="0"/>
                    </a:gradFill>
                    <a:latin typeface="Segoe UI"/>
                    <a:cs typeface="+mn-cs"/>
                  </a:rPr>
                  <a:t>Dual: </a:t>
                </a:r>
                <a:r>
                  <a:rPr lang="en-US" sz="1600" dirty="0">
                    <a:gradFill>
                      <a:gsLst>
                        <a:gs pos="2917">
                          <a:srgbClr val="505050"/>
                        </a:gs>
                        <a:gs pos="30000">
                          <a:srgbClr val="505050"/>
                        </a:gs>
                      </a:gsLst>
                      <a:lin ang="5400000" scaled="0"/>
                    </a:gradFill>
                    <a:latin typeface="Segoe UI"/>
                    <a:cs typeface="+mn-cs"/>
                  </a:rPr>
                  <a:t>Can act as either cached or not cached, depending on the context of the query that's submitted to the Power BI dataset. In some cases, you fulfill queries from cached data. In other cases, you fulfill queries by executing an on-demand query to the underlying data source.</a:t>
                </a:r>
              </a:p>
            </p:txBody>
          </p:sp>
        </p:grpSp>
        <p:sp>
          <p:nvSpPr>
            <p:cNvPr id="45" name="TextBox 44">
              <a:extLst>
                <a:ext uri="{FF2B5EF4-FFF2-40B4-BE49-F238E27FC236}">
                  <a16:creationId xmlns:a16="http://schemas.microsoft.com/office/drawing/2014/main" id="{EAF243BA-79BB-4E9B-A926-13A91B678701}"/>
                </a:ext>
              </a:extLst>
            </p:cNvPr>
            <p:cNvSpPr txBox="1"/>
            <p:nvPr/>
          </p:nvSpPr>
          <p:spPr>
            <a:xfrm>
              <a:off x="275142" y="6013769"/>
              <a:ext cx="5434464" cy="646331"/>
            </a:xfrm>
            <a:prstGeom prst="rect">
              <a:avLst/>
            </a:prstGeom>
            <a:noFill/>
          </p:spPr>
          <p:txBody>
            <a:bodyPr wrap="square">
              <a:spAutoFit/>
            </a:bodyPr>
            <a:lstStyle/>
            <a:p>
              <a:r>
                <a:rPr lang="en-US" sz="1200">
                  <a:gradFill>
                    <a:gsLst>
                      <a:gs pos="2917">
                        <a:srgbClr val="505050"/>
                      </a:gs>
                      <a:gs pos="30000">
                        <a:srgbClr val="505050"/>
                      </a:gs>
                    </a:gsLst>
                    <a:lin ang="5400000" scaled="0"/>
                  </a:gradFill>
                  <a:latin typeface="Segoe UI"/>
                </a:rPr>
                <a:t>Changing the </a:t>
              </a:r>
              <a:r>
                <a:rPr lang="en-US" sz="1200" b="1">
                  <a:gradFill>
                    <a:gsLst>
                      <a:gs pos="2917">
                        <a:srgbClr val="505050"/>
                      </a:gs>
                      <a:gs pos="30000">
                        <a:srgbClr val="505050"/>
                      </a:gs>
                    </a:gsLst>
                    <a:lin ang="5400000" scaled="0"/>
                  </a:gradFill>
                  <a:latin typeface="Segoe UI"/>
                </a:rPr>
                <a:t>Storage mode</a:t>
              </a:r>
              <a:r>
                <a:rPr lang="en-US" sz="1200">
                  <a:gradFill>
                    <a:gsLst>
                      <a:gs pos="2917">
                        <a:srgbClr val="505050"/>
                      </a:gs>
                      <a:gs pos="30000">
                        <a:srgbClr val="505050"/>
                      </a:gs>
                    </a:gsLst>
                    <a:lin ang="5400000" scaled="0"/>
                  </a:gradFill>
                  <a:latin typeface="Segoe UI"/>
                </a:rPr>
                <a:t> of a table to </a:t>
              </a:r>
              <a:r>
                <a:rPr lang="en-US" sz="1200" b="1">
                  <a:gradFill>
                    <a:gsLst>
                      <a:gs pos="2917">
                        <a:srgbClr val="505050"/>
                      </a:gs>
                      <a:gs pos="30000">
                        <a:srgbClr val="505050"/>
                      </a:gs>
                    </a:gsLst>
                    <a:lin ang="5400000" scaled="0"/>
                  </a:gradFill>
                  <a:latin typeface="Segoe UI"/>
                </a:rPr>
                <a:t>Import</a:t>
              </a:r>
              <a:r>
                <a:rPr lang="en-US" sz="1200">
                  <a:gradFill>
                    <a:gsLst>
                      <a:gs pos="2917">
                        <a:srgbClr val="505050"/>
                      </a:gs>
                      <a:gs pos="30000">
                        <a:srgbClr val="505050"/>
                      </a:gs>
                    </a:gsLst>
                    <a:lin ang="5400000" scaled="0"/>
                  </a:gradFill>
                  <a:latin typeface="Segoe UI"/>
                </a:rPr>
                <a:t> is an irreversible operation.</a:t>
              </a:r>
            </a:p>
            <a:p>
              <a:r>
                <a:rPr lang="en-US" sz="1200">
                  <a:gradFill>
                    <a:gsLst>
                      <a:gs pos="2917">
                        <a:srgbClr val="505050"/>
                      </a:gs>
                      <a:gs pos="30000">
                        <a:srgbClr val="505050"/>
                      </a:gs>
                    </a:gsLst>
                    <a:lin ang="5400000" scaled="0"/>
                  </a:gradFill>
                  <a:latin typeface="Segoe UI"/>
                </a:rPr>
                <a:t>Once set, this property can't later be changed to either </a:t>
              </a:r>
              <a:r>
                <a:rPr lang="en-US" sz="1200" b="1" err="1">
                  <a:gradFill>
                    <a:gsLst>
                      <a:gs pos="2917">
                        <a:srgbClr val="505050"/>
                      </a:gs>
                      <a:gs pos="30000">
                        <a:srgbClr val="505050"/>
                      </a:gs>
                    </a:gsLst>
                    <a:lin ang="5400000" scaled="0"/>
                  </a:gradFill>
                  <a:latin typeface="Segoe UI"/>
                </a:rPr>
                <a:t>DirectQuery</a:t>
              </a:r>
              <a:r>
                <a:rPr lang="en-US" sz="1200">
                  <a:gradFill>
                    <a:gsLst>
                      <a:gs pos="2917">
                        <a:srgbClr val="505050"/>
                      </a:gs>
                      <a:gs pos="30000">
                        <a:srgbClr val="505050"/>
                      </a:gs>
                    </a:gsLst>
                    <a:lin ang="5400000" scaled="0"/>
                  </a:gradFill>
                  <a:latin typeface="Segoe UI"/>
                </a:rPr>
                <a:t> or </a:t>
              </a:r>
              <a:r>
                <a:rPr lang="en-US" sz="1200" b="1">
                  <a:gradFill>
                    <a:gsLst>
                      <a:gs pos="2917">
                        <a:srgbClr val="505050"/>
                      </a:gs>
                      <a:gs pos="30000">
                        <a:srgbClr val="505050"/>
                      </a:gs>
                    </a:gsLst>
                    <a:lin ang="5400000" scaled="0"/>
                  </a:gradFill>
                  <a:latin typeface="Segoe UI"/>
                </a:rPr>
                <a:t>Dual </a:t>
              </a:r>
              <a:r>
                <a:rPr lang="en-US" sz="1200">
                  <a:gradFill>
                    <a:gsLst>
                      <a:gs pos="2917">
                        <a:srgbClr val="505050"/>
                      </a:gs>
                      <a:gs pos="30000">
                        <a:srgbClr val="505050"/>
                      </a:gs>
                    </a:gsLst>
                    <a:lin ang="5400000" scaled="0"/>
                  </a:gradFill>
                  <a:latin typeface="Segoe UI"/>
                </a:rPr>
                <a:t>using Power BI Desktop.</a:t>
              </a:r>
            </a:p>
          </p:txBody>
        </p:sp>
      </p:grpSp>
      <p:cxnSp>
        <p:nvCxnSpPr>
          <p:cNvPr id="2" name="Straight Connector 1">
            <a:extLst>
              <a:ext uri="{FF2B5EF4-FFF2-40B4-BE49-F238E27FC236}">
                <a16:creationId xmlns:a16="http://schemas.microsoft.com/office/drawing/2014/main" id="{58EAFE93-E71B-4B70-8F10-2A6C9C77A583}"/>
              </a:ext>
            </a:extLst>
          </p:cNvPr>
          <p:cNvCxnSpPr>
            <a:cxnSpLocks/>
          </p:cNvCxnSpPr>
          <p:nvPr/>
        </p:nvCxnSpPr>
        <p:spPr>
          <a:xfrm>
            <a:off x="1764" y="1194784"/>
            <a:ext cx="12431361"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083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1775685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320182"/>
          </a:xfrm>
        </p:spPr>
        <p:txBody>
          <a:bodyPr/>
          <a:lstStyle/>
          <a:p>
            <a:r>
              <a:rPr lang="en-US" sz="2040" b="1"/>
              <a:t>Only refresh days/months/years according to your policy.</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0</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0</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20</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20</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20</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n 20</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0</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pr 20</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y 20</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20</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20</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20</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Aug 19</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Dec 19</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Oct 19</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ul 19</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Sep 19</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Nov 19</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Feb 21</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Mar 21</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a:solidFill>
                  <a:srgbClr val="000000"/>
                </a:solidFill>
                <a:latin typeface="Segoe UI"/>
                <a:ea typeface="Segoe UI" pitchFamily="34" charset="0"/>
                <a:cs typeface="Segoe UI" pitchFamily="34" charset="0"/>
              </a:rPr>
              <a:t>Jan 21</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1122" b="1">
                <a:solidFill>
                  <a:srgbClr val="000000"/>
                </a:solidFill>
                <a:latin typeface="Segoe UI"/>
                <a:ea typeface="Segoe UI" pitchFamily="34" charset="0"/>
                <a:cs typeface="Segoe UI" pitchFamily="34" charset="0"/>
              </a:rPr>
              <a:t>Apr 21</a:t>
            </a:r>
          </a:p>
        </p:txBody>
      </p:sp>
      <p:cxnSp>
        <p:nvCxnSpPr>
          <p:cNvPr id="5" name="Straight Connector 4">
            <a:extLst>
              <a:ext uri="{FF2B5EF4-FFF2-40B4-BE49-F238E27FC236}">
                <a16:creationId xmlns:a16="http://schemas.microsoft.com/office/drawing/2014/main" id="{EF376EE0-8F56-47F7-9947-013E9819E549}"/>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5F268E6E-F594-4D30-9927-A9338D451A4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60429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Only refresh days/months/years where the data has changed.</a:t>
            </a:r>
          </a:p>
          <a:p>
            <a:endParaRPr lang="en-US" sz="2040" b="1"/>
          </a:p>
          <a:p>
            <a:r>
              <a:rPr lang="en-US" sz="2040" b="1"/>
              <a:t>Assume there are updates and deletes.</a:t>
            </a:r>
          </a:p>
        </p:txBody>
      </p:sp>
      <p:sp>
        <p:nvSpPr>
          <p:cNvPr id="4" name="Rectangle 3">
            <a:extLst>
              <a:ext uri="{FF2B5EF4-FFF2-40B4-BE49-F238E27FC236}">
                <a16:creationId xmlns:a16="http://schemas.microsoft.com/office/drawing/2014/main" id="{12910BC8-BC1C-478B-A5A6-94942C9B29FD}"/>
              </a:ext>
            </a:extLst>
          </p:cNvPr>
          <p:cNvSpPr/>
          <p:nvPr/>
        </p:nvSpPr>
        <p:spPr bwMode="auto">
          <a:xfrm>
            <a:off x="1688878"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8</a:t>
            </a:r>
          </a:p>
        </p:txBody>
      </p:sp>
      <p:sp>
        <p:nvSpPr>
          <p:cNvPr id="8" name="Rectangle 7">
            <a:extLst>
              <a:ext uri="{FF2B5EF4-FFF2-40B4-BE49-F238E27FC236}">
                <a16:creationId xmlns:a16="http://schemas.microsoft.com/office/drawing/2014/main" id="{E6A7713C-303C-450F-B42D-AFA1B5DAB9E0}"/>
              </a:ext>
            </a:extLst>
          </p:cNvPr>
          <p:cNvSpPr/>
          <p:nvPr/>
        </p:nvSpPr>
        <p:spPr bwMode="auto">
          <a:xfrm>
            <a:off x="265145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8</a:t>
            </a:r>
          </a:p>
        </p:txBody>
      </p:sp>
      <p:sp>
        <p:nvSpPr>
          <p:cNvPr id="9" name="Rectangle 8">
            <a:extLst>
              <a:ext uri="{FF2B5EF4-FFF2-40B4-BE49-F238E27FC236}">
                <a16:creationId xmlns:a16="http://schemas.microsoft.com/office/drawing/2014/main" id="{B4047B63-B786-4881-8BAD-003EA0731B13}"/>
              </a:ext>
            </a:extLst>
          </p:cNvPr>
          <p:cNvSpPr/>
          <p:nvPr/>
        </p:nvSpPr>
        <p:spPr bwMode="auto">
          <a:xfrm>
            <a:off x="746434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8</a:t>
            </a:r>
          </a:p>
        </p:txBody>
      </p:sp>
      <p:sp>
        <p:nvSpPr>
          <p:cNvPr id="11" name="Rectangle 10">
            <a:extLst>
              <a:ext uri="{FF2B5EF4-FFF2-40B4-BE49-F238E27FC236}">
                <a16:creationId xmlns:a16="http://schemas.microsoft.com/office/drawing/2014/main" id="{E969054C-873E-41F4-8C42-C2E7BE569222}"/>
              </a:ext>
            </a:extLst>
          </p:cNvPr>
          <p:cNvSpPr/>
          <p:nvPr/>
        </p:nvSpPr>
        <p:spPr bwMode="auto">
          <a:xfrm>
            <a:off x="11314646"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8</a:t>
            </a:r>
          </a:p>
        </p:txBody>
      </p:sp>
      <p:sp>
        <p:nvSpPr>
          <p:cNvPr id="12" name="Rectangle 11">
            <a:extLst>
              <a:ext uri="{FF2B5EF4-FFF2-40B4-BE49-F238E27FC236}">
                <a16:creationId xmlns:a16="http://schemas.microsoft.com/office/drawing/2014/main" id="{0FD08329-C1EB-472F-AFC4-B4DAEF680C85}"/>
              </a:ext>
            </a:extLst>
          </p:cNvPr>
          <p:cNvSpPr/>
          <p:nvPr/>
        </p:nvSpPr>
        <p:spPr bwMode="auto">
          <a:xfrm>
            <a:off x="938949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8</a:t>
            </a:r>
          </a:p>
        </p:txBody>
      </p:sp>
      <p:sp>
        <p:nvSpPr>
          <p:cNvPr id="14" name="Rectangle 13">
            <a:extLst>
              <a:ext uri="{FF2B5EF4-FFF2-40B4-BE49-F238E27FC236}">
                <a16:creationId xmlns:a16="http://schemas.microsoft.com/office/drawing/2014/main" id="{3ACFBC65-4878-4169-9EFA-C4518CB6123E}"/>
              </a:ext>
            </a:extLst>
          </p:cNvPr>
          <p:cNvSpPr/>
          <p:nvPr/>
        </p:nvSpPr>
        <p:spPr bwMode="auto">
          <a:xfrm>
            <a:off x="5539187"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8</a:t>
            </a:r>
          </a:p>
        </p:txBody>
      </p:sp>
      <p:sp>
        <p:nvSpPr>
          <p:cNvPr id="16" name="Rectangle 15">
            <a:extLst>
              <a:ext uri="{FF2B5EF4-FFF2-40B4-BE49-F238E27FC236}">
                <a16:creationId xmlns:a16="http://schemas.microsoft.com/office/drawing/2014/main" id="{4ACBFE87-DC3C-47B1-9A1E-3ECC38A6228A}"/>
              </a:ext>
            </a:extLst>
          </p:cNvPr>
          <p:cNvSpPr/>
          <p:nvPr/>
        </p:nvSpPr>
        <p:spPr bwMode="auto">
          <a:xfrm>
            <a:off x="72630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8</a:t>
            </a:r>
          </a:p>
        </p:txBody>
      </p:sp>
      <p:sp>
        <p:nvSpPr>
          <p:cNvPr id="17" name="Rectangle 16">
            <a:extLst>
              <a:ext uri="{FF2B5EF4-FFF2-40B4-BE49-F238E27FC236}">
                <a16:creationId xmlns:a16="http://schemas.microsoft.com/office/drawing/2014/main" id="{456CD14E-65F8-426F-BCAD-5EB6F5FC68EF}"/>
              </a:ext>
            </a:extLst>
          </p:cNvPr>
          <p:cNvSpPr/>
          <p:nvPr/>
        </p:nvSpPr>
        <p:spPr bwMode="auto">
          <a:xfrm>
            <a:off x="3614032"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8</a:t>
            </a:r>
          </a:p>
        </p:txBody>
      </p:sp>
      <p:sp>
        <p:nvSpPr>
          <p:cNvPr id="18" name="Rectangle 17">
            <a:extLst>
              <a:ext uri="{FF2B5EF4-FFF2-40B4-BE49-F238E27FC236}">
                <a16:creationId xmlns:a16="http://schemas.microsoft.com/office/drawing/2014/main" id="{4DF9E9A1-1077-47D5-A120-FA5681147381}"/>
              </a:ext>
            </a:extLst>
          </p:cNvPr>
          <p:cNvSpPr/>
          <p:nvPr/>
        </p:nvSpPr>
        <p:spPr bwMode="auto">
          <a:xfrm>
            <a:off x="4576610"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8</a:t>
            </a:r>
          </a:p>
        </p:txBody>
      </p:sp>
      <p:sp>
        <p:nvSpPr>
          <p:cNvPr id="19" name="Rectangle 18">
            <a:extLst>
              <a:ext uri="{FF2B5EF4-FFF2-40B4-BE49-F238E27FC236}">
                <a16:creationId xmlns:a16="http://schemas.microsoft.com/office/drawing/2014/main" id="{CB7E4837-D2D0-456F-83D9-A21E370F114F}"/>
              </a:ext>
            </a:extLst>
          </p:cNvPr>
          <p:cNvSpPr/>
          <p:nvPr/>
        </p:nvSpPr>
        <p:spPr bwMode="auto">
          <a:xfrm>
            <a:off x="6501765"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8</a:t>
            </a:r>
          </a:p>
        </p:txBody>
      </p:sp>
      <p:sp>
        <p:nvSpPr>
          <p:cNvPr id="20" name="Rectangle 19">
            <a:extLst>
              <a:ext uri="{FF2B5EF4-FFF2-40B4-BE49-F238E27FC236}">
                <a16:creationId xmlns:a16="http://schemas.microsoft.com/office/drawing/2014/main" id="{28B0206F-16DD-42E5-9EDE-8D67619F8CD0}"/>
              </a:ext>
            </a:extLst>
          </p:cNvPr>
          <p:cNvSpPr/>
          <p:nvPr/>
        </p:nvSpPr>
        <p:spPr bwMode="auto">
          <a:xfrm>
            <a:off x="8426919" y="3497262"/>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8</a:t>
            </a:r>
          </a:p>
        </p:txBody>
      </p:sp>
      <p:sp>
        <p:nvSpPr>
          <p:cNvPr id="21" name="Rectangle 20">
            <a:extLst>
              <a:ext uri="{FF2B5EF4-FFF2-40B4-BE49-F238E27FC236}">
                <a16:creationId xmlns:a16="http://schemas.microsoft.com/office/drawing/2014/main" id="{A7EF029F-D8A9-44B7-9E0E-8DF3E0314497}"/>
              </a:ext>
            </a:extLst>
          </p:cNvPr>
          <p:cNvSpPr/>
          <p:nvPr/>
        </p:nvSpPr>
        <p:spPr bwMode="auto">
          <a:xfrm>
            <a:off x="10352074" y="3497262"/>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8</a:t>
            </a:r>
          </a:p>
        </p:txBody>
      </p:sp>
      <p:sp>
        <p:nvSpPr>
          <p:cNvPr id="22" name="Rectangle 21">
            <a:extLst>
              <a:ext uri="{FF2B5EF4-FFF2-40B4-BE49-F238E27FC236}">
                <a16:creationId xmlns:a16="http://schemas.microsoft.com/office/drawing/2014/main" id="{3DDEBFC7-DCDC-4BA4-AFF9-4D3C7C26A8CD}"/>
              </a:ext>
            </a:extLst>
          </p:cNvPr>
          <p:cNvSpPr/>
          <p:nvPr/>
        </p:nvSpPr>
        <p:spPr bwMode="auto">
          <a:xfrm>
            <a:off x="7464342" y="2462346"/>
            <a:ext cx="678257" cy="838401"/>
          </a:xfrm>
          <a:prstGeom prst="rect">
            <a:avLst/>
          </a:prstGeom>
          <a:solidFill>
            <a:srgbClr val="00B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ug 17</a:t>
            </a:r>
          </a:p>
        </p:txBody>
      </p:sp>
      <p:sp>
        <p:nvSpPr>
          <p:cNvPr id="23" name="Rectangle 22">
            <a:extLst>
              <a:ext uri="{FF2B5EF4-FFF2-40B4-BE49-F238E27FC236}">
                <a16:creationId xmlns:a16="http://schemas.microsoft.com/office/drawing/2014/main" id="{066A36F1-8314-43B5-96A9-D240E4AAB09C}"/>
              </a:ext>
            </a:extLst>
          </p:cNvPr>
          <p:cNvSpPr/>
          <p:nvPr/>
        </p:nvSpPr>
        <p:spPr bwMode="auto">
          <a:xfrm>
            <a:off x="11314646"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Dec 17</a:t>
            </a:r>
          </a:p>
        </p:txBody>
      </p:sp>
      <p:sp>
        <p:nvSpPr>
          <p:cNvPr id="24" name="Rectangle 23">
            <a:extLst>
              <a:ext uri="{FF2B5EF4-FFF2-40B4-BE49-F238E27FC236}">
                <a16:creationId xmlns:a16="http://schemas.microsoft.com/office/drawing/2014/main" id="{89A18383-7DF3-4D66-A797-A64955253F80}"/>
              </a:ext>
            </a:extLst>
          </p:cNvPr>
          <p:cNvSpPr/>
          <p:nvPr/>
        </p:nvSpPr>
        <p:spPr bwMode="auto">
          <a:xfrm>
            <a:off x="9389497"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Oct 17</a:t>
            </a:r>
          </a:p>
        </p:txBody>
      </p:sp>
      <p:sp>
        <p:nvSpPr>
          <p:cNvPr id="25" name="Rectangle 24">
            <a:extLst>
              <a:ext uri="{FF2B5EF4-FFF2-40B4-BE49-F238E27FC236}">
                <a16:creationId xmlns:a16="http://schemas.microsoft.com/office/drawing/2014/main" id="{DEB33088-5B82-4C45-8D69-1FDC1FFDEAC2}"/>
              </a:ext>
            </a:extLst>
          </p:cNvPr>
          <p:cNvSpPr/>
          <p:nvPr/>
        </p:nvSpPr>
        <p:spPr bwMode="auto">
          <a:xfrm>
            <a:off x="6501765"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l 17</a:t>
            </a:r>
          </a:p>
        </p:txBody>
      </p:sp>
      <p:sp>
        <p:nvSpPr>
          <p:cNvPr id="26" name="Rectangle 25">
            <a:extLst>
              <a:ext uri="{FF2B5EF4-FFF2-40B4-BE49-F238E27FC236}">
                <a16:creationId xmlns:a16="http://schemas.microsoft.com/office/drawing/2014/main" id="{85FA0B76-46FF-4BFE-A588-D6938CB7BAA1}"/>
              </a:ext>
            </a:extLst>
          </p:cNvPr>
          <p:cNvSpPr/>
          <p:nvPr/>
        </p:nvSpPr>
        <p:spPr bwMode="auto">
          <a:xfrm>
            <a:off x="8426919"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Sep 17</a:t>
            </a:r>
          </a:p>
        </p:txBody>
      </p:sp>
      <p:sp>
        <p:nvSpPr>
          <p:cNvPr id="27" name="Rectangle 26">
            <a:extLst>
              <a:ext uri="{FF2B5EF4-FFF2-40B4-BE49-F238E27FC236}">
                <a16:creationId xmlns:a16="http://schemas.microsoft.com/office/drawing/2014/main" id="{A8CCC140-BB1F-4EC7-8B4D-E06EAA6827A4}"/>
              </a:ext>
            </a:extLst>
          </p:cNvPr>
          <p:cNvSpPr/>
          <p:nvPr/>
        </p:nvSpPr>
        <p:spPr bwMode="auto">
          <a:xfrm>
            <a:off x="10352074" y="2462346"/>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Nov 17</a:t>
            </a:r>
          </a:p>
        </p:txBody>
      </p:sp>
      <p:sp>
        <p:nvSpPr>
          <p:cNvPr id="28" name="Rectangle 27">
            <a:extLst>
              <a:ext uri="{FF2B5EF4-FFF2-40B4-BE49-F238E27FC236}">
                <a16:creationId xmlns:a16="http://schemas.microsoft.com/office/drawing/2014/main" id="{D6F01651-DBD3-4199-B015-4DA4F1305C03}"/>
              </a:ext>
            </a:extLst>
          </p:cNvPr>
          <p:cNvSpPr/>
          <p:nvPr/>
        </p:nvSpPr>
        <p:spPr bwMode="auto">
          <a:xfrm>
            <a:off x="1688878"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Feb 19</a:t>
            </a:r>
          </a:p>
        </p:txBody>
      </p:sp>
      <p:sp>
        <p:nvSpPr>
          <p:cNvPr id="29" name="Rectangle 28">
            <a:extLst>
              <a:ext uri="{FF2B5EF4-FFF2-40B4-BE49-F238E27FC236}">
                <a16:creationId xmlns:a16="http://schemas.microsoft.com/office/drawing/2014/main" id="{7F1E015C-F22A-4D84-A7D4-361BFB58F9CC}"/>
              </a:ext>
            </a:extLst>
          </p:cNvPr>
          <p:cNvSpPr/>
          <p:nvPr/>
        </p:nvSpPr>
        <p:spPr bwMode="auto">
          <a:xfrm>
            <a:off x="2651455"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r 19</a:t>
            </a:r>
          </a:p>
        </p:txBody>
      </p:sp>
      <p:sp>
        <p:nvSpPr>
          <p:cNvPr id="30" name="Rectangle 29">
            <a:extLst>
              <a:ext uri="{FF2B5EF4-FFF2-40B4-BE49-F238E27FC236}">
                <a16:creationId xmlns:a16="http://schemas.microsoft.com/office/drawing/2014/main" id="{95BC339F-8899-41BB-9A2D-F38BC461BAE3}"/>
              </a:ext>
            </a:extLst>
          </p:cNvPr>
          <p:cNvSpPr/>
          <p:nvPr/>
        </p:nvSpPr>
        <p:spPr bwMode="auto">
          <a:xfrm>
            <a:off x="5539187"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un 19</a:t>
            </a:r>
          </a:p>
        </p:txBody>
      </p:sp>
      <p:sp>
        <p:nvSpPr>
          <p:cNvPr id="31" name="Rectangle 30">
            <a:extLst>
              <a:ext uri="{FF2B5EF4-FFF2-40B4-BE49-F238E27FC236}">
                <a16:creationId xmlns:a16="http://schemas.microsoft.com/office/drawing/2014/main" id="{F73BEEDE-6324-414A-8C98-1B5423F801E3}"/>
              </a:ext>
            </a:extLst>
          </p:cNvPr>
          <p:cNvSpPr/>
          <p:nvPr/>
        </p:nvSpPr>
        <p:spPr bwMode="auto">
          <a:xfrm>
            <a:off x="72630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Jan 19</a:t>
            </a:r>
          </a:p>
        </p:txBody>
      </p:sp>
      <p:sp>
        <p:nvSpPr>
          <p:cNvPr id="32" name="Rectangle 31">
            <a:extLst>
              <a:ext uri="{FF2B5EF4-FFF2-40B4-BE49-F238E27FC236}">
                <a16:creationId xmlns:a16="http://schemas.microsoft.com/office/drawing/2014/main" id="{EF1FA7CC-001D-41AB-BD49-065562666198}"/>
              </a:ext>
            </a:extLst>
          </p:cNvPr>
          <p:cNvSpPr/>
          <p:nvPr/>
        </p:nvSpPr>
        <p:spPr bwMode="auto">
          <a:xfrm>
            <a:off x="3614032"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Apr 19</a:t>
            </a:r>
          </a:p>
        </p:txBody>
      </p:sp>
      <p:sp>
        <p:nvSpPr>
          <p:cNvPr id="33" name="Rectangle 32">
            <a:extLst>
              <a:ext uri="{FF2B5EF4-FFF2-40B4-BE49-F238E27FC236}">
                <a16:creationId xmlns:a16="http://schemas.microsoft.com/office/drawing/2014/main" id="{7CFB92C7-1582-4F4C-806C-112AA7F4D2A1}"/>
              </a:ext>
            </a:extLst>
          </p:cNvPr>
          <p:cNvSpPr/>
          <p:nvPr/>
        </p:nvSpPr>
        <p:spPr bwMode="auto">
          <a:xfrm>
            <a:off x="4576610" y="4566459"/>
            <a:ext cx="678257" cy="838401"/>
          </a:xfrm>
          <a:prstGeom prst="rect">
            <a:avLst/>
          </a:prstGeom>
          <a:solidFill>
            <a:srgbClr val="F2C81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tx1"/>
                </a:solidFill>
                <a:ea typeface="Segoe UI" pitchFamily="34" charset="0"/>
                <a:cs typeface="Segoe UI" pitchFamily="34" charset="0"/>
              </a:rPr>
              <a:t>May 19</a:t>
            </a:r>
          </a:p>
        </p:txBody>
      </p:sp>
      <p:sp>
        <p:nvSpPr>
          <p:cNvPr id="5" name="TextBox 4">
            <a:extLst>
              <a:ext uri="{FF2B5EF4-FFF2-40B4-BE49-F238E27FC236}">
                <a16:creationId xmlns:a16="http://schemas.microsoft.com/office/drawing/2014/main" id="{067D8521-BC3D-4D97-AE86-4521190712D9}"/>
              </a:ext>
            </a:extLst>
          </p:cNvPr>
          <p:cNvSpPr txBox="1"/>
          <p:nvPr/>
        </p:nvSpPr>
        <p:spPr>
          <a:xfrm>
            <a:off x="6840893" y="4985659"/>
            <a:ext cx="5373822" cy="1255793"/>
          </a:xfrm>
          <a:prstGeom prst="rect">
            <a:avLst/>
          </a:prstGeom>
          <a:noFill/>
        </p:spPr>
        <p:txBody>
          <a:bodyPr wrap="square" lIns="0" tIns="0" rIns="0" bIns="0" rtlCol="0">
            <a:spAutoFit/>
          </a:bodyPr>
          <a:lstStyle/>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ing a Configuration table aligned with Partition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Create  Polling expression that uses same dates</a:t>
            </a:r>
          </a:p>
          <a:p>
            <a:pPr marL="349724" indent="-349724">
              <a:buFont typeface="Arial" panose="020B0604020202020204" pitchFamily="34" charset="0"/>
              <a:buChar char="•"/>
            </a:pPr>
            <a:endParaRPr lang="en-US" sz="1632">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1632">
                <a:gradFill>
                  <a:gsLst>
                    <a:gs pos="2917">
                      <a:schemeClr val="tx1"/>
                    </a:gs>
                    <a:gs pos="30000">
                      <a:schemeClr val="tx1"/>
                    </a:gs>
                  </a:gsLst>
                  <a:lin ang="5400000" scaled="0"/>
                </a:gradFill>
              </a:rPr>
              <a:t>Publish Polling Expression with ALM toolkit</a:t>
            </a:r>
          </a:p>
        </p:txBody>
      </p:sp>
      <p:cxnSp>
        <p:nvCxnSpPr>
          <p:cNvPr id="10" name="Straight Connector 9">
            <a:extLst>
              <a:ext uri="{FF2B5EF4-FFF2-40B4-BE49-F238E27FC236}">
                <a16:creationId xmlns:a16="http://schemas.microsoft.com/office/drawing/2014/main" id="{D033E90E-42C8-4F3E-8550-A639423D3A1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499FFA3-0547-4705-B498-570924522C0E}"/>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ncremental Refresh</a:t>
            </a:r>
            <a:endParaRPr lang="en-US" sz="4080" spc="0">
              <a:solidFill>
                <a:srgbClr val="FFC000"/>
              </a:solidFill>
            </a:endParaRPr>
          </a:p>
        </p:txBody>
      </p:sp>
    </p:spTree>
    <p:extLst>
      <p:ext uri="{BB962C8B-B14F-4D97-AF65-F5344CB8AC3E}">
        <p14:creationId xmlns:p14="http://schemas.microsoft.com/office/powerpoint/2010/main" val="1352095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grpSp>
        <p:nvGrpSpPr>
          <p:cNvPr id="12" name="Group 11">
            <a:extLst>
              <a:ext uri="{FF2B5EF4-FFF2-40B4-BE49-F238E27FC236}">
                <a16:creationId xmlns:a16="http://schemas.microsoft.com/office/drawing/2014/main" id="{619E8513-CA4C-4FAE-B01B-64BE9EE46534}"/>
              </a:ext>
            </a:extLst>
          </p:cNvPr>
          <p:cNvGrpSpPr/>
          <p:nvPr/>
        </p:nvGrpSpPr>
        <p:grpSpPr>
          <a:xfrm>
            <a:off x="11012963" y="1377069"/>
            <a:ext cx="852149" cy="552029"/>
            <a:chOff x="11012963" y="1377069"/>
            <a:chExt cx="852149" cy="552029"/>
          </a:xfrm>
        </p:grpSpPr>
        <p:sp>
          <p:nvSpPr>
            <p:cNvPr id="5" name="Rectangle 4">
              <a:extLst>
                <a:ext uri="{FF2B5EF4-FFF2-40B4-BE49-F238E27FC236}">
                  <a16:creationId xmlns:a16="http://schemas.microsoft.com/office/drawing/2014/main" id="{D93CA52D-C9AB-4F47-A1A6-43640A81520B}"/>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6" name="Rectangle 5">
              <a:extLst>
                <a:ext uri="{FF2B5EF4-FFF2-40B4-BE49-F238E27FC236}">
                  <a16:creationId xmlns:a16="http://schemas.microsoft.com/office/drawing/2014/main" id="{14BF5AB2-DC8A-4BEC-9DDF-5CE6D7977D1C}"/>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638846"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7AFBEB46-1061-495A-8A50-4F92B198C80E}"/>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EC77E0-2D15-446F-B469-BAEF73F2A42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spTree>
    <p:extLst>
      <p:ext uri="{BB962C8B-B14F-4D97-AF65-F5344CB8AC3E}">
        <p14:creationId xmlns:p14="http://schemas.microsoft.com/office/powerpoint/2010/main" val="6619677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06F28ED-FEDE-4963-BEE6-9C009E3E4D67}"/>
              </a:ext>
            </a:extLst>
          </p:cNvPr>
          <p:cNvGrpSpPr/>
          <p:nvPr/>
        </p:nvGrpSpPr>
        <p:grpSpPr>
          <a:xfrm>
            <a:off x="2174782" y="2055802"/>
            <a:ext cx="1983777" cy="2645801"/>
            <a:chOff x="992752" y="2078104"/>
            <a:chExt cx="1983777" cy="2645801"/>
          </a:xfrm>
        </p:grpSpPr>
        <p:pic>
          <p:nvPicPr>
            <p:cNvPr id="4" name="Picture 3" descr="A person with a beard&#10;&#10;Description automatically generated with low confidence">
              <a:extLst>
                <a:ext uri="{FF2B5EF4-FFF2-40B4-BE49-F238E27FC236}">
                  <a16:creationId xmlns:a16="http://schemas.microsoft.com/office/drawing/2014/main" id="{F8755F4C-D041-41EF-8042-747E523CDAF4}"/>
                </a:ext>
              </a:extLst>
            </p:cNvPr>
            <p:cNvPicPr preferRelativeResize="0">
              <a:picLocks/>
            </p:cNvPicPr>
            <p:nvPr/>
          </p:nvPicPr>
          <p:blipFill rotWithShape="1">
            <a:blip r:embed="rId2"/>
            <a:srcRect t="8151" b="29895"/>
            <a:stretch/>
          </p:blipFill>
          <p:spPr>
            <a:xfrm>
              <a:off x="992752" y="2078104"/>
              <a:ext cx="1983777" cy="1883979"/>
            </a:xfrm>
            <a:prstGeom prst="rect">
              <a:avLst/>
            </a:prstGeom>
          </p:spPr>
        </p:pic>
        <p:sp>
          <p:nvSpPr>
            <p:cNvPr id="7" name="TextBox 6">
              <a:extLst>
                <a:ext uri="{FF2B5EF4-FFF2-40B4-BE49-F238E27FC236}">
                  <a16:creationId xmlns:a16="http://schemas.microsoft.com/office/drawing/2014/main" id="{31270810-ED89-415E-B487-8B7CD44605BC}"/>
                </a:ext>
              </a:extLst>
            </p:cNvPr>
            <p:cNvSpPr txBox="1"/>
            <p:nvPr/>
          </p:nvSpPr>
          <p:spPr>
            <a:xfrm>
              <a:off x="992752" y="4231462"/>
              <a:ext cx="1920240" cy="492443"/>
            </a:xfrm>
            <a:prstGeom prst="rect">
              <a:avLst/>
            </a:prstGeom>
            <a:noFill/>
          </p:spPr>
          <p:txBody>
            <a:bodyPr wrap="square" lIns="0" tIns="0" rIns="0" bIns="0" rtlCol="0">
              <a:spAutoFit/>
            </a:bodyPr>
            <a:lstStyle/>
            <a:p>
              <a:pPr algn="ctr"/>
              <a:r>
                <a:rPr lang="en-US" sz="2000" dirty="0">
                  <a:latin typeface="+mj-lt"/>
                </a:rPr>
                <a:t>Alex Powers</a:t>
              </a:r>
            </a:p>
            <a:p>
              <a:pPr algn="ctr"/>
              <a:r>
                <a:rPr lang="en-US" sz="1200" dirty="0">
                  <a:latin typeface="+mj-lt"/>
                </a:rPr>
                <a:t>Senior Program Manager</a:t>
              </a:r>
            </a:p>
          </p:txBody>
        </p:sp>
      </p:grpSp>
      <p:grpSp>
        <p:nvGrpSpPr>
          <p:cNvPr id="17" name="Group 16">
            <a:extLst>
              <a:ext uri="{FF2B5EF4-FFF2-40B4-BE49-F238E27FC236}">
                <a16:creationId xmlns:a16="http://schemas.microsoft.com/office/drawing/2014/main" id="{4046E838-71DF-4EFA-BE12-033083A30315}"/>
              </a:ext>
            </a:extLst>
          </p:cNvPr>
          <p:cNvGrpSpPr/>
          <p:nvPr/>
        </p:nvGrpSpPr>
        <p:grpSpPr>
          <a:xfrm>
            <a:off x="5155760" y="2055801"/>
            <a:ext cx="1905000" cy="2645798"/>
            <a:chOff x="3819298" y="2078104"/>
            <a:chExt cx="1905000" cy="2645798"/>
          </a:xfrm>
        </p:grpSpPr>
        <p:pic>
          <p:nvPicPr>
            <p:cNvPr id="1030" name="Picture 6">
              <a:extLst>
                <a:ext uri="{FF2B5EF4-FFF2-40B4-BE49-F238E27FC236}">
                  <a16:creationId xmlns:a16="http://schemas.microsoft.com/office/drawing/2014/main" id="{C95D7207-2937-45B3-97A1-B01C11D9B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298" y="2078104"/>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977A2E0-A182-4C11-B815-88B257E1642F}"/>
                </a:ext>
              </a:extLst>
            </p:cNvPr>
            <p:cNvSpPr txBox="1"/>
            <p:nvPr/>
          </p:nvSpPr>
          <p:spPr>
            <a:xfrm>
              <a:off x="3819298" y="4231459"/>
              <a:ext cx="1905000" cy="492443"/>
            </a:xfrm>
            <a:prstGeom prst="rect">
              <a:avLst/>
            </a:prstGeom>
            <a:noFill/>
          </p:spPr>
          <p:txBody>
            <a:bodyPr wrap="square" lIns="0" tIns="0" rIns="0" bIns="0" rtlCol="0">
              <a:spAutoFit/>
            </a:bodyPr>
            <a:lstStyle/>
            <a:p>
              <a:pPr algn="ctr"/>
              <a:r>
                <a:rPr lang="en-US" sz="2000" dirty="0">
                  <a:latin typeface="+mj-lt"/>
                </a:rPr>
                <a:t>Patrick LeBlanc</a:t>
              </a:r>
            </a:p>
            <a:p>
              <a:pPr algn="ctr"/>
              <a:r>
                <a:rPr lang="en-US" sz="1200" dirty="0">
                  <a:latin typeface="+mj-lt"/>
                </a:rPr>
                <a:t>Principal Program Manager</a:t>
              </a:r>
            </a:p>
          </p:txBody>
        </p:sp>
      </p:grpSp>
      <p:grpSp>
        <p:nvGrpSpPr>
          <p:cNvPr id="18" name="Group 17">
            <a:extLst>
              <a:ext uri="{FF2B5EF4-FFF2-40B4-BE49-F238E27FC236}">
                <a16:creationId xmlns:a16="http://schemas.microsoft.com/office/drawing/2014/main" id="{6E940751-367B-49A4-84F9-DBFC74A84358}"/>
              </a:ext>
            </a:extLst>
          </p:cNvPr>
          <p:cNvGrpSpPr/>
          <p:nvPr/>
        </p:nvGrpSpPr>
        <p:grpSpPr>
          <a:xfrm>
            <a:off x="8057961" y="2034781"/>
            <a:ext cx="1905001" cy="2666819"/>
            <a:chOff x="6966826" y="2057083"/>
            <a:chExt cx="1905001" cy="2666819"/>
          </a:xfrm>
        </p:grpSpPr>
        <p:pic>
          <p:nvPicPr>
            <p:cNvPr id="1032" name="Picture 8">
              <a:extLst>
                <a:ext uri="{FF2B5EF4-FFF2-40B4-BE49-F238E27FC236}">
                  <a16:creationId xmlns:a16="http://schemas.microsoft.com/office/drawing/2014/main" id="{B096ECF5-725B-4483-938B-9E2875FD0F79}"/>
                </a:ext>
              </a:extLst>
            </p:cNvPr>
            <p:cNvPicPr>
              <a:picLocks noChangeAspect="1" noChangeArrowheads="1"/>
            </p:cNvPicPr>
            <p:nvPr/>
          </p:nvPicPr>
          <p:blipFill>
            <a:blip r:embed="rId4"/>
            <a:srcRect/>
            <a:stretch/>
          </p:blipFill>
          <p:spPr bwMode="auto">
            <a:xfrm>
              <a:off x="6966827" y="2057083"/>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0154E7A-9CEF-42E4-9393-76973B939CB7}"/>
                </a:ext>
              </a:extLst>
            </p:cNvPr>
            <p:cNvSpPr txBox="1"/>
            <p:nvPr/>
          </p:nvSpPr>
          <p:spPr>
            <a:xfrm>
              <a:off x="6966826" y="4231459"/>
              <a:ext cx="1905000" cy="492443"/>
            </a:xfrm>
            <a:prstGeom prst="rect">
              <a:avLst/>
            </a:prstGeom>
            <a:noFill/>
          </p:spPr>
          <p:txBody>
            <a:bodyPr wrap="square" lIns="0" tIns="0" rIns="0" bIns="0" rtlCol="0">
              <a:spAutoFit/>
            </a:bodyPr>
            <a:lstStyle/>
            <a:p>
              <a:pPr algn="ctr"/>
              <a:r>
                <a:rPr lang="en-US" sz="2000" dirty="0">
                  <a:latin typeface="+mj-lt"/>
                </a:rPr>
                <a:t>Adam Saxton</a:t>
              </a:r>
            </a:p>
            <a:p>
              <a:pPr algn="ctr"/>
              <a:r>
                <a:rPr lang="en-US" sz="1200" dirty="0">
                  <a:latin typeface="+mj-lt"/>
                </a:rPr>
                <a:t>Principal Program Manager</a:t>
              </a:r>
            </a:p>
          </p:txBody>
        </p:sp>
      </p:grpSp>
      <p:sp>
        <p:nvSpPr>
          <p:cNvPr id="13" name="TextBox 12">
            <a:extLst>
              <a:ext uri="{FF2B5EF4-FFF2-40B4-BE49-F238E27FC236}">
                <a16:creationId xmlns:a16="http://schemas.microsoft.com/office/drawing/2014/main" id="{DFBAF52F-56DE-4C76-93B5-061E2811C89D}"/>
              </a:ext>
            </a:extLst>
          </p:cNvPr>
          <p:cNvSpPr txBox="1"/>
          <p:nvPr/>
        </p:nvSpPr>
        <p:spPr>
          <a:xfrm>
            <a:off x="1021149" y="754822"/>
            <a:ext cx="10392589" cy="553998"/>
          </a:xfrm>
          <a:prstGeom prst="rect">
            <a:avLst/>
          </a:prstGeom>
          <a:noFill/>
        </p:spPr>
        <p:txBody>
          <a:bodyPr wrap="none" lIns="0" tIns="0" rIns="0" bIns="0" rtlCol="0">
            <a:spAutoFit/>
          </a:bodyPr>
          <a:lstStyle/>
          <a:p>
            <a:pPr algn="l"/>
            <a:r>
              <a:rPr lang="en-US" sz="3600" dirty="0">
                <a:latin typeface="+mj-lt"/>
              </a:rPr>
              <a:t>Power BI Customer Advisory Team (Power BI CAT)</a:t>
            </a:r>
          </a:p>
        </p:txBody>
      </p:sp>
    </p:spTree>
    <p:extLst>
      <p:ext uri="{BB962C8B-B14F-4D97-AF65-F5344CB8AC3E}">
        <p14:creationId xmlns:p14="http://schemas.microsoft.com/office/powerpoint/2010/main" val="6018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4526580"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10AE3854-D697-4553-972E-2BCD25D198AC}"/>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a:t>
            </a:r>
          </a:p>
        </p:txBody>
      </p:sp>
      <p:cxnSp>
        <p:nvCxnSpPr>
          <p:cNvPr id="11" name="Straight Connector 10">
            <a:extLst>
              <a:ext uri="{FF2B5EF4-FFF2-40B4-BE49-F238E27FC236}">
                <a16:creationId xmlns:a16="http://schemas.microsoft.com/office/drawing/2014/main" id="{AA1D1A9C-E385-4F77-A68D-9DC7226ADF24}"/>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952E1B4E-28FC-402A-B310-6837659D8324}"/>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30" name="Group 29">
            <a:extLst>
              <a:ext uri="{FF2B5EF4-FFF2-40B4-BE49-F238E27FC236}">
                <a16:creationId xmlns:a16="http://schemas.microsoft.com/office/drawing/2014/main" id="{34C3E20C-0F25-4968-81C6-C286D45583A1}"/>
              </a:ext>
            </a:extLst>
          </p:cNvPr>
          <p:cNvGrpSpPr/>
          <p:nvPr/>
        </p:nvGrpSpPr>
        <p:grpSpPr>
          <a:xfrm>
            <a:off x="11012963" y="1377069"/>
            <a:ext cx="852149" cy="552029"/>
            <a:chOff x="11012963" y="1377069"/>
            <a:chExt cx="852149" cy="552029"/>
          </a:xfrm>
        </p:grpSpPr>
        <p:sp>
          <p:nvSpPr>
            <p:cNvPr id="31" name="Rectangle 30">
              <a:extLst>
                <a:ext uri="{FF2B5EF4-FFF2-40B4-BE49-F238E27FC236}">
                  <a16:creationId xmlns:a16="http://schemas.microsoft.com/office/drawing/2014/main" id="{94A7D4A9-6A31-4096-A6C6-4E1DE9FBDC27}"/>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32" name="Rectangle 31">
              <a:extLst>
                <a:ext uri="{FF2B5EF4-FFF2-40B4-BE49-F238E27FC236}">
                  <a16:creationId xmlns:a16="http://schemas.microsoft.com/office/drawing/2014/main" id="{FF4074A6-61D6-481B-BF81-37333347E93A}"/>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25136230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98509" y="1333139"/>
            <a:ext cx="11237870" cy="1088591"/>
          </a:xfrm>
        </p:spPr>
        <p:txBody>
          <a:bodyPr/>
          <a:lstStyle/>
          <a:p>
            <a:r>
              <a:rPr lang="en-US" sz="2040" b="1"/>
              <a:t>P1 = 25GB </a:t>
            </a:r>
          </a:p>
          <a:p>
            <a:r>
              <a:rPr lang="en-US" sz="2040" b="1"/>
              <a:t>Model Size = 17 GB</a:t>
            </a:r>
          </a:p>
          <a:p>
            <a:r>
              <a:rPr lang="en-US" sz="2040" b="1"/>
              <a:t>Refresh Size ≈ 2.5 * Model Size</a:t>
            </a:r>
          </a:p>
        </p:txBody>
      </p:sp>
      <p:sp>
        <p:nvSpPr>
          <p:cNvPr id="7" name="Rectangle 6">
            <a:extLst>
              <a:ext uri="{FF2B5EF4-FFF2-40B4-BE49-F238E27FC236}">
                <a16:creationId xmlns:a16="http://schemas.microsoft.com/office/drawing/2014/main" id="{1E85CD01-95CA-47C9-985B-25C543E04654}"/>
              </a:ext>
            </a:extLst>
          </p:cNvPr>
          <p:cNvSpPr/>
          <p:nvPr/>
        </p:nvSpPr>
        <p:spPr bwMode="auto">
          <a:xfrm>
            <a:off x="1443379"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1</a:t>
            </a:r>
          </a:p>
        </p:txBody>
      </p:sp>
      <p:sp>
        <p:nvSpPr>
          <p:cNvPr id="10" name="Rectangle 9">
            <a:extLst>
              <a:ext uri="{FF2B5EF4-FFF2-40B4-BE49-F238E27FC236}">
                <a16:creationId xmlns:a16="http://schemas.microsoft.com/office/drawing/2014/main" id="{77C1B2CA-F04E-4767-91C7-569AEB5C309B}"/>
              </a:ext>
            </a:extLst>
          </p:cNvPr>
          <p:cNvSpPr/>
          <p:nvPr/>
        </p:nvSpPr>
        <p:spPr bwMode="auto">
          <a:xfrm>
            <a:off x="240595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2</a:t>
            </a:r>
          </a:p>
        </p:txBody>
      </p:sp>
      <p:sp>
        <p:nvSpPr>
          <p:cNvPr id="13" name="Rectangle 12">
            <a:extLst>
              <a:ext uri="{FF2B5EF4-FFF2-40B4-BE49-F238E27FC236}">
                <a16:creationId xmlns:a16="http://schemas.microsoft.com/office/drawing/2014/main" id="{4ACD3412-788F-49DC-98FD-19C625333BC6}"/>
              </a:ext>
            </a:extLst>
          </p:cNvPr>
          <p:cNvSpPr/>
          <p:nvPr/>
        </p:nvSpPr>
        <p:spPr bwMode="auto">
          <a:xfrm>
            <a:off x="721884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7</a:t>
            </a:r>
          </a:p>
        </p:txBody>
      </p:sp>
      <p:sp>
        <p:nvSpPr>
          <p:cNvPr id="15" name="Rectangle 14">
            <a:extLst>
              <a:ext uri="{FF2B5EF4-FFF2-40B4-BE49-F238E27FC236}">
                <a16:creationId xmlns:a16="http://schemas.microsoft.com/office/drawing/2014/main" id="{A88C60D1-2857-4CE6-98CC-DB7E014575E0}"/>
              </a:ext>
            </a:extLst>
          </p:cNvPr>
          <p:cNvSpPr/>
          <p:nvPr/>
        </p:nvSpPr>
        <p:spPr bwMode="auto">
          <a:xfrm>
            <a:off x="1106914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1</a:t>
            </a:r>
          </a:p>
        </p:txBody>
      </p:sp>
      <p:sp>
        <p:nvSpPr>
          <p:cNvPr id="43" name="Rectangle 42">
            <a:extLst>
              <a:ext uri="{FF2B5EF4-FFF2-40B4-BE49-F238E27FC236}">
                <a16:creationId xmlns:a16="http://schemas.microsoft.com/office/drawing/2014/main" id="{86430280-6C99-4817-9C30-84EDAA337868}"/>
              </a:ext>
            </a:extLst>
          </p:cNvPr>
          <p:cNvSpPr/>
          <p:nvPr/>
        </p:nvSpPr>
        <p:spPr bwMode="auto">
          <a:xfrm>
            <a:off x="914399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9</a:t>
            </a:r>
          </a:p>
        </p:txBody>
      </p:sp>
      <p:sp>
        <p:nvSpPr>
          <p:cNvPr id="45" name="Rectangle 44">
            <a:extLst>
              <a:ext uri="{FF2B5EF4-FFF2-40B4-BE49-F238E27FC236}">
                <a16:creationId xmlns:a16="http://schemas.microsoft.com/office/drawing/2014/main" id="{72A87A1C-E46C-421B-A290-7E3583A3EDE8}"/>
              </a:ext>
            </a:extLst>
          </p:cNvPr>
          <p:cNvSpPr/>
          <p:nvPr/>
        </p:nvSpPr>
        <p:spPr bwMode="auto">
          <a:xfrm>
            <a:off x="5293688"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5</a:t>
            </a:r>
          </a:p>
        </p:txBody>
      </p:sp>
      <p:sp>
        <p:nvSpPr>
          <p:cNvPr id="47" name="Rectangle 46">
            <a:extLst>
              <a:ext uri="{FF2B5EF4-FFF2-40B4-BE49-F238E27FC236}">
                <a16:creationId xmlns:a16="http://schemas.microsoft.com/office/drawing/2014/main" id="{A8F045CA-A84F-41AF-B4C2-725B88D3F123}"/>
              </a:ext>
            </a:extLst>
          </p:cNvPr>
          <p:cNvSpPr/>
          <p:nvPr/>
        </p:nvSpPr>
        <p:spPr bwMode="auto">
          <a:xfrm>
            <a:off x="48080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0</a:t>
            </a:r>
          </a:p>
        </p:txBody>
      </p:sp>
      <p:sp>
        <p:nvSpPr>
          <p:cNvPr id="49" name="Rectangle 48">
            <a:extLst>
              <a:ext uri="{FF2B5EF4-FFF2-40B4-BE49-F238E27FC236}">
                <a16:creationId xmlns:a16="http://schemas.microsoft.com/office/drawing/2014/main" id="{B54E62FD-79E6-436A-9AF9-E1A6BBB40300}"/>
              </a:ext>
            </a:extLst>
          </p:cNvPr>
          <p:cNvSpPr/>
          <p:nvPr/>
        </p:nvSpPr>
        <p:spPr bwMode="auto">
          <a:xfrm>
            <a:off x="3368533"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3</a:t>
            </a:r>
          </a:p>
        </p:txBody>
      </p:sp>
      <p:sp>
        <p:nvSpPr>
          <p:cNvPr id="51" name="Rectangle 50">
            <a:extLst>
              <a:ext uri="{FF2B5EF4-FFF2-40B4-BE49-F238E27FC236}">
                <a16:creationId xmlns:a16="http://schemas.microsoft.com/office/drawing/2014/main" id="{A174F806-BB61-4D02-BE1C-A3960C7060A4}"/>
              </a:ext>
            </a:extLst>
          </p:cNvPr>
          <p:cNvSpPr/>
          <p:nvPr/>
        </p:nvSpPr>
        <p:spPr bwMode="auto">
          <a:xfrm>
            <a:off x="4331111"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4</a:t>
            </a:r>
          </a:p>
        </p:txBody>
      </p:sp>
      <p:sp>
        <p:nvSpPr>
          <p:cNvPr id="53" name="Rectangle 52">
            <a:extLst>
              <a:ext uri="{FF2B5EF4-FFF2-40B4-BE49-F238E27FC236}">
                <a16:creationId xmlns:a16="http://schemas.microsoft.com/office/drawing/2014/main" id="{72FA6718-7BA0-42F8-A131-6583FD77A828}"/>
              </a:ext>
            </a:extLst>
          </p:cNvPr>
          <p:cNvSpPr/>
          <p:nvPr/>
        </p:nvSpPr>
        <p:spPr bwMode="auto">
          <a:xfrm>
            <a:off x="6256266"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6</a:t>
            </a:r>
          </a:p>
        </p:txBody>
      </p:sp>
      <p:sp>
        <p:nvSpPr>
          <p:cNvPr id="55" name="Rectangle 54">
            <a:extLst>
              <a:ext uri="{FF2B5EF4-FFF2-40B4-BE49-F238E27FC236}">
                <a16:creationId xmlns:a16="http://schemas.microsoft.com/office/drawing/2014/main" id="{7101FA97-BDA5-4733-AD32-5A5F6BA65A5E}"/>
              </a:ext>
            </a:extLst>
          </p:cNvPr>
          <p:cNvSpPr/>
          <p:nvPr/>
        </p:nvSpPr>
        <p:spPr bwMode="auto">
          <a:xfrm>
            <a:off x="8181420"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18</a:t>
            </a:r>
          </a:p>
        </p:txBody>
      </p:sp>
      <p:sp>
        <p:nvSpPr>
          <p:cNvPr id="57" name="Rectangle 56">
            <a:extLst>
              <a:ext uri="{FF2B5EF4-FFF2-40B4-BE49-F238E27FC236}">
                <a16:creationId xmlns:a16="http://schemas.microsoft.com/office/drawing/2014/main" id="{FAD1CF8A-7198-4FD3-BF11-2063BCEC5BA8}"/>
              </a:ext>
            </a:extLst>
          </p:cNvPr>
          <p:cNvSpPr/>
          <p:nvPr/>
        </p:nvSpPr>
        <p:spPr bwMode="auto">
          <a:xfrm>
            <a:off x="10106575" y="2962699"/>
            <a:ext cx="678257" cy="83840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2"/>
                </a:solidFill>
                <a:ea typeface="Segoe UI" pitchFamily="34" charset="0"/>
                <a:cs typeface="Segoe UI" pitchFamily="34" charset="0"/>
              </a:rPr>
              <a:t>2020</a:t>
            </a:r>
          </a:p>
        </p:txBody>
      </p:sp>
      <p:sp>
        <p:nvSpPr>
          <p:cNvPr id="60" name="Arrow: Right 59">
            <a:extLst>
              <a:ext uri="{FF2B5EF4-FFF2-40B4-BE49-F238E27FC236}">
                <a16:creationId xmlns:a16="http://schemas.microsoft.com/office/drawing/2014/main" id="{7B6B0CBE-D9EF-4606-B4A1-19A59350F356}"/>
              </a:ext>
            </a:extLst>
          </p:cNvPr>
          <p:cNvSpPr/>
          <p:nvPr/>
        </p:nvSpPr>
        <p:spPr bwMode="auto">
          <a:xfrm>
            <a:off x="482789" y="4096122"/>
            <a:ext cx="11264615" cy="497992"/>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A0B0CD16-BC87-4AC0-AEF5-B6E30105BEBE}"/>
              </a:ext>
            </a:extLst>
          </p:cNvPr>
          <p:cNvSpPr txBox="1">
            <a:spLocks/>
          </p:cNvSpPr>
          <p:nvPr/>
        </p:nvSpPr>
        <p:spPr>
          <a:xfrm>
            <a:off x="509533" y="4931785"/>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72" spc="0"/>
              <a:t>Load Partitions/Tables using XMLA endpoint</a:t>
            </a:r>
          </a:p>
        </p:txBody>
      </p:sp>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Loading Large Models</a:t>
            </a:r>
            <a:endParaRPr lang="en-US" sz="4080" spc="0">
              <a:solidFill>
                <a:srgbClr val="FFC000"/>
              </a:solidFill>
            </a:endParaRPr>
          </a:p>
        </p:txBody>
      </p:sp>
      <p:grpSp>
        <p:nvGrpSpPr>
          <p:cNvPr id="26" name="Group 25">
            <a:extLst>
              <a:ext uri="{FF2B5EF4-FFF2-40B4-BE49-F238E27FC236}">
                <a16:creationId xmlns:a16="http://schemas.microsoft.com/office/drawing/2014/main" id="{24554D04-33E8-4A56-A5E4-31B271AB09A5}"/>
              </a:ext>
            </a:extLst>
          </p:cNvPr>
          <p:cNvGrpSpPr/>
          <p:nvPr/>
        </p:nvGrpSpPr>
        <p:grpSpPr>
          <a:xfrm>
            <a:off x="11012963" y="1377069"/>
            <a:ext cx="852149" cy="552029"/>
            <a:chOff x="11012963" y="1377069"/>
            <a:chExt cx="852149" cy="552029"/>
          </a:xfrm>
        </p:grpSpPr>
        <p:sp>
          <p:nvSpPr>
            <p:cNvPr id="27" name="Rectangle 26">
              <a:extLst>
                <a:ext uri="{FF2B5EF4-FFF2-40B4-BE49-F238E27FC236}">
                  <a16:creationId xmlns:a16="http://schemas.microsoft.com/office/drawing/2014/main" id="{6AAFE609-F87D-4A0F-99DD-60AD7A43C1E0}"/>
                </a:ext>
              </a:extLst>
            </p:cNvPr>
            <p:cNvSpPr/>
            <p:nvPr/>
          </p:nvSpPr>
          <p:spPr bwMode="auto">
            <a:xfrm>
              <a:off x="11012963" y="1377069"/>
              <a:ext cx="852149" cy="246091"/>
            </a:xfrm>
            <a:prstGeom prst="rect">
              <a:avLst/>
            </a:prstGeom>
            <a:solidFill>
              <a:srgbClr val="FF000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122">
                  <a:solidFill>
                    <a:schemeClr val="bg1"/>
                  </a:solidFill>
                  <a:ea typeface="Segoe UI" pitchFamily="34" charset="0"/>
                  <a:cs typeface="Segoe UI" pitchFamily="34" charset="0"/>
                </a:rPr>
                <a:t>Empty</a:t>
              </a:r>
            </a:p>
          </p:txBody>
        </p:sp>
        <p:sp>
          <p:nvSpPr>
            <p:cNvPr id="28" name="Rectangle 27">
              <a:extLst>
                <a:ext uri="{FF2B5EF4-FFF2-40B4-BE49-F238E27FC236}">
                  <a16:creationId xmlns:a16="http://schemas.microsoft.com/office/drawing/2014/main" id="{C4C852E7-9294-434C-98BE-4CE474486FDB}"/>
                </a:ext>
              </a:extLst>
            </p:cNvPr>
            <p:cNvSpPr/>
            <p:nvPr/>
          </p:nvSpPr>
          <p:spPr bwMode="auto">
            <a:xfrm>
              <a:off x="11012963" y="1683007"/>
              <a:ext cx="852149" cy="246091"/>
            </a:xfrm>
            <a:prstGeom prst="rect">
              <a:avLst/>
            </a:prstGeom>
            <a:solidFill>
              <a:srgbClr val="92D050"/>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1071">
                  <a:solidFill>
                    <a:schemeClr val="tx1"/>
                  </a:solidFill>
                  <a:ea typeface="Segoe UI" pitchFamily="34" charset="0"/>
                  <a:cs typeface="Segoe UI" pitchFamily="34" charset="0"/>
                </a:rPr>
                <a:t>Loaded</a:t>
              </a:r>
            </a:p>
          </p:txBody>
        </p:sp>
      </p:grpSp>
    </p:spTree>
    <p:extLst>
      <p:ext uri="{BB962C8B-B14F-4D97-AF65-F5344CB8AC3E}">
        <p14:creationId xmlns:p14="http://schemas.microsoft.com/office/powerpoint/2010/main" val="14683556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82876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6DE5783A-E20C-4677-AF51-FA7E152CB9A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89B5BCA-B02C-496F-B3B4-7EC34B922586}"/>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dirty="0">
                <a:solidFill>
                  <a:srgbClr val="FFC000"/>
                </a:solidFill>
                <a:latin typeface="Franklin Gothic Medium Cond"/>
                <a:cs typeface="Segoe UI"/>
              </a:rPr>
              <a:t>Data Model Properties</a:t>
            </a:r>
            <a:endParaRPr lang="en-US" sz="4080" spc="0" dirty="0">
              <a:solidFill>
                <a:srgbClr val="FFC000"/>
              </a:solidFill>
            </a:endParaRPr>
          </a:p>
        </p:txBody>
      </p:sp>
      <p:pic>
        <p:nvPicPr>
          <p:cNvPr id="19" name="Picture 18">
            <a:extLst>
              <a:ext uri="{FF2B5EF4-FFF2-40B4-BE49-F238E27FC236}">
                <a16:creationId xmlns:a16="http://schemas.microsoft.com/office/drawing/2014/main" id="{28C14FF6-8875-5CE0-8E10-4BE25BBB5944}"/>
              </a:ext>
            </a:extLst>
          </p:cNvPr>
          <p:cNvPicPr>
            <a:picLocks noChangeAspect="1"/>
          </p:cNvPicPr>
          <p:nvPr/>
        </p:nvPicPr>
        <p:blipFill>
          <a:blip r:embed="rId3"/>
          <a:stretch>
            <a:fillRect/>
          </a:stretch>
        </p:blipFill>
        <p:spPr>
          <a:xfrm>
            <a:off x="7269819" y="1456259"/>
            <a:ext cx="2089170" cy="5379242"/>
          </a:xfrm>
          <a:prstGeom prst="rect">
            <a:avLst/>
          </a:prstGeom>
        </p:spPr>
      </p:pic>
      <p:sp>
        <p:nvSpPr>
          <p:cNvPr id="21" name="TextBox 20">
            <a:extLst>
              <a:ext uri="{FF2B5EF4-FFF2-40B4-BE49-F238E27FC236}">
                <a16:creationId xmlns:a16="http://schemas.microsoft.com/office/drawing/2014/main" id="{32545513-21A5-AE1F-B69A-59692DB715A5}"/>
              </a:ext>
            </a:extLst>
          </p:cNvPr>
          <p:cNvSpPr txBox="1"/>
          <p:nvPr/>
        </p:nvSpPr>
        <p:spPr>
          <a:xfrm>
            <a:off x="1106191" y="1682496"/>
            <a:ext cx="4123944" cy="4001095"/>
          </a:xfrm>
          <a:prstGeom prst="rect">
            <a:avLst/>
          </a:prstGeom>
          <a:noFill/>
        </p:spPr>
        <p:txBody>
          <a:bodyPr wrap="square" lIns="0" tIns="0" rIns="0" bIns="0" rtlCol="0">
            <a:spAutoFit/>
          </a:bodyPr>
          <a:lstStyle/>
          <a:p>
            <a:pPr algn="l"/>
            <a:r>
              <a:rPr lang="en-US" sz="2000" dirty="0"/>
              <a:t>With the </a:t>
            </a:r>
            <a:r>
              <a:rPr lang="en-US" sz="2000" b="1" dirty="0"/>
              <a:t>Properties</a:t>
            </a:r>
            <a:r>
              <a:rPr lang="en-US" sz="2000" dirty="0"/>
              <a:t> pane in the Data modeling view, dataset developers can enrich their Tabular Object Model (TOM) with additional rich metadata…</a:t>
            </a:r>
          </a:p>
          <a:p>
            <a:pPr algn="l"/>
            <a:endParaRPr lang="en-US" sz="2000" dirty="0"/>
          </a:p>
          <a:p>
            <a:pPr marL="809271" lvl="1" indent="-342900">
              <a:buFont typeface="Arial" panose="020B0604020202020204" pitchFamily="34" charset="0"/>
              <a:buChar char="•"/>
            </a:pPr>
            <a:r>
              <a:rPr lang="en-US" sz="2000" dirty="0"/>
              <a:t>Description</a:t>
            </a:r>
          </a:p>
          <a:p>
            <a:pPr marL="809271" lvl="1" indent="-342900">
              <a:buFont typeface="Arial" panose="020B0604020202020204" pitchFamily="34" charset="0"/>
              <a:buChar char="•"/>
            </a:pPr>
            <a:r>
              <a:rPr lang="en-US" sz="2000" dirty="0"/>
              <a:t>Synonyms</a:t>
            </a:r>
          </a:p>
          <a:p>
            <a:pPr marL="809271" lvl="1" indent="-342900">
              <a:buFont typeface="Arial" panose="020B0604020202020204" pitchFamily="34" charset="0"/>
              <a:buChar char="•"/>
            </a:pPr>
            <a:r>
              <a:rPr lang="en-US" sz="2000" dirty="0"/>
              <a:t>Storage mode</a:t>
            </a:r>
          </a:p>
          <a:p>
            <a:pPr marL="809271" lvl="1" indent="-342900">
              <a:buFont typeface="Arial" panose="020B0604020202020204" pitchFamily="34" charset="0"/>
              <a:buChar char="•"/>
            </a:pPr>
            <a:r>
              <a:rPr lang="en-US" sz="2000" dirty="0"/>
              <a:t>Key column</a:t>
            </a:r>
          </a:p>
          <a:p>
            <a:pPr marL="809271" lvl="1" indent="-342900">
              <a:buFont typeface="Arial" panose="020B0604020202020204" pitchFamily="34" charset="0"/>
              <a:buChar char="•"/>
            </a:pPr>
            <a:r>
              <a:rPr lang="en-US" sz="2000" dirty="0"/>
              <a:t>Formatting</a:t>
            </a:r>
          </a:p>
          <a:p>
            <a:pPr marL="809271" lvl="1" indent="-342900">
              <a:buFont typeface="Arial" panose="020B0604020202020204" pitchFamily="34" charset="0"/>
              <a:buChar char="•"/>
            </a:pPr>
            <a:r>
              <a:rPr lang="en-US" sz="2000" dirty="0"/>
              <a:t>Data category</a:t>
            </a:r>
          </a:p>
          <a:p>
            <a:pPr marL="809271" lvl="1" indent="-342900">
              <a:buFont typeface="Arial" panose="020B0604020202020204" pitchFamily="34" charset="0"/>
              <a:buChar char="•"/>
            </a:pPr>
            <a:r>
              <a:rPr lang="en-US" sz="2000" dirty="0"/>
              <a:t>and more…</a:t>
            </a:r>
          </a:p>
        </p:txBody>
      </p:sp>
      <p:pic>
        <p:nvPicPr>
          <p:cNvPr id="23" name="Picture 22">
            <a:extLst>
              <a:ext uri="{FF2B5EF4-FFF2-40B4-BE49-F238E27FC236}">
                <a16:creationId xmlns:a16="http://schemas.microsoft.com/office/drawing/2014/main" id="{856C1599-E2AE-70AC-499C-1DF8AE072873}"/>
              </a:ext>
            </a:extLst>
          </p:cNvPr>
          <p:cNvPicPr>
            <a:picLocks noChangeAspect="1"/>
          </p:cNvPicPr>
          <p:nvPr/>
        </p:nvPicPr>
        <p:blipFill>
          <a:blip r:embed="rId4"/>
          <a:stretch>
            <a:fillRect/>
          </a:stretch>
        </p:blipFill>
        <p:spPr>
          <a:xfrm>
            <a:off x="9905510" y="1456259"/>
            <a:ext cx="1904696" cy="5379242"/>
          </a:xfrm>
          <a:prstGeom prst="rect">
            <a:avLst/>
          </a:prstGeom>
        </p:spPr>
      </p:pic>
    </p:spTree>
    <p:extLst>
      <p:ext uri="{BB962C8B-B14F-4D97-AF65-F5344CB8AC3E}">
        <p14:creationId xmlns:p14="http://schemas.microsoft.com/office/powerpoint/2010/main" val="1862046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298568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8509" y="2093352"/>
            <a:ext cx="11237870" cy="2807820"/>
          </a:xfrm>
        </p:spPr>
        <p:txBody>
          <a:bodyPr/>
          <a:lstStyle/>
          <a:p>
            <a:r>
              <a:rPr lang="en-US" sz="3649">
                <a:ea typeface="Times New Roman" panose="02020603050405020304" pitchFamily="18" charset="0"/>
                <a:cs typeface="Segoe UI"/>
              </a:rPr>
              <a:t>DAX:</a:t>
            </a:r>
            <a:br>
              <a:rPr lang="en-US" sz="3649">
                <a:ea typeface="Times New Roman" panose="02020603050405020304" pitchFamily="18" charset="0"/>
                <a:cs typeface="Segoe UI"/>
              </a:rPr>
            </a:br>
            <a:r>
              <a:rPr lang="en-US" sz="3649">
                <a:latin typeface="+mn-lt"/>
                <a:ea typeface="Times New Roman" panose="02020603050405020304" pitchFamily="18" charset="0"/>
                <a:cs typeface="Segoe UI"/>
              </a:rPr>
              <a:t>Calculated Colum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Iterator Functions</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DIVIDE</a:t>
            </a:r>
            <a:br>
              <a:rPr lang="en-US" sz="3649">
                <a:latin typeface="+mn-lt"/>
                <a:ea typeface="Times New Roman" panose="02020603050405020304" pitchFamily="18" charset="0"/>
                <a:cs typeface="Segoe UI"/>
              </a:rPr>
            </a:br>
            <a:r>
              <a:rPr lang="en-US" sz="3649">
                <a:latin typeface="+mn-lt"/>
                <a:ea typeface="Times New Roman" panose="02020603050405020304" pitchFamily="18" charset="0"/>
                <a:cs typeface="Segoe UI"/>
              </a:rPr>
              <a:t>Variables</a:t>
            </a:r>
            <a:endParaRPr lang="en-US" sz="4399">
              <a:cs typeface="Segoe UI"/>
            </a:endParaRPr>
          </a:p>
        </p:txBody>
      </p:sp>
    </p:spTree>
    <p:extLst>
      <p:ext uri="{BB962C8B-B14F-4D97-AF65-F5344CB8AC3E}">
        <p14:creationId xmlns:p14="http://schemas.microsoft.com/office/powerpoint/2010/main" val="217093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E023377-B92D-4F27-8F5F-A211AE3368C7}"/>
              </a:ext>
            </a:extLst>
          </p:cNvPr>
          <p:cNvSpPr txBox="1">
            <a:spLocks/>
          </p:cNvSpPr>
          <p:nvPr/>
        </p:nvSpPr>
        <p:spPr>
          <a:xfrm>
            <a:off x="990600" y="762000"/>
            <a:ext cx="10591800" cy="4530686"/>
          </a:xfrm>
          <a:prstGeom prst="rect">
            <a:avLst/>
          </a:prstGeom>
        </p:spPr>
        <p:txBody>
          <a:bodyPr vert="horz" wrap="square" lIns="0" tIns="0" rIns="0" bIns="0" rtlCol="0" anchor="t">
            <a:normAutofit fontScale="97500"/>
          </a:bodyPr>
          <a:lstStyle>
            <a:lvl1pPr algn="l" defTabSz="951304" rtl="0" eaLnBrk="1" latinLnBrk="0" hangingPunct="1">
              <a:lnSpc>
                <a:spcPct val="100000"/>
              </a:lnSpc>
              <a:spcBef>
                <a:spcPct val="0"/>
              </a:spcBef>
              <a:buNone/>
              <a:defRPr lang="en-US" sz="3672" b="0" kern="1200" cap="none" spc="-51"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defTabSz="951209">
              <a:defRPr/>
            </a:pPr>
            <a:r>
              <a:rPr lang="en-US">
                <a:gradFill flip="none" rotWithShape="1">
                  <a:gsLst>
                    <a:gs pos="82000">
                      <a:srgbClr val="000000"/>
                    </a:gs>
                    <a:gs pos="0">
                      <a:srgbClr val="000000"/>
                    </a:gs>
                  </a:gsLst>
                  <a:lin ang="2700000" scaled="1"/>
                  <a:tileRect/>
                </a:gradFill>
                <a:latin typeface="Segoe UI Semibold"/>
              </a:rPr>
              <a:t>What is DAX?</a:t>
            </a:r>
            <a:br>
              <a:rPr lang="en-US" sz="2700">
                <a:gradFill flip="none" rotWithShape="1">
                  <a:gsLst>
                    <a:gs pos="82000">
                      <a:srgbClr val="000000"/>
                    </a:gs>
                    <a:gs pos="0">
                      <a:srgbClr val="000000"/>
                    </a:gs>
                  </a:gsLst>
                  <a:lin ang="2700000" scaled="1"/>
                  <a:tileRect/>
                </a:gradFill>
                <a:latin typeface="Segoe UI Semibold"/>
              </a:rPr>
            </a:br>
            <a:br>
              <a:rPr lang="en-US" sz="2700">
                <a:gradFill flip="none" rotWithShape="1">
                  <a:gsLst>
                    <a:gs pos="82000">
                      <a:srgbClr val="000000"/>
                    </a:gs>
                    <a:gs pos="0">
                      <a:srgbClr val="000000"/>
                    </a:gs>
                  </a:gsLst>
                  <a:lin ang="2700000" scaled="1"/>
                  <a:tileRect/>
                </a:gradFill>
                <a:latin typeface="Segoe UI Semibold"/>
              </a:rPr>
            </a:br>
            <a:r>
              <a:rPr lang="en-US" sz="2700" b="1">
                <a:solidFill>
                  <a:srgbClr val="222222"/>
                </a:solidFill>
                <a:latin typeface="Segoe UI Semibold"/>
                <a:cs typeface="Leelawadee" panose="020B0502040204020203" pitchFamily="34" charset="-34"/>
              </a:rPr>
              <a:t>Data Analysis Expressions (DAX)</a:t>
            </a:r>
            <a:br>
              <a:rPr lang="en-US" sz="2700">
                <a:solidFill>
                  <a:srgbClr val="222222"/>
                </a:solidFill>
                <a:latin typeface="Leelawadee" panose="020B0502040204020203" pitchFamily="34" charset="-34"/>
                <a:cs typeface="Leelawadee" panose="020B0502040204020203" pitchFamily="34" charset="-34"/>
              </a:rPr>
            </a:br>
            <a:r>
              <a:rPr lang="en-US" sz="2700">
                <a:solidFill>
                  <a:srgbClr val="222222"/>
                </a:solidFill>
                <a:latin typeface="Segoe UI"/>
                <a:cs typeface="Leelawadee" panose="020B0502040204020203" pitchFamily="34" charset="-34"/>
              </a:rPr>
              <a:t>Is the native </a:t>
            </a:r>
            <a:r>
              <a:rPr lang="en-US" sz="2700" b="1">
                <a:solidFill>
                  <a:srgbClr val="222222"/>
                </a:solidFill>
                <a:latin typeface="Segoe UI"/>
                <a:cs typeface="Leelawadee" panose="020B0502040204020203" pitchFamily="34" charset="-34"/>
              </a:rPr>
              <a:t>formula</a:t>
            </a:r>
            <a:r>
              <a:rPr lang="en-US" sz="2700">
                <a:solidFill>
                  <a:srgbClr val="222222"/>
                </a:solidFill>
                <a:latin typeface="Segoe UI"/>
                <a:cs typeface="Leelawadee" panose="020B0502040204020203" pitchFamily="34" charset="-34"/>
              </a:rPr>
              <a:t> and </a:t>
            </a:r>
            <a:r>
              <a:rPr lang="en-US" sz="2700" b="1">
                <a:gradFill flip="none" rotWithShape="1">
                  <a:gsLst>
                    <a:gs pos="82000">
                      <a:srgbClr val="000000"/>
                    </a:gs>
                    <a:gs pos="0">
                      <a:srgbClr val="000000"/>
                    </a:gs>
                  </a:gsLst>
                  <a:lin ang="2700000" scaled="1"/>
                  <a:tileRect/>
                </a:gradFill>
                <a:latin typeface="Segoe UI"/>
                <a:cs typeface="Leelawadee" panose="020B0502040204020203" pitchFamily="34" charset="-34"/>
              </a:rPr>
              <a:t>query language </a:t>
            </a:r>
            <a:r>
              <a:rPr lang="en-US" sz="2700">
                <a:solidFill>
                  <a:srgbClr val="222222"/>
                </a:solidFill>
                <a:latin typeface="Segoe UI"/>
                <a:cs typeface="Leelawadee" panose="020B0502040204020203" pitchFamily="34" charset="-34"/>
              </a:rPr>
              <a:t>for </a:t>
            </a:r>
            <a:r>
              <a:rPr lang="en-US" sz="2700">
                <a:solidFill>
                  <a:srgbClr val="0B0080"/>
                </a:solidFill>
                <a:latin typeface="Segoe UI"/>
                <a:cs typeface="Leelawadee" panose="020B0502040204020203" pitchFamily="34" charset="-34"/>
                <a:hlinkClick r:id="rId2" tooltip="Microsoft"/>
              </a:rPr>
              <a:t>Microsoft</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3" tooltip="PowerPivot"/>
              </a:rPr>
              <a:t>PowerPivot</a:t>
            </a:r>
            <a:r>
              <a:rPr lang="en-US" sz="2700">
                <a:solidFill>
                  <a:srgbClr val="0B0080"/>
                </a:solidFill>
                <a:latin typeface="Segoe UI"/>
                <a:cs typeface="Leelawadee" panose="020B0502040204020203" pitchFamily="34" charset="-34"/>
              </a:rPr>
              <a:t> </a:t>
            </a: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for Excel</a:t>
            </a:r>
            <a:r>
              <a:rPr lang="en-US" sz="2700">
                <a:solidFill>
                  <a:srgbClr val="222222"/>
                </a:solidFill>
                <a:latin typeface="Segoe UI"/>
                <a:cs typeface="Leelawadee" panose="020B0502040204020203" pitchFamily="34" charset="-34"/>
              </a:rPr>
              <a:t>, </a:t>
            </a:r>
            <a:r>
              <a:rPr lang="en-US" sz="2700">
                <a:solidFill>
                  <a:srgbClr val="0B0080"/>
                </a:solidFill>
                <a:latin typeface="Segoe UI"/>
                <a:cs typeface="Leelawadee" panose="020B0502040204020203" pitchFamily="34" charset="-34"/>
                <a:hlinkClick r:id="rId4" tooltip="Power BI"/>
              </a:rPr>
              <a:t>Power BI</a:t>
            </a:r>
            <a:r>
              <a:rPr lang="en-US" sz="2700">
                <a:solidFill>
                  <a:srgbClr val="222222"/>
                </a:solidFill>
                <a:latin typeface="Segoe UI"/>
                <a:cs typeface="Leelawadee" panose="020B0502040204020203" pitchFamily="34" charset="-34"/>
              </a:rPr>
              <a:t> Desktop and </a:t>
            </a:r>
            <a:r>
              <a:rPr lang="en-US" sz="2700">
                <a:solidFill>
                  <a:srgbClr val="0B0080"/>
                </a:solidFill>
                <a:latin typeface="Segoe UI"/>
                <a:cs typeface="Leelawadee" panose="020B0502040204020203" pitchFamily="34" charset="-34"/>
                <a:hlinkClick r:id="rId5" tooltip="Microsoft Analysis Services"/>
              </a:rPr>
              <a:t>Analysis Services</a:t>
            </a:r>
            <a:r>
              <a:rPr lang="en-US" sz="2700">
                <a:solidFill>
                  <a:srgbClr val="222222"/>
                </a:solidFill>
                <a:latin typeface="Segoe UI"/>
                <a:cs typeface="Leelawadee" panose="020B0502040204020203" pitchFamily="34" charset="-34"/>
              </a:rPr>
              <a:t> (SSAS, AAS) Tabular models. DAX includes some of the functions that are used in </a:t>
            </a:r>
            <a:r>
              <a:rPr lang="en-US" sz="2700">
                <a:solidFill>
                  <a:srgbClr val="0B0080"/>
                </a:solidFill>
                <a:latin typeface="Segoe UI"/>
                <a:cs typeface="Leelawadee" panose="020B0502040204020203" pitchFamily="34" charset="-34"/>
                <a:hlinkClick r:id="rId6" tooltip="Microsoft Excel"/>
              </a:rPr>
              <a:t>Excel</a:t>
            </a:r>
            <a:r>
              <a:rPr lang="en-US" sz="2700">
                <a:solidFill>
                  <a:srgbClr val="222222"/>
                </a:solidFill>
                <a:latin typeface="Segoe UI"/>
                <a:cs typeface="Leelawadee" panose="020B0502040204020203" pitchFamily="34" charset="-34"/>
              </a:rPr>
              <a:t> formulas with additional functions that are designed to work with </a:t>
            </a:r>
            <a:r>
              <a:rPr lang="en-US" sz="2700">
                <a:solidFill>
                  <a:srgbClr val="0B0080"/>
                </a:solidFill>
                <a:latin typeface="Segoe UI"/>
                <a:cs typeface="Leelawadee" panose="020B0502040204020203" pitchFamily="34" charset="-34"/>
                <a:hlinkClick r:id="rId7" tooltip="Relational model"/>
              </a:rPr>
              <a:t>relational data</a:t>
            </a:r>
            <a:r>
              <a:rPr lang="en-US" sz="2700">
                <a:solidFill>
                  <a:srgbClr val="222222"/>
                </a:solidFill>
                <a:latin typeface="Segoe UI"/>
                <a:cs typeface="Leelawadee" panose="020B0502040204020203" pitchFamily="34" charset="-34"/>
              </a:rPr>
              <a:t> and perform dynamic </a:t>
            </a:r>
            <a:r>
              <a:rPr lang="en-US" sz="2700">
                <a:solidFill>
                  <a:srgbClr val="0B0080"/>
                </a:solidFill>
                <a:latin typeface="Segoe UI"/>
                <a:cs typeface="Leelawadee" panose="020B0502040204020203" pitchFamily="34" charset="-34"/>
                <a:hlinkClick r:id="rId8" tooltip="Data aggregation"/>
              </a:rPr>
              <a:t>aggregation</a:t>
            </a:r>
            <a:r>
              <a:rPr lang="en-US" sz="2700">
                <a:solidFill>
                  <a:srgbClr val="222222"/>
                </a:solidFill>
                <a:latin typeface="Segoe UI"/>
                <a:cs typeface="Leelawadee" panose="020B0502040204020203" pitchFamily="34" charset="-34"/>
              </a:rPr>
              <a:t>.</a:t>
            </a:r>
            <a:br>
              <a:rPr lang="en-US" sz="2700">
                <a:solidFill>
                  <a:srgbClr val="222222"/>
                </a:solidFill>
                <a:latin typeface="Segoe UI"/>
                <a:cs typeface="Leelawadee" panose="020B0502040204020203" pitchFamily="34" charset="-34"/>
              </a:rPr>
            </a:br>
            <a:br>
              <a:rPr lang="en-US" sz="2700">
                <a:solidFill>
                  <a:srgbClr val="222222"/>
                </a:solidFill>
                <a:latin typeface="Segoe UI"/>
                <a:cs typeface="Leelawadee" panose="020B0502040204020203" pitchFamily="34" charset="-34"/>
              </a:rPr>
            </a:br>
            <a:r>
              <a:rPr lang="en-US" sz="2700">
                <a:gradFill flip="none" rotWithShape="1">
                  <a:gsLst>
                    <a:gs pos="82000">
                      <a:srgbClr val="000000"/>
                    </a:gs>
                    <a:gs pos="0">
                      <a:srgbClr val="000000"/>
                    </a:gs>
                  </a:gsLst>
                  <a:lin ang="2700000" scaled="1"/>
                  <a:tileRect/>
                </a:gradFill>
                <a:latin typeface="Segoe UI"/>
                <a:cs typeface="Leelawadee" panose="020B0502040204020203" pitchFamily="34" charset="-34"/>
              </a:rPr>
              <a:t>Stated more simply, DAX helps you create new information from data already in your model.</a:t>
            </a:r>
            <a:endParaRPr lang="en-US">
              <a:gradFill flip="none" rotWithShape="1">
                <a:gsLst>
                  <a:gs pos="82000">
                    <a:srgbClr val="000000"/>
                  </a:gs>
                  <a:gs pos="0">
                    <a:srgbClr val="000000"/>
                  </a:gs>
                </a:gsLst>
                <a:lin ang="2700000" scaled="1"/>
                <a:tileRect/>
              </a:gradFill>
              <a:latin typeface="Segoe UI"/>
            </a:endParaRPr>
          </a:p>
        </p:txBody>
      </p:sp>
    </p:spTree>
    <p:extLst>
      <p:ext uri="{BB962C8B-B14F-4D97-AF65-F5344CB8AC3E}">
        <p14:creationId xmlns:p14="http://schemas.microsoft.com/office/powerpoint/2010/main" val="2487549369"/>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S</a:t>
                      </a:r>
                    </a:p>
                  </a:txBody>
                  <a:tcPr marL="91428" marR="91428" marT="45714" marB="45714">
                    <a:solidFill>
                      <a:srgbClr val="F2C811"/>
                    </a:solidFill>
                  </a:tcPr>
                </a:tc>
                <a:tc>
                  <a:txBody>
                    <a:bodyPr/>
                    <a:lstStyle/>
                    <a:p>
                      <a:r>
                        <a:rPr lang="en-US" sz="9600" err="1">
                          <a:solidFill>
                            <a:schemeClr val="tx1"/>
                          </a:solidFill>
                          <a:latin typeface="+mj-lt"/>
                        </a:rPr>
                        <a:t>impl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Q</a:t>
                      </a:r>
                    </a:p>
                  </a:txBody>
                  <a:tcPr marL="91428" marR="91428" marT="45714" marB="45714">
                    <a:solidFill>
                      <a:srgbClr val="F2C811"/>
                    </a:solidFill>
                  </a:tcPr>
                </a:tc>
                <a:tc>
                  <a:txBody>
                    <a:bodyPr/>
                    <a:lstStyle/>
                    <a:p>
                      <a:r>
                        <a:rPr lang="en-US" sz="9600" err="1">
                          <a:solidFill>
                            <a:schemeClr val="tx1"/>
                          </a:solidFill>
                          <a:latin typeface="+mj-lt"/>
                        </a:rPr>
                        <a:t>uery</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L</a:t>
                      </a:r>
                    </a:p>
                  </a:txBody>
                  <a:tcPr marL="91428" marR="91428" marT="45714" marB="45714">
                    <a:solidFill>
                      <a:srgbClr val="F2C811"/>
                    </a:solidFill>
                  </a:tcPr>
                </a:tc>
                <a:tc>
                  <a:txBody>
                    <a:bodyPr/>
                    <a:lstStyle/>
                    <a:p>
                      <a:r>
                        <a:rPr lang="en-US" sz="9600" err="1">
                          <a:solidFill>
                            <a:schemeClr val="tx1"/>
                          </a:solidFill>
                          <a:latin typeface="+mj-lt"/>
                        </a:rPr>
                        <a:t>anguage</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Query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34612347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endParaRPr lang="en-US" sz="9600" kern="1200">
                        <a:solidFill>
                          <a:schemeClr val="tx1"/>
                        </a:solidFill>
                        <a:latin typeface="+mj-lt"/>
                        <a:ea typeface="+mn-ea"/>
                        <a:cs typeface="+mn-cs"/>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8828955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9DD31B25-22A8-4E8E-AA57-BE5104CA33D7}"/>
              </a:ext>
            </a:extLst>
          </p:cNvPr>
          <p:cNvGraphicFramePr>
            <a:graphicFrameLocks noGrp="1"/>
          </p:cNvGraphicFramePr>
          <p:nvPr/>
        </p:nvGraphicFramePr>
        <p:xfrm>
          <a:off x="411480" y="731520"/>
          <a:ext cx="9681061" cy="6217872"/>
        </p:xfrm>
        <a:graphic>
          <a:graphicData uri="http://schemas.openxmlformats.org/drawingml/2006/table">
            <a:tbl>
              <a:tblPr firstRow="1" bandRow="1">
                <a:tableStyleId>{2D5ABB26-0587-4C30-8999-92F81FD0307C}</a:tableStyleId>
              </a:tblPr>
              <a:tblGrid>
                <a:gridCol w="705389">
                  <a:extLst>
                    <a:ext uri="{9D8B030D-6E8A-4147-A177-3AD203B41FA5}">
                      <a16:colId xmlns:a16="http://schemas.microsoft.com/office/drawing/2014/main" val="2078347244"/>
                    </a:ext>
                  </a:extLst>
                </a:gridCol>
                <a:gridCol w="1417774">
                  <a:extLst>
                    <a:ext uri="{9D8B030D-6E8A-4147-A177-3AD203B41FA5}">
                      <a16:colId xmlns:a16="http://schemas.microsoft.com/office/drawing/2014/main" val="3481974625"/>
                    </a:ext>
                  </a:extLst>
                </a:gridCol>
                <a:gridCol w="7557898">
                  <a:extLst>
                    <a:ext uri="{9D8B030D-6E8A-4147-A177-3AD203B41FA5}">
                      <a16:colId xmlns:a16="http://schemas.microsoft.com/office/drawing/2014/main" val="764360164"/>
                    </a:ext>
                  </a:extLst>
                </a:gridCol>
              </a:tblGrid>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D</a:t>
                      </a:r>
                    </a:p>
                  </a:txBody>
                  <a:tcPr marL="91428" marR="91428" marT="45714" marB="45714">
                    <a:solidFill>
                      <a:srgbClr val="F2C811"/>
                    </a:solidFill>
                  </a:tcPr>
                </a:tc>
                <a:tc>
                  <a:txBody>
                    <a:bodyPr/>
                    <a:lstStyle/>
                    <a:p>
                      <a:r>
                        <a:rPr lang="en-US" sz="9600" err="1">
                          <a:solidFill>
                            <a:schemeClr val="tx1"/>
                          </a:solidFill>
                          <a:latin typeface="+mj-lt"/>
                        </a:rPr>
                        <a:t>ata</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127189946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A</a:t>
                      </a:r>
                    </a:p>
                  </a:txBody>
                  <a:tcPr marL="91428" marR="91428" marT="45714" marB="45714">
                    <a:solidFill>
                      <a:srgbClr val="F2C811"/>
                    </a:solidFill>
                  </a:tcPr>
                </a:tc>
                <a:tc>
                  <a:txBody>
                    <a:bodyPr/>
                    <a:lstStyle/>
                    <a:p>
                      <a:r>
                        <a:rPr lang="en-US" sz="9600" err="1">
                          <a:solidFill>
                            <a:schemeClr val="tx1"/>
                          </a:solidFill>
                          <a:latin typeface="+mj-lt"/>
                        </a:rPr>
                        <a:t>nalysis</a:t>
                      </a:r>
                      <a:endParaRPr lang="en-US" sz="9600">
                        <a:solidFill>
                          <a:schemeClr val="tx1"/>
                        </a:solidFill>
                        <a:latin typeface="+mj-lt"/>
                      </a:endParaRPr>
                    </a:p>
                  </a:txBody>
                  <a:tcPr marL="91428" marR="91428" marT="45714" marB="45714"/>
                </a:tc>
                <a:extLst>
                  <a:ext uri="{0D108BD9-81ED-4DB2-BD59-A6C34878D82A}">
                    <a16:rowId xmlns:a16="http://schemas.microsoft.com/office/drawing/2014/main" val="483072485"/>
                  </a:ext>
                </a:extLst>
              </a:tr>
              <a:tr h="1554282">
                <a:tc>
                  <a:txBody>
                    <a:bodyPr/>
                    <a:lstStyle/>
                    <a:p>
                      <a:pPr algn="ctr"/>
                      <a:r>
                        <a:rPr lang="en-US" sz="9600" kern="1200">
                          <a:solidFill>
                            <a:schemeClr val="tx1"/>
                          </a:solidFill>
                          <a:latin typeface="+mj-lt"/>
                          <a:ea typeface="+mn-ea"/>
                          <a:cs typeface="+mn-cs"/>
                        </a:rPr>
                        <a:t>x</a:t>
                      </a:r>
                    </a:p>
                  </a:txBody>
                  <a:tcPr marL="91428" marR="91428" marT="45714" marB="45714"/>
                </a:tc>
                <a:tc>
                  <a:txBody>
                    <a:bodyPr/>
                    <a:lstStyle/>
                    <a:p>
                      <a:pPr algn="ctr"/>
                      <a:r>
                        <a:rPr lang="en-US" sz="9600" b="1">
                          <a:solidFill>
                            <a:schemeClr val="bg1"/>
                          </a:solidFill>
                          <a:latin typeface="Segoe UI Bold" panose="020B0802040204020203" pitchFamily="34" charset="0"/>
                          <a:ea typeface="Segoe UI Black" panose="020B0A02040204020203" pitchFamily="34" charset="0"/>
                          <a:cs typeface="Segoe UI Bold" panose="020B0802040204020203" pitchFamily="34" charset="0"/>
                        </a:rPr>
                        <a:t>X</a:t>
                      </a:r>
                    </a:p>
                  </a:txBody>
                  <a:tcPr marL="91428" marR="91428" marT="45714" marB="45714">
                    <a:solidFill>
                      <a:srgbClr val="F2C811"/>
                    </a:solidFill>
                  </a:tcPr>
                </a:tc>
                <a:tc>
                  <a:txBody>
                    <a:bodyPr/>
                    <a:lstStyle/>
                    <a:p>
                      <a:r>
                        <a:rPr lang="en-US" sz="9600">
                          <a:solidFill>
                            <a:schemeClr val="tx1"/>
                          </a:solidFill>
                          <a:latin typeface="+mj-lt"/>
                        </a:rPr>
                        <a:t>pressions</a:t>
                      </a:r>
                    </a:p>
                  </a:txBody>
                  <a:tcPr marL="91428" marR="91428" marT="45714" marB="45714"/>
                </a:tc>
                <a:extLst>
                  <a:ext uri="{0D108BD9-81ED-4DB2-BD59-A6C34878D82A}">
                    <a16:rowId xmlns:a16="http://schemas.microsoft.com/office/drawing/2014/main" val="1431239391"/>
                  </a:ext>
                </a:extLst>
              </a:tr>
              <a:tr h="1554282">
                <a:tc>
                  <a:txBody>
                    <a:bodyPr/>
                    <a:lstStyle/>
                    <a:p>
                      <a:pPr algn="ctr"/>
                      <a:endParaRPr lang="en-US" sz="80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pPr algn="ctr"/>
                      <a:endParaRPr lang="en-US" sz="9600" b="1">
                        <a:latin typeface="Segoe UI Bold" panose="020B0802040204020203" pitchFamily="34" charset="0"/>
                        <a:ea typeface="Segoe UI Black" panose="020B0A02040204020203" pitchFamily="34" charset="0"/>
                        <a:cs typeface="Segoe UI Bold" panose="020B0802040204020203" pitchFamily="34" charset="0"/>
                      </a:endParaRPr>
                    </a:p>
                  </a:txBody>
                  <a:tcPr marL="91428" marR="91428" marT="45714" marB="45714"/>
                </a:tc>
                <a:tc>
                  <a:txBody>
                    <a:bodyPr/>
                    <a:lstStyle/>
                    <a:p>
                      <a:r>
                        <a:rPr lang="en-US" sz="4400">
                          <a:solidFill>
                            <a:srgbClr val="F2C811"/>
                          </a:solidFill>
                          <a:latin typeface="+mj-lt"/>
                        </a:rPr>
                        <a:t>Formula Language</a:t>
                      </a:r>
                    </a:p>
                  </a:txBody>
                  <a:tcPr marL="91428" marR="91428" marT="45714" marB="45714"/>
                </a:tc>
                <a:extLst>
                  <a:ext uri="{0D108BD9-81ED-4DB2-BD59-A6C34878D82A}">
                    <a16:rowId xmlns:a16="http://schemas.microsoft.com/office/drawing/2014/main" val="3559013353"/>
                  </a:ext>
                </a:extLst>
              </a:tr>
            </a:tbl>
          </a:graphicData>
        </a:graphic>
      </p:graphicFrame>
    </p:spTree>
    <p:extLst>
      <p:ext uri="{BB962C8B-B14F-4D97-AF65-F5344CB8AC3E}">
        <p14:creationId xmlns:p14="http://schemas.microsoft.com/office/powerpoint/2010/main" val="40948546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110836796"/>
              </p:ext>
            </p:extLst>
          </p:nvPr>
        </p:nvGraphicFramePr>
        <p:xfrm>
          <a:off x="465954" y="1249885"/>
          <a:ext cx="11375188" cy="4210556"/>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518864">
                <a:tc gridSpan="3">
                  <a:txBody>
                    <a:bodyPr/>
                    <a:lstStyle/>
                    <a:p>
                      <a:r>
                        <a:rPr lang="en-US" sz="1800" b="0">
                          <a:solidFill>
                            <a:srgbClr val="191919"/>
                          </a:solidFill>
                          <a:latin typeface="+mj-lt"/>
                        </a:rPr>
                        <a:t>Morning</a:t>
                      </a:r>
                      <a:endParaRPr lang="en-IN" sz="1800" b="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8916">
                <a:tc>
                  <a:txBody>
                    <a:bodyPr/>
                    <a:lstStyle/>
                    <a:p>
                      <a:r>
                        <a:rPr lang="en-US" sz="1400" dirty="0">
                          <a:solidFill>
                            <a:schemeClr val="tx1"/>
                          </a:solidFill>
                        </a:rPr>
                        <a:t>8:00 AM – 8: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Introductions, setup and retrospective</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2388">
                <a:tc>
                  <a:txBody>
                    <a:bodyPr/>
                    <a:lstStyle/>
                    <a:p>
                      <a:r>
                        <a:rPr lang="en-US" sz="1400" dirty="0">
                          <a:solidFill>
                            <a:schemeClr val="tx1"/>
                          </a:solidFill>
                        </a:rPr>
                        <a:t>8:15 AM – 9:30 A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1"/>
                          </a:solidFill>
                        </a:rPr>
                        <a:t>Alex Powers</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chemeClr val="tx1"/>
                          </a:solidFill>
                        </a:rPr>
                        <a:t>Data prepar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8916">
                <a:tc>
                  <a:txBody>
                    <a:bodyPr/>
                    <a:lstStyle/>
                    <a:p>
                      <a:pPr marL="0" algn="l" defTabSz="951209" rtl="0" eaLnBrk="1" latinLnBrk="0" hangingPunct="1"/>
                      <a:r>
                        <a:rPr lang="en-US" sz="1400" kern="1200" dirty="0">
                          <a:solidFill>
                            <a:schemeClr val="tx1"/>
                          </a:solidFill>
                          <a:latin typeface="+mj-lt"/>
                          <a:ea typeface="+mn-ea"/>
                          <a:cs typeface="+mn-cs"/>
                        </a:rPr>
                        <a:t>9:30 AM – 10:00 A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33078290"/>
                  </a:ext>
                </a:extLst>
              </a:tr>
              <a:tr h="432388">
                <a:tc>
                  <a:txBody>
                    <a:bodyPr/>
                    <a:lstStyle/>
                    <a:p>
                      <a:r>
                        <a:rPr lang="en-US" sz="1400" dirty="0">
                          <a:solidFill>
                            <a:schemeClr val="tx1"/>
                          </a:solidFill>
                        </a:rPr>
                        <a:t>10: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n-lt"/>
                          <a:ea typeface="+mn-ea"/>
                          <a:cs typeface="+mn-cs"/>
                        </a:rPr>
                        <a:t>Patrick LeBlanc</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8916">
                <a:tc>
                  <a:txBody>
                    <a:bodyPr/>
                    <a:lstStyle/>
                    <a:p>
                      <a:pPr marL="0" algn="l" defTabSz="951209" rtl="0" eaLnBrk="1" latinLnBrk="0" hangingPunct="1"/>
                      <a:r>
                        <a:rPr lang="en-US" sz="1400" kern="1200" dirty="0">
                          <a:solidFill>
                            <a:schemeClr val="tx1"/>
                          </a:solidFill>
                          <a:latin typeface="+mj-lt"/>
                          <a:ea typeface="+mn-ea"/>
                          <a:cs typeface="+mn-cs"/>
                        </a:rPr>
                        <a:t>12:00 PM – 1:00 PM </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Break for lunch</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9600049"/>
                  </a:ext>
                </a:extLst>
              </a:tr>
              <a:tr h="518864">
                <a:tc gridSpan="3">
                  <a:txBody>
                    <a:bodyPr/>
                    <a:lstStyle/>
                    <a:p>
                      <a:pPr marL="0" algn="l" defTabSz="914367" rtl="0" eaLnBrk="1" latinLnBrk="0" hangingPunct="1"/>
                      <a:r>
                        <a:rPr lang="en-IN" sz="1800" b="0" kern="1200" dirty="0">
                          <a:solidFill>
                            <a:srgbClr val="191919"/>
                          </a:solidFill>
                          <a:latin typeface="+mj-lt"/>
                          <a:ea typeface="+mn-ea"/>
                          <a:cs typeface="+mn-cs"/>
                        </a:rPr>
                        <a:t>Afternoon</a:t>
                      </a: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2388">
                <a:tc>
                  <a:txBody>
                    <a:bodyPr/>
                    <a:lstStyle/>
                    <a:p>
                      <a:r>
                        <a:rPr lang="en-US" sz="1400" dirty="0">
                          <a:solidFill>
                            <a:schemeClr val="tx1"/>
                          </a:solidFill>
                        </a:rPr>
                        <a:t>1:00 PM – 2: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dirty="0">
                          <a:solidFill>
                            <a:schemeClr val="tx1"/>
                          </a:solidFill>
                          <a:latin typeface="+mn-lt"/>
                          <a:ea typeface="+mn-ea"/>
                          <a:cs typeface="+mn-cs"/>
                        </a:rPr>
                        <a:t>Adam Saxt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Data visualization</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68916">
                <a:tc>
                  <a:txBody>
                    <a:bodyPr/>
                    <a:lstStyle/>
                    <a:p>
                      <a:pPr marL="0" algn="l" defTabSz="951209" rtl="0" eaLnBrk="1" latinLnBrk="0" hangingPunct="1"/>
                      <a:r>
                        <a:rPr lang="en-IN" sz="1400" kern="1200" dirty="0">
                          <a:solidFill>
                            <a:schemeClr val="tx1"/>
                          </a:solidFill>
                          <a:latin typeface="+mj-lt"/>
                          <a:ea typeface="+mn-ea"/>
                          <a:cs typeface="+mn-cs"/>
                        </a:rPr>
                        <a:t>2:30 PM – 3:00 PM</a:t>
                      </a: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Closing thoughts and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5861836"/>
            <a:ext cx="11375188" cy="646331"/>
          </a:xfrm>
          <a:prstGeom prst="rect">
            <a:avLst/>
          </a:prstGeom>
          <a:noFill/>
          <a:ln w="3175">
            <a:solidFill>
              <a:schemeClr val="tx1"/>
            </a:solidFill>
          </a:ln>
        </p:spPr>
        <p:txBody>
          <a:bodyPr wrap="square">
            <a:spAutoFit/>
          </a:bodyPr>
          <a:lstStyle/>
          <a:p>
            <a:r>
              <a:rPr lang="en-US" b="0" i="0" dirty="0">
                <a:solidFill>
                  <a:srgbClr val="24292F"/>
                </a:solidFill>
                <a:effectLst/>
                <a:latin typeface="-apple-system"/>
              </a:rPr>
              <a:t>This workshop assumes that you have a working knowledge of report authoring using Power BI Desktop and content sharing via the Power BI service.</a:t>
            </a:r>
            <a:endParaRPr lang="en-US" dirty="0"/>
          </a:p>
        </p:txBody>
      </p:sp>
    </p:spTree>
    <p:extLst>
      <p:ext uri="{BB962C8B-B14F-4D97-AF65-F5344CB8AC3E}">
        <p14:creationId xmlns:p14="http://schemas.microsoft.com/office/powerpoint/2010/main" val="59032482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valuation Context</a:t>
            </a:r>
            <a:endParaRPr lang="en-US">
              <a:gradFill>
                <a:gsLst>
                  <a:gs pos="1250">
                    <a:srgbClr val="000000"/>
                  </a:gs>
                  <a:gs pos="100000">
                    <a:srgbClr val="000000"/>
                  </a:gs>
                </a:gsLst>
                <a:lin ang="5400000" scaled="0"/>
              </a:gradFill>
            </a:endParaRPr>
          </a:p>
        </p:txBody>
      </p:sp>
      <p:pic>
        <p:nvPicPr>
          <p:cNvPr id="6" name="Picture 6" descr="Graphical user interface, text&#10;&#10;Description automatically generated">
            <a:extLst>
              <a:ext uri="{FF2B5EF4-FFF2-40B4-BE49-F238E27FC236}">
                <a16:creationId xmlns:a16="http://schemas.microsoft.com/office/drawing/2014/main" id="{376A7297-78C5-4806-A55C-BB5954D7E0FC}"/>
              </a:ext>
            </a:extLst>
          </p:cNvPr>
          <p:cNvPicPr>
            <a:picLocks noChangeAspect="1"/>
          </p:cNvPicPr>
          <p:nvPr/>
        </p:nvPicPr>
        <p:blipFill>
          <a:blip r:embed="rId2"/>
          <a:stretch>
            <a:fillRect/>
          </a:stretch>
        </p:blipFill>
        <p:spPr>
          <a:xfrm>
            <a:off x="1318869" y="1491170"/>
            <a:ext cx="3154049" cy="3928927"/>
          </a:xfrm>
          <a:prstGeom prst="rect">
            <a:avLst/>
          </a:prstGeom>
        </p:spPr>
      </p:pic>
      <p:sp>
        <p:nvSpPr>
          <p:cNvPr id="7" name="TextBox 6">
            <a:extLst>
              <a:ext uri="{FF2B5EF4-FFF2-40B4-BE49-F238E27FC236}">
                <a16:creationId xmlns:a16="http://schemas.microsoft.com/office/drawing/2014/main" id="{556D46E1-38D9-4BFE-95B6-9CC23533A443}"/>
              </a:ext>
            </a:extLst>
          </p:cNvPr>
          <p:cNvSpPr txBox="1"/>
          <p:nvPr/>
        </p:nvSpPr>
        <p:spPr>
          <a:xfrm>
            <a:off x="4962646" y="1894484"/>
            <a:ext cx="6019715" cy="5847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649">
              <a:defRPr/>
            </a:pPr>
            <a:r>
              <a:rPr lang="en-US">
                <a:solidFill>
                  <a:srgbClr val="000000"/>
                </a:solidFill>
                <a:latin typeface="Segoe UI Semibold"/>
                <a:cs typeface="Segoe UI Semibold"/>
              </a:rPr>
              <a:t>Chapter 5: Understanding Evaluation Contexts in DAX</a:t>
            </a:r>
            <a:endParaRPr lang="en-US">
              <a:solidFill>
                <a:srgbClr val="000000"/>
              </a:solidFill>
              <a:latin typeface="Segoe UI"/>
            </a:endParaRPr>
          </a:p>
          <a:p>
            <a:pPr defTabSz="932649">
              <a:defRPr/>
            </a:pPr>
            <a:endParaRPr lang="en-US" sz="2000">
              <a:solidFill>
                <a:srgbClr val="000000"/>
              </a:solidFill>
              <a:latin typeface="Segoe UI Semibold"/>
              <a:cs typeface="Segoe UI"/>
            </a:endParaRPr>
          </a:p>
        </p:txBody>
      </p:sp>
      <p:sp>
        <p:nvSpPr>
          <p:cNvPr id="8" name="Text Placeholder 2">
            <a:extLst>
              <a:ext uri="{FF2B5EF4-FFF2-40B4-BE49-F238E27FC236}">
                <a16:creationId xmlns:a16="http://schemas.microsoft.com/office/drawing/2014/main" id="{99B4D250-081B-4E44-BE05-DF28C637B386}"/>
              </a:ext>
            </a:extLst>
          </p:cNvPr>
          <p:cNvSpPr txBox="1">
            <a:spLocks/>
          </p:cNvSpPr>
          <p:nvPr/>
        </p:nvSpPr>
        <p:spPr>
          <a:xfrm>
            <a:off x="4872635" y="2414398"/>
            <a:ext cx="6019551" cy="2162717"/>
          </a:xfrm>
        </p:spPr>
        <p:txBody>
          <a:bodyPr lIns="91428" tIns="45714" rIns="91428" bIns="45714" anchor="t">
            <a:normAutofit fontScale="70000" lnSpcReduction="20000"/>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649">
              <a:defRPr/>
            </a:pPr>
            <a:r>
              <a:rPr lang="en-US" sz="2000">
                <a:solidFill>
                  <a:srgbClr val="000000">
                    <a:lumMod val="50000"/>
                    <a:lumOff val="50000"/>
                  </a:srgbClr>
                </a:solidFill>
                <a:latin typeface="Segoe UI"/>
                <a:cs typeface="Segoe UI"/>
              </a:rPr>
              <a:t>Evaluation contexts play an important role with the usage of the function CALCULATE, which is probably </a:t>
            </a:r>
            <a:r>
              <a:rPr lang="en-US" sz="2200" b="1">
                <a:gradFill>
                  <a:gsLst>
                    <a:gs pos="2917">
                      <a:srgbClr val="505050"/>
                    </a:gs>
                    <a:gs pos="30000">
                      <a:srgbClr val="505050"/>
                    </a:gs>
                  </a:gsLst>
                  <a:lin ang="5400000" scaled="0"/>
                </a:gradFill>
                <a:latin typeface="Segoe UI"/>
              </a:rPr>
              <a:t>the most powerful and hard-to-learn function in DAX</a:t>
            </a:r>
            <a:r>
              <a:rPr lang="en-US" sz="2000">
                <a:solidFill>
                  <a:srgbClr val="000000">
                    <a:lumMod val="50000"/>
                    <a:lumOff val="50000"/>
                  </a:srgbClr>
                </a:solidFill>
                <a:latin typeface="Segoe UI"/>
                <a:cs typeface="Segoe UI"/>
              </a:rPr>
              <a:t>.</a:t>
            </a:r>
          </a:p>
          <a:p>
            <a:pPr defTabSz="932649">
              <a:defRPr/>
            </a:pPr>
            <a:endParaRPr lang="en-US" sz="2000">
              <a:solidFill>
                <a:srgbClr val="000000">
                  <a:lumMod val="50000"/>
                  <a:lumOff val="50000"/>
                </a:srgbClr>
              </a:solidFill>
              <a:latin typeface="Segoe UI"/>
              <a:cs typeface="Segoe UI"/>
            </a:endParaRPr>
          </a:p>
          <a:p>
            <a:pPr defTabSz="932649">
              <a:defRPr/>
            </a:pPr>
            <a:r>
              <a:rPr lang="en-US" sz="2000">
                <a:solidFill>
                  <a:srgbClr val="000000">
                    <a:lumMod val="50000"/>
                    <a:lumOff val="50000"/>
                  </a:srgbClr>
                </a:solidFill>
                <a:latin typeface="Segoe UI"/>
                <a:cs typeface="Segoe UI"/>
              </a:rPr>
              <a:t>Understanding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without having a solid background on evaluation context is problematic. On the other hand, understanding the importance of evaluation contexts without having ever tried to use </a:t>
            </a:r>
            <a:r>
              <a:rPr lang="en-US" sz="2100" b="1">
                <a:gradFill>
                  <a:gsLst>
                    <a:gs pos="2917">
                      <a:srgbClr val="505050"/>
                    </a:gs>
                    <a:gs pos="30000">
                      <a:srgbClr val="505050"/>
                    </a:gs>
                  </a:gsLst>
                  <a:lin ang="5400000" scaled="0"/>
                </a:gradFill>
                <a:latin typeface="Segoe UI"/>
              </a:rPr>
              <a:t>CALCULATE</a:t>
            </a:r>
            <a:r>
              <a:rPr lang="en-US" sz="2000">
                <a:solidFill>
                  <a:srgbClr val="000000">
                    <a:lumMod val="50000"/>
                    <a:lumOff val="50000"/>
                  </a:srgbClr>
                </a:solidFill>
                <a:latin typeface="Segoe UI"/>
                <a:cs typeface="Segoe UI"/>
              </a:rPr>
              <a:t> is nearly impossible. Thus, this chapter and the subsequent one are the two that, in our experience with the previous books we have written, are always marked up and have the corners of pages folded over.</a:t>
            </a:r>
            <a:endParaRPr lang="en-US">
              <a:solidFill>
                <a:srgbClr val="000000">
                  <a:lumMod val="50000"/>
                  <a:lumOff val="50000"/>
                </a:srgbClr>
              </a:solidFill>
              <a:latin typeface="Segoe UI"/>
              <a:cs typeface="Segoe UI"/>
            </a:endParaRPr>
          </a:p>
        </p:txBody>
      </p:sp>
    </p:spTree>
    <p:extLst>
      <p:ext uri="{BB962C8B-B14F-4D97-AF65-F5344CB8AC3E}">
        <p14:creationId xmlns:p14="http://schemas.microsoft.com/office/powerpoint/2010/main" val="24083425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11" name="Content Placeholder 2">
            <a:extLst>
              <a:ext uri="{FF2B5EF4-FFF2-40B4-BE49-F238E27FC236}">
                <a16:creationId xmlns:a16="http://schemas.microsoft.com/office/drawing/2014/main" id="{23E871F1-61C9-4F70-BBE2-2A8B30A9FDB6}"/>
              </a:ext>
            </a:extLst>
          </p:cNvPr>
          <p:cNvSpPr>
            <a:spLocks noGrp="1"/>
          </p:cNvSpPr>
          <p:nvPr>
            <p:ph idx="1"/>
          </p:nvPr>
        </p:nvSpPr>
        <p:spPr>
          <a:xfrm>
            <a:off x="855768" y="1631427"/>
            <a:ext cx="10724938" cy="4663563"/>
          </a:xfrm>
        </p:spPr>
        <p:txBody>
          <a:bodyPr>
            <a:normAutofit fontScale="92500" lnSpcReduction="20000"/>
          </a:bodyPr>
          <a:lstStyle/>
          <a:p>
            <a:r>
              <a:rPr lang="en-US" sz="2800">
                <a:solidFill>
                  <a:srgbClr val="000000"/>
                </a:solidFill>
                <a:latin typeface="Segoe UI" panose="020B0502040204020203" pitchFamily="34" charset="0"/>
              </a:rPr>
              <a:t>SUM</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I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AX</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AVERAG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MEDI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NCATENATE</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COUNTA</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GEOMEAN</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PRODUCT</a:t>
            </a:r>
            <a:r>
              <a:rPr lang="en-US" sz="2800" b="1">
                <a:solidFill>
                  <a:srgbClr val="000000"/>
                </a:solidFill>
                <a:latin typeface="Segoe UI" panose="020B0502040204020203" pitchFamily="34" charset="0"/>
              </a:rPr>
              <a:t>X</a:t>
            </a:r>
          </a:p>
          <a:p>
            <a:r>
              <a:rPr lang="en-US" sz="2800">
                <a:solidFill>
                  <a:srgbClr val="000000"/>
                </a:solidFill>
                <a:latin typeface="Segoe UI" panose="020B0502040204020203" pitchFamily="34" charset="0"/>
              </a:rPr>
              <a:t>RANK</a:t>
            </a:r>
            <a:r>
              <a:rPr lang="en-US" sz="2800" b="1">
                <a:solidFill>
                  <a:srgbClr val="000000"/>
                </a:solidFill>
                <a:latin typeface="Segoe UI" panose="020B0502040204020203" pitchFamily="34" charset="0"/>
              </a:rPr>
              <a:t>X</a:t>
            </a:r>
          </a:p>
        </p:txBody>
      </p:sp>
      <p:sp>
        <p:nvSpPr>
          <p:cNvPr id="8" name="TextBox 7">
            <a:extLst>
              <a:ext uri="{FF2B5EF4-FFF2-40B4-BE49-F238E27FC236}">
                <a16:creationId xmlns:a16="http://schemas.microsoft.com/office/drawing/2014/main" id="{EF66A8D2-13FB-439F-AEB9-134463ABC123}"/>
              </a:ext>
            </a:extLst>
          </p:cNvPr>
          <p:cNvSpPr txBox="1"/>
          <p:nvPr/>
        </p:nvSpPr>
        <p:spPr>
          <a:xfrm>
            <a:off x="5920289" y="3132211"/>
            <a:ext cx="5024160" cy="1661993"/>
          </a:xfrm>
          <a:prstGeom prst="rect">
            <a:avLst/>
          </a:prstGeom>
          <a:noFill/>
          <a:ln w="3175">
            <a:solidFill>
              <a:schemeClr val="bg1">
                <a:lumMod val="50000"/>
              </a:schemeClr>
            </a:solidFill>
          </a:ln>
        </p:spPr>
        <p:txBody>
          <a:bodyPr wrap="square" lIns="0" tIns="0" rIns="0" bIns="0" rtlCol="0">
            <a:spAutoFit/>
          </a:bodyPr>
          <a:lstStyle/>
          <a:p>
            <a:pPr algn="ctr"/>
            <a:r>
              <a:rPr lang="en-US" sz="3600" b="0" i="0">
                <a:solidFill>
                  <a:srgbClr val="171717"/>
                </a:solidFill>
                <a:effectLst/>
                <a:latin typeface="Segoe UI" panose="020B0502040204020203" pitchFamily="34" charset="0"/>
              </a:rPr>
              <a:t>The </a:t>
            </a:r>
            <a:r>
              <a:rPr lang="en-US" sz="3600" b="1">
                <a:solidFill>
                  <a:schemeClr val="tx1">
                    <a:lumMod val="50000"/>
                    <a:lumOff val="50000"/>
                  </a:schemeClr>
                </a:solidFill>
                <a:latin typeface="Segoe UI" panose="020B0502040204020203" pitchFamily="34" charset="0"/>
                <a:cs typeface="Segoe UI" panose="020B0502040204020203" pitchFamily="34" charset="0"/>
              </a:rPr>
              <a:t>expression</a:t>
            </a:r>
            <a:r>
              <a:rPr lang="en-US" sz="3600" b="0" i="0">
                <a:solidFill>
                  <a:srgbClr val="171717"/>
                </a:solidFill>
                <a:effectLst/>
                <a:latin typeface="Segoe UI" panose="020B0502040204020203" pitchFamily="34" charset="0"/>
              </a:rPr>
              <a:t> to be evaluated for each </a:t>
            </a:r>
            <a:r>
              <a:rPr lang="en-US" sz="3600" b="1">
                <a:solidFill>
                  <a:schemeClr val="tx1">
                    <a:lumMod val="50000"/>
                    <a:lumOff val="50000"/>
                  </a:schemeClr>
                </a:solidFill>
                <a:latin typeface="Segoe UI" panose="020B0502040204020203" pitchFamily="34" charset="0"/>
                <a:cs typeface="Segoe UI" panose="020B0502040204020203" pitchFamily="34" charset="0"/>
              </a:rPr>
              <a:t>row</a:t>
            </a:r>
            <a:r>
              <a:rPr lang="en-US" sz="3600" b="0" i="0">
                <a:solidFill>
                  <a:srgbClr val="171717"/>
                </a:solidFill>
                <a:effectLst/>
                <a:latin typeface="Segoe UI" panose="020B0502040204020203" pitchFamily="34" charset="0"/>
              </a:rPr>
              <a:t> of the table.</a:t>
            </a:r>
            <a:endParaRPr lang="en-US" sz="3600"/>
          </a:p>
        </p:txBody>
      </p:sp>
    </p:spTree>
    <p:extLst>
      <p:ext uri="{BB962C8B-B14F-4D97-AF65-F5344CB8AC3E}">
        <p14:creationId xmlns:p14="http://schemas.microsoft.com/office/powerpoint/2010/main" val="16463848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9EB49BF3-FED1-4510-BCC7-7712E6943228}"/>
              </a:ext>
            </a:extLst>
          </p:cNvPr>
          <p:cNvSpPr>
            <a:spLocks noGrp="1"/>
          </p:cNvSpPr>
          <p:nvPr>
            <p:ph idx="1"/>
          </p:nvPr>
        </p:nvSpPr>
        <p:spPr>
          <a:xfrm>
            <a:off x="855768" y="1631427"/>
            <a:ext cx="10724938" cy="4663563"/>
          </a:xfrm>
        </p:spPr>
        <p:txBody>
          <a:bodyPr>
            <a:normAutofit/>
          </a:bodyPr>
          <a:lstStyle/>
          <a:p>
            <a:pPr marL="0" indent="0">
              <a:buNone/>
            </a:pPr>
            <a:r>
              <a:rPr lang="en-US" sz="3200">
                <a:solidFill>
                  <a:srgbClr val="000000"/>
                </a:solidFill>
                <a:latin typeface="Segoe UI" panose="020B0502040204020203" pitchFamily="34" charset="0"/>
              </a:rPr>
              <a:t>Total Sales Amount =</a:t>
            </a:r>
          </a:p>
          <a:p>
            <a:pPr marL="0" indent="0">
              <a:buNone/>
            </a:pPr>
            <a:r>
              <a:rPr lang="en-US" sz="3200">
                <a:solidFill>
                  <a:srgbClr val="000000"/>
                </a:solidFill>
                <a:latin typeface="Segoe UI" panose="020B0502040204020203" pitchFamily="34" charset="0"/>
              </a:rPr>
              <a:t>SUMX(</a:t>
            </a:r>
          </a:p>
          <a:p>
            <a:pPr marL="0" indent="0">
              <a:buNone/>
            </a:pPr>
            <a:r>
              <a:rPr lang="en-US" sz="3200">
                <a:solidFill>
                  <a:srgbClr val="000000"/>
                </a:solidFill>
                <a:latin typeface="Segoe UI" panose="020B0502040204020203" pitchFamily="34" charset="0"/>
              </a:rPr>
              <a:t>	‘Internet Sales’,</a:t>
            </a:r>
          </a:p>
          <a:p>
            <a:pPr marL="0" indent="0">
              <a:buNone/>
            </a:pPr>
            <a:r>
              <a:rPr lang="en-US" sz="3200">
                <a:solidFill>
                  <a:srgbClr val="000000"/>
                </a:solidFill>
                <a:latin typeface="Segoe UI" panose="020B0502040204020203" pitchFamily="34" charset="0"/>
              </a:rPr>
              <a:t>	‘Internet Sales’[Quantity] * ‘Internet Sales’[Net Price]</a:t>
            </a:r>
          </a:p>
          <a:p>
            <a:pPr marL="0" indent="0">
              <a:buNone/>
            </a:pPr>
            <a:r>
              <a:rPr lang="en-US" sz="32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5679139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1A0F2BDC-68D3-4451-A24C-6972D45DCD87}"/>
              </a:ext>
            </a:extLst>
          </p:cNvPr>
          <p:cNvSpPr>
            <a:spLocks noGrp="1"/>
          </p:cNvSpPr>
          <p:nvPr>
            <p:ph idx="1"/>
          </p:nvPr>
        </p:nvSpPr>
        <p:spPr>
          <a:xfrm>
            <a:off x="855768" y="1631427"/>
            <a:ext cx="10724938" cy="4663563"/>
          </a:xfrm>
        </p:spPr>
        <p:txBody>
          <a:bodyPr>
            <a:normAutofit fontScale="92500" lnSpcReduction="10000"/>
          </a:bodyPr>
          <a:lstStyle/>
          <a:p>
            <a:pPr marL="0" indent="0">
              <a:buNone/>
            </a:pPr>
            <a:r>
              <a:rPr lang="en-US" sz="2000">
                <a:solidFill>
                  <a:srgbClr val="000000"/>
                </a:solidFill>
                <a:latin typeface="Segoe UI" panose="020B0502040204020203" pitchFamily="34" charset="0"/>
              </a:rPr>
              <a:t>Total Sales Amount </a:t>
            </a:r>
            <a:r>
              <a:rPr lang="en-US" sz="2000" b="1">
                <a:solidFill>
                  <a:srgbClr val="FF0000"/>
                </a:solidFill>
                <a:latin typeface="Segoe UI" panose="020B0502040204020203" pitchFamily="34" charset="0"/>
              </a:rPr>
              <a:t>Not Good</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SUMX(</a:t>
            </a:r>
          </a:p>
          <a:p>
            <a:pPr marL="0" indent="0">
              <a:buNone/>
            </a:pPr>
            <a:r>
              <a:rPr lang="en-US" sz="2000">
                <a:solidFill>
                  <a:srgbClr val="000000"/>
                </a:solidFill>
                <a:latin typeface="Segoe UI" panose="020B0502040204020203" pitchFamily="34" charset="0"/>
              </a:rPr>
              <a:t>	VALUES(‘Products’),</a:t>
            </a:r>
          </a:p>
          <a:p>
            <a:pPr marL="0" indent="0">
              <a:buNone/>
            </a:pPr>
            <a:r>
              <a:rPr lang="en-US" sz="2000">
                <a:solidFill>
                  <a:srgbClr val="000000"/>
                </a:solidFill>
                <a:latin typeface="Segoe UI" panose="020B0502040204020203" pitchFamily="34" charset="0"/>
              </a:rPr>
              <a:t>	SUMX(</a:t>
            </a:r>
          </a:p>
          <a:p>
            <a:pPr marL="0" indent="0">
              <a:buNone/>
            </a:pPr>
            <a:r>
              <a:rPr lang="en-US" sz="2000">
                <a:solidFill>
                  <a:srgbClr val="000000"/>
                </a:solidFill>
                <a:latin typeface="Segoe UI" panose="020B0502040204020203" pitchFamily="34" charset="0"/>
              </a:rPr>
              <a:t>	   ‘Internet Sales’,</a:t>
            </a:r>
          </a:p>
          <a:p>
            <a:pPr marL="0" indent="0">
              <a:buNone/>
            </a:pPr>
            <a:r>
              <a:rPr lang="en-US" sz="2000">
                <a:solidFill>
                  <a:srgbClr val="000000"/>
                </a:solidFill>
                <a:latin typeface="Segoe UI" panose="020B0502040204020203" pitchFamily="34" charset="0"/>
              </a:rPr>
              <a:t>	IF (</a:t>
            </a:r>
          </a:p>
          <a:p>
            <a:pPr marL="0" indent="0">
              <a:buNone/>
            </a:pPr>
            <a:r>
              <a:rPr lang="en-US" sz="2000">
                <a:solidFill>
                  <a:srgbClr val="000000"/>
                </a:solidFill>
                <a:latin typeface="Segoe UI" panose="020B0502040204020203" pitchFamily="34" charset="0"/>
              </a:rPr>
              <a:t>	‘Internet Sales’[</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 = ‘Product’[</a:t>
            </a:r>
            <a:r>
              <a:rPr lang="en-US" sz="2000" err="1">
                <a:solidFill>
                  <a:srgbClr val="000000"/>
                </a:solidFill>
                <a:latin typeface="Segoe UI" panose="020B0502040204020203" pitchFamily="34" charset="0"/>
              </a:rPr>
              <a:t>ProductKey</a:t>
            </a:r>
            <a:r>
              <a:rPr lang="en-US" sz="2000">
                <a:solidFill>
                  <a:srgbClr val="000000"/>
                </a:solidFill>
                <a:latin typeface="Segoe UI" panose="020B0502040204020203" pitchFamily="34" charset="0"/>
              </a:rPr>
              <a:t>],</a:t>
            </a:r>
          </a:p>
          <a:p>
            <a:pPr marL="0" indent="0">
              <a:buNone/>
            </a:pPr>
            <a:r>
              <a:rPr lang="en-US" sz="2000">
                <a:solidFill>
                  <a:srgbClr val="000000"/>
                </a:solidFill>
                <a:latin typeface="Segoe UI" panose="020B0502040204020203" pitchFamily="34" charset="0"/>
              </a:rPr>
              <a:t>	Product[Unit Price] * ‘Internet Sales’[Quantity],</a:t>
            </a:r>
          </a:p>
          <a:p>
            <a:pPr marL="0" indent="0">
              <a:buNone/>
            </a:pPr>
            <a:r>
              <a:rPr lang="en-US" sz="2000">
                <a:solidFill>
                  <a:srgbClr val="000000"/>
                </a:solidFill>
                <a:latin typeface="Segoe UI" panose="020B0502040204020203" pitchFamily="34" charset="0"/>
              </a:rPr>
              <a:t>	0</a:t>
            </a:r>
          </a:p>
          <a:p>
            <a:pPr marL="0" indent="0">
              <a:buNone/>
            </a:pPr>
            <a:r>
              <a:rPr lang="en-US" sz="2000">
                <a:solidFill>
                  <a:srgbClr val="000000"/>
                </a:solidFill>
                <a:latin typeface="Segoe UI" panose="020B0502040204020203" pitchFamily="34" charset="0"/>
              </a:rPr>
              <a:t>	)</a:t>
            </a:r>
          </a:p>
          <a:p>
            <a:pPr marL="0" indent="0">
              <a:buNone/>
            </a:pPr>
            <a:r>
              <a:rPr lang="en-US" sz="2000">
                <a:solidFill>
                  <a:srgbClr val="000000"/>
                </a:solidFill>
                <a:latin typeface="Segoe UI" panose="020B0502040204020203" pitchFamily="34" charset="0"/>
              </a:rPr>
              <a:t>       )	</a:t>
            </a:r>
          </a:p>
          <a:p>
            <a:pPr marL="0" indent="0">
              <a:buNone/>
            </a:pPr>
            <a:r>
              <a:rPr lang="en-US" sz="20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13343807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terator Funct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B34F89F5-E14F-493B-9EC5-A5E9BA93DEEC}"/>
              </a:ext>
            </a:extLst>
          </p:cNvPr>
          <p:cNvSpPr>
            <a:spLocks noGrp="1"/>
          </p:cNvSpPr>
          <p:nvPr>
            <p:ph idx="1"/>
          </p:nvPr>
        </p:nvSpPr>
        <p:spPr>
          <a:xfrm>
            <a:off x="855768" y="1631427"/>
            <a:ext cx="10724938" cy="4663563"/>
          </a:xfrm>
        </p:spPr>
        <p:txBody>
          <a:bodyPr>
            <a:normAutofit/>
          </a:bodyPr>
          <a:lstStyle/>
          <a:p>
            <a:pPr marL="0" indent="0">
              <a:buNone/>
            </a:pPr>
            <a:r>
              <a:rPr lang="en-US" sz="2800">
                <a:solidFill>
                  <a:srgbClr val="000000"/>
                </a:solidFill>
                <a:latin typeface="Segoe UI" panose="020B0502040204020203" pitchFamily="34" charset="0"/>
              </a:rPr>
              <a:t>Total Sales Amount Better =</a:t>
            </a:r>
          </a:p>
          <a:p>
            <a:pPr marL="0" indent="0">
              <a:buNone/>
            </a:pPr>
            <a:r>
              <a:rPr lang="en-US" sz="2800">
                <a:solidFill>
                  <a:srgbClr val="000000"/>
                </a:solidFill>
                <a:latin typeface="Segoe UI" panose="020B0502040204020203" pitchFamily="34" charset="0"/>
              </a:rPr>
              <a:t>SUMX(</a:t>
            </a:r>
          </a:p>
          <a:p>
            <a:pPr marL="0" indent="0">
              <a:buNone/>
            </a:pPr>
            <a:r>
              <a:rPr lang="en-US" sz="2800">
                <a:solidFill>
                  <a:srgbClr val="000000"/>
                </a:solidFill>
                <a:latin typeface="Segoe UI" panose="020B0502040204020203" pitchFamily="34" charset="0"/>
              </a:rPr>
              <a:t>	‘Internet Sales’,</a:t>
            </a:r>
          </a:p>
          <a:p>
            <a:pPr marL="0" indent="0">
              <a:buNone/>
            </a:pPr>
            <a:r>
              <a:rPr lang="en-US" sz="2800">
                <a:solidFill>
                  <a:srgbClr val="000000"/>
                </a:solidFill>
                <a:latin typeface="Segoe UI" panose="020B0502040204020203" pitchFamily="34" charset="0"/>
              </a:rPr>
              <a:t>	‘Internet Sales’[Quantity] * RELATED(‘Product’[Net Price])</a:t>
            </a:r>
          </a:p>
          <a:p>
            <a:pPr marL="0" indent="0">
              <a:buNone/>
            </a:pPr>
            <a:r>
              <a:rPr lang="en-US" sz="2800">
                <a:solidFill>
                  <a:srgbClr val="000000"/>
                </a:solidFill>
                <a:latin typeface="Segoe UI" panose="020B0502040204020203" pitchFamily="34" charset="0"/>
              </a:rPr>
              <a:t>)</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If Internet Sales has 2 million rows and Product has 300 rows, how many times will the expression be evaluated?</a:t>
            </a:r>
            <a:endParaRPr lang="en-US" sz="1800">
              <a:solidFill>
                <a:srgbClr val="000000"/>
              </a:solidFill>
              <a:latin typeface="Segoe UI" panose="020B0502040204020203" pitchFamily="34" charset="0"/>
            </a:endParaRPr>
          </a:p>
        </p:txBody>
      </p:sp>
    </p:spTree>
    <p:extLst>
      <p:ext uri="{BB962C8B-B14F-4D97-AF65-F5344CB8AC3E}">
        <p14:creationId xmlns:p14="http://schemas.microsoft.com/office/powerpoint/2010/main" val="34379242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68C6B870-465C-45BD-B0CC-F579C032972B}"/>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You have a row context whenever you iterate a table, either explicitly (using an iterator) or implicitly (in a calculated column):</a:t>
            </a:r>
          </a:p>
          <a:p>
            <a:pPr lvl="1"/>
            <a:r>
              <a:rPr lang="en-US" sz="1428">
                <a:solidFill>
                  <a:srgbClr val="000000"/>
                </a:solidFill>
                <a:latin typeface="Segoe UI" panose="020B0502040204020203" pitchFamily="34" charset="0"/>
                <a:cs typeface="Segoe UI" panose="020B0502040204020203" pitchFamily="34" charset="0"/>
              </a:rPr>
              <a:t>When you write an expression in a calculated column, the expression is evaluated for each row of the table, creating a row context for each row.</a:t>
            </a:r>
          </a:p>
          <a:p>
            <a:pPr lvl="1"/>
            <a:r>
              <a:rPr lang="en-US" sz="1428">
                <a:solidFill>
                  <a:srgbClr val="000000"/>
                </a:solidFill>
                <a:latin typeface="Segoe UI" panose="020B0502040204020203" pitchFamily="34" charset="0"/>
                <a:cs typeface="Segoe UI" panose="020B0502040204020203" pitchFamily="34" charset="0"/>
              </a:rPr>
              <a:t>When you use an iterator like </a:t>
            </a:r>
            <a:r>
              <a:rPr lang="en-US" sz="1428" b="1" u="sng">
                <a:solidFill>
                  <a:schemeClr val="tx1">
                    <a:lumMod val="50000"/>
                    <a:lumOff val="50000"/>
                  </a:schemeClr>
                </a:solidFill>
                <a:latin typeface="Segoe UI" panose="020B0502040204020203" pitchFamily="34" charset="0"/>
                <a:cs typeface="Segoe UI" panose="020B0502040204020203" pitchFamily="34" charset="0"/>
              </a:rPr>
              <a:t>FILTER</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SUM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VERAGEX</a:t>
            </a:r>
            <a:r>
              <a:rPr lang="en-US" sz="1428">
                <a:solidFill>
                  <a:srgbClr val="000000"/>
                </a:solidFill>
                <a:latin typeface="Segoe UI" panose="020B0502040204020203" pitchFamily="34" charset="0"/>
                <a:cs typeface="Segoe UI" panose="020B0502040204020203" pitchFamily="34" charset="0"/>
              </a:rPr>
              <a:t>, </a:t>
            </a:r>
            <a:r>
              <a:rPr lang="en-US" sz="1428" b="1" u="sng">
                <a:solidFill>
                  <a:schemeClr val="tx1">
                    <a:lumMod val="50000"/>
                    <a:lumOff val="50000"/>
                  </a:schemeClr>
                </a:solidFill>
                <a:latin typeface="Segoe UI" panose="020B0502040204020203" pitchFamily="34" charset="0"/>
                <a:cs typeface="Segoe UI" panose="020B0502040204020203" pitchFamily="34" charset="0"/>
              </a:rPr>
              <a:t>ADDCOLUMNS</a:t>
            </a:r>
            <a:r>
              <a:rPr lang="en-US" sz="1428">
                <a:solidFill>
                  <a:srgbClr val="000000"/>
                </a:solidFill>
                <a:latin typeface="Segoe UI" panose="020B0502040204020203" pitchFamily="34" charset="0"/>
                <a:cs typeface="Segoe UI" panose="020B0502040204020203" pitchFamily="34" charset="0"/>
              </a:rPr>
              <a:t>, or any one of the DAX functions that iterate over a table expression.</a:t>
            </a:r>
          </a:p>
          <a:p>
            <a:pPr lvl="1" indent="0">
              <a:buNone/>
            </a:pPr>
            <a:endParaRPr lang="en-US" sz="1836">
              <a:latin typeface="Segoe UI" panose="020B0502040204020203" pitchFamily="34" charset="0"/>
              <a:cs typeface="Segoe UI" panose="020B0502040204020203" pitchFamily="34" charset="0"/>
            </a:endParaRPr>
          </a:p>
          <a:p>
            <a:pPr marL="349689" indent="-349689">
              <a:buFont typeface="+mj-lt"/>
              <a:buAutoNum type="arabicPeriod"/>
            </a:pPr>
            <a:r>
              <a:rPr lang="en-US" sz="1836">
                <a:latin typeface="Segoe UI" panose="020B0502040204020203" pitchFamily="34" charset="0"/>
              </a:rPr>
              <a:t>Native columns may increase the load time and size of the model but </a:t>
            </a:r>
            <a:r>
              <a:rPr lang="en-US" sz="1836" b="1">
                <a:solidFill>
                  <a:schemeClr val="tx1">
                    <a:lumMod val="50000"/>
                    <a:lumOff val="50000"/>
                  </a:schemeClr>
                </a:solidFill>
                <a:latin typeface="Segoe UI" panose="020B0502040204020203" pitchFamily="34" charset="0"/>
              </a:rPr>
              <a:t>benefit from the </a:t>
            </a:r>
            <a:r>
              <a:rPr lang="en-US" sz="1836" b="1" err="1">
                <a:solidFill>
                  <a:schemeClr val="tx1">
                    <a:lumMod val="50000"/>
                    <a:lumOff val="50000"/>
                  </a:schemeClr>
                </a:solidFill>
                <a:latin typeface="Segoe UI" panose="020B0502040204020203" pitchFamily="34" charset="0"/>
              </a:rPr>
              <a:t>VertiPaq</a:t>
            </a:r>
            <a:r>
              <a:rPr lang="en-US" sz="1836" b="1">
                <a:solidFill>
                  <a:schemeClr val="tx1">
                    <a:lumMod val="50000"/>
                    <a:lumOff val="50000"/>
                  </a:schemeClr>
                </a:solidFill>
                <a:latin typeface="Segoe UI" panose="020B0502040204020203" pitchFamily="34" charset="0"/>
              </a:rPr>
              <a:t> compression algorithms</a:t>
            </a:r>
            <a:r>
              <a:rPr lang="en-US" sz="1836" b="1">
                <a:solidFill>
                  <a:srgbClr val="F2C811"/>
                </a:solidFill>
                <a:latin typeface="Segoe UI" panose="020B0502040204020203" pitchFamily="34" charset="0"/>
              </a:rPr>
              <a:t> </a:t>
            </a:r>
            <a:r>
              <a:rPr lang="en-US" sz="1836">
                <a:latin typeface="Segoe UI" panose="020B0502040204020203" pitchFamily="34" charset="0"/>
              </a:rPr>
              <a:t>sorting rows process that optimizes the compression rate to reduce the memory footprint of your data model.</a:t>
            </a:r>
          </a:p>
        </p:txBody>
      </p:sp>
      <p:sp>
        <p:nvSpPr>
          <p:cNvPr id="6" name="Rectangle 5">
            <a:extLst>
              <a:ext uri="{FF2B5EF4-FFF2-40B4-BE49-F238E27FC236}">
                <a16:creationId xmlns:a16="http://schemas.microsoft.com/office/drawing/2014/main" id="{A5AD5191-2FD2-45B0-9944-831754C1C7E8}"/>
              </a:ext>
            </a:extLst>
          </p:cNvPr>
          <p:cNvSpPr/>
          <p:nvPr/>
        </p:nvSpPr>
        <p:spPr>
          <a:xfrm>
            <a:off x="9310169" y="6294991"/>
            <a:ext cx="2965211"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 &amp; Alberto Ferrari</a:t>
            </a:r>
          </a:p>
        </p:txBody>
      </p:sp>
    </p:spTree>
    <p:extLst>
      <p:ext uri="{BB962C8B-B14F-4D97-AF65-F5344CB8AC3E}">
        <p14:creationId xmlns:p14="http://schemas.microsoft.com/office/powerpoint/2010/main" val="38962183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IVIDE vs divide operator (/)</a:t>
            </a:r>
            <a:endParaRPr lang="en-US">
              <a:gradFill>
                <a:gsLst>
                  <a:gs pos="1250">
                    <a:srgbClr val="000000"/>
                  </a:gs>
                  <a:gs pos="100000">
                    <a:srgbClr val="000000"/>
                  </a:gs>
                </a:gsLst>
                <a:lin ang="5400000" scaled="0"/>
              </a:gradFill>
            </a:endParaRPr>
          </a:p>
        </p:txBody>
      </p:sp>
      <p:sp>
        <p:nvSpPr>
          <p:cNvPr id="4" name="Content Placeholder 2">
            <a:extLst>
              <a:ext uri="{FF2B5EF4-FFF2-40B4-BE49-F238E27FC236}">
                <a16:creationId xmlns:a16="http://schemas.microsoft.com/office/drawing/2014/main" id="{74BBDB9F-0647-4B41-B86C-BC49843F564F}"/>
              </a:ext>
            </a:extLst>
          </p:cNvPr>
          <p:cNvSpPr>
            <a:spLocks noGrp="1"/>
          </p:cNvSpPr>
          <p:nvPr>
            <p:ph idx="1"/>
          </p:nvPr>
        </p:nvSpPr>
        <p:spPr>
          <a:xfrm>
            <a:off x="4376652" y="1631427"/>
            <a:ext cx="4803887" cy="3364084"/>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Profit Margin = </a:t>
            </a:r>
          </a:p>
          <a:p>
            <a:pPr marL="0" indent="0">
              <a:buNone/>
            </a:pPr>
            <a:r>
              <a:rPr lang="en-US" sz="1800">
                <a:solidFill>
                  <a:srgbClr val="0101FD"/>
                </a:solidFill>
                <a:latin typeface="SFMono-Regular"/>
              </a:rPr>
              <a:t>IF</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OR</a:t>
            </a:r>
            <a:r>
              <a:rPr lang="en-US" sz="1800">
                <a:solidFill>
                  <a:srgbClr val="171717"/>
                </a:solidFill>
                <a:latin typeface="SFMono-Regular"/>
              </a:rPr>
              <a:t>( </a:t>
            </a:r>
          </a:p>
          <a:p>
            <a:pPr marL="0" indent="0">
              <a:buNone/>
            </a:pPr>
            <a:r>
              <a:rPr lang="en-US" sz="1800">
                <a:solidFill>
                  <a:srgbClr val="171717"/>
                </a:solidFill>
                <a:latin typeface="SFMono-Regular"/>
              </a:rPr>
              <a:t>          </a:t>
            </a:r>
            <a:r>
              <a:rPr lang="en-US" sz="1800">
                <a:solidFill>
                  <a:srgbClr val="0101FD"/>
                </a:solidFill>
                <a:latin typeface="SFMono-Regular"/>
              </a:rPr>
              <a:t>ISBLANK</a:t>
            </a:r>
            <a:r>
              <a:rPr lang="en-US" sz="1800">
                <a:solidFill>
                  <a:srgbClr val="171717"/>
                </a:solidFill>
                <a:latin typeface="SFMono-Regular"/>
              </a:rPr>
              <a:t>([Sales]), </a:t>
            </a:r>
          </a:p>
          <a:p>
            <a:pPr marL="0" indent="0">
              <a:buNone/>
            </a:pPr>
            <a:r>
              <a:rPr lang="en-US" sz="1800">
                <a:solidFill>
                  <a:srgbClr val="171717"/>
                </a:solidFill>
                <a:latin typeface="SFMono-Regular"/>
              </a:rPr>
              <a:t>         [Sales] == 0 </a:t>
            </a:r>
          </a:p>
          <a:p>
            <a:pPr marL="0" indent="0">
              <a:buNone/>
            </a:pPr>
            <a:r>
              <a:rPr lang="en-US" sz="1800">
                <a:solidFill>
                  <a:srgbClr val="171717"/>
                </a:solidFill>
                <a:latin typeface="SFMono-Regular"/>
              </a:rPr>
              <a:t>     ), </a:t>
            </a:r>
          </a:p>
          <a:p>
            <a:pPr marL="0" indent="0">
              <a:buNone/>
            </a:pPr>
            <a:r>
              <a:rPr lang="en-US" sz="1800">
                <a:solidFill>
                  <a:srgbClr val="171717"/>
                </a:solidFill>
                <a:latin typeface="SFMono-Regular"/>
              </a:rPr>
              <a:t>    </a:t>
            </a:r>
            <a:r>
              <a:rPr lang="en-US" sz="1800">
                <a:solidFill>
                  <a:srgbClr val="0101FD"/>
                </a:solidFill>
                <a:latin typeface="SFMono-Regular"/>
              </a:rPr>
              <a:t>BLANK</a:t>
            </a:r>
            <a:r>
              <a:rPr lang="en-US" sz="1800">
                <a:solidFill>
                  <a:srgbClr val="171717"/>
                </a:solidFill>
                <a:latin typeface="SFMono-Regular"/>
              </a:rPr>
              <a:t>(), </a:t>
            </a:r>
          </a:p>
          <a:p>
            <a:pPr marL="0" indent="0">
              <a:buNone/>
            </a:pPr>
            <a:r>
              <a:rPr lang="en-US" sz="1800">
                <a:solidFill>
                  <a:srgbClr val="171717"/>
                </a:solidFill>
                <a:latin typeface="SFMono-Regular"/>
              </a:rPr>
              <a:t>    [Profit] / [Sales] </a:t>
            </a:r>
          </a:p>
          <a:p>
            <a:pPr marL="0" indent="0">
              <a:buNone/>
            </a:pPr>
            <a:r>
              <a:rPr lang="en-US" sz="1800">
                <a:solidFill>
                  <a:srgbClr val="171717"/>
                </a:solidFill>
                <a:latin typeface="SFMono-Regular"/>
              </a:rPr>
              <a:t>)</a:t>
            </a:r>
            <a:endParaRPr lang="en-US" sz="3200">
              <a:solidFill>
                <a:srgbClr val="000000"/>
              </a:solidFill>
              <a:latin typeface="Segoe UI" panose="020B0502040204020203" pitchFamily="34" charset="0"/>
            </a:endParaRPr>
          </a:p>
        </p:txBody>
      </p:sp>
      <p:sp>
        <p:nvSpPr>
          <p:cNvPr id="6" name="TextBox 5">
            <a:extLst>
              <a:ext uri="{FF2B5EF4-FFF2-40B4-BE49-F238E27FC236}">
                <a16:creationId xmlns:a16="http://schemas.microsoft.com/office/drawing/2014/main" id="{C67E4005-BA4E-40FC-8CA0-EC6FE7E5B806}"/>
              </a:ext>
            </a:extLst>
          </p:cNvPr>
          <p:cNvSpPr txBox="1"/>
          <p:nvPr/>
        </p:nvSpPr>
        <p:spPr>
          <a:xfrm>
            <a:off x="4376652" y="5544003"/>
            <a:ext cx="3847322" cy="923330"/>
          </a:xfrm>
          <a:prstGeom prst="rect">
            <a:avLst/>
          </a:prstGeom>
          <a:noFill/>
        </p:spPr>
        <p:txBody>
          <a:bodyPr wrap="square">
            <a:spAutoFit/>
          </a:bodyPr>
          <a:lstStyle/>
          <a:p>
            <a:r>
              <a:rPr lang="en-US" b="1">
                <a:solidFill>
                  <a:srgbClr val="171717"/>
                </a:solidFill>
                <a:latin typeface="SFMono-Regular"/>
              </a:rPr>
              <a:t>AFTER</a:t>
            </a:r>
          </a:p>
          <a:p>
            <a:r>
              <a:rPr lang="en-US">
                <a:solidFill>
                  <a:srgbClr val="171717"/>
                </a:solidFill>
                <a:latin typeface="SFMono-Regular"/>
              </a:rPr>
              <a:t>Profit Margin = </a:t>
            </a:r>
          </a:p>
          <a:p>
            <a:r>
              <a:rPr lang="en-US">
                <a:solidFill>
                  <a:srgbClr val="0101FD"/>
                </a:solidFill>
                <a:latin typeface="SFMono-Regular"/>
              </a:rPr>
              <a:t>DIVIDE</a:t>
            </a:r>
            <a:r>
              <a:rPr lang="en-US">
                <a:solidFill>
                  <a:srgbClr val="171717"/>
                </a:solidFill>
                <a:latin typeface="SFMono-Regular"/>
              </a:rPr>
              <a:t>([Profit], [Sales])</a:t>
            </a:r>
            <a:endParaRPr lang="en-US"/>
          </a:p>
        </p:txBody>
      </p:sp>
      <p:sp>
        <p:nvSpPr>
          <p:cNvPr id="7" name="Content Placeholder 2">
            <a:extLst>
              <a:ext uri="{FF2B5EF4-FFF2-40B4-BE49-F238E27FC236}">
                <a16:creationId xmlns:a16="http://schemas.microsoft.com/office/drawing/2014/main" id="{8B2F6FF8-6948-48F4-AC6F-B01C1C0785A9}"/>
              </a:ext>
            </a:extLst>
          </p:cNvPr>
          <p:cNvSpPr txBox="1">
            <a:spLocks/>
          </p:cNvSpPr>
          <p:nvPr/>
        </p:nvSpPr>
        <p:spPr>
          <a:xfrm>
            <a:off x="275142" y="1631427"/>
            <a:ext cx="3586393" cy="4678311"/>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a:buFont typeface="+mj-lt"/>
              <a:buAutoNum type="arabicPeriod"/>
            </a:pPr>
            <a:r>
              <a:rPr lang="en-US" sz="2000">
                <a:gradFill>
                  <a:gsLst>
                    <a:gs pos="2917">
                      <a:srgbClr val="505050"/>
                    </a:gs>
                    <a:gs pos="30000">
                      <a:srgbClr val="505050"/>
                    </a:gs>
                  </a:gsLst>
                  <a:lin ang="5400000" scaled="0"/>
                </a:gradFill>
                <a:latin typeface="Segoe UI"/>
              </a:rPr>
              <a:t>Use when denominator may be zero.</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Save check on denominator</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Performance Gain (Checking for 0 can be expensive)</a:t>
            </a:r>
          </a:p>
          <a:p>
            <a:pPr marL="466043" indent="-466043">
              <a:buFont typeface="+mj-lt"/>
              <a:buAutoNum type="arabicPeriod"/>
            </a:pPr>
            <a:r>
              <a:rPr lang="en-US" sz="2000">
                <a:gradFill>
                  <a:gsLst>
                    <a:gs pos="2917">
                      <a:srgbClr val="505050"/>
                    </a:gs>
                    <a:gs pos="30000">
                      <a:srgbClr val="505050"/>
                    </a:gs>
                  </a:gsLst>
                  <a:lin ang="5400000" scaled="0"/>
                </a:gradFill>
                <a:latin typeface="Segoe UI"/>
                <a:cs typeface="Segoe UI"/>
              </a:rPr>
              <a:t>Elegant expression</a:t>
            </a:r>
            <a:endParaRPr lang="en-US" sz="1600">
              <a:gradFill>
                <a:gsLst>
                  <a:gs pos="2917">
                    <a:srgbClr val="505050"/>
                  </a:gs>
                  <a:gs pos="30000">
                    <a:srgbClr val="505050"/>
                  </a:gs>
                </a:gsLst>
                <a:lin ang="5400000" scaled="0"/>
              </a:gradFill>
              <a:latin typeface="Segoe UI"/>
              <a:cs typeface="Segoe UI"/>
            </a:endParaRPr>
          </a:p>
        </p:txBody>
      </p:sp>
      <p:cxnSp>
        <p:nvCxnSpPr>
          <p:cNvPr id="2" name="Straight Connector 1">
            <a:extLst>
              <a:ext uri="{FF2B5EF4-FFF2-40B4-BE49-F238E27FC236}">
                <a16:creationId xmlns:a16="http://schemas.microsoft.com/office/drawing/2014/main" id="{B43B8E6C-09DA-4623-9341-F6CDE01F4385}"/>
              </a:ext>
            </a:extLst>
          </p:cNvPr>
          <p:cNvCxnSpPr>
            <a:cxnSpLocks/>
          </p:cNvCxnSpPr>
          <p:nvPr/>
        </p:nvCxnSpPr>
        <p:spPr>
          <a:xfrm>
            <a:off x="4087182" y="5321808"/>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1893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ariables</a:t>
            </a:r>
            <a:endParaRPr lang="en-US">
              <a:gradFill>
                <a:gsLst>
                  <a:gs pos="1250">
                    <a:srgbClr val="000000"/>
                  </a:gs>
                  <a:gs pos="100000">
                    <a:srgbClr val="000000"/>
                  </a:gs>
                </a:gsLst>
                <a:lin ang="5400000" scaled="0"/>
              </a:gradFill>
            </a:endParaRPr>
          </a:p>
        </p:txBody>
      </p:sp>
      <p:sp>
        <p:nvSpPr>
          <p:cNvPr id="2" name="Content Placeholder 2">
            <a:extLst>
              <a:ext uri="{FF2B5EF4-FFF2-40B4-BE49-F238E27FC236}">
                <a16:creationId xmlns:a16="http://schemas.microsoft.com/office/drawing/2014/main" id="{C9CCA422-8BC7-423E-9AEE-531FAA897633}"/>
              </a:ext>
            </a:extLst>
          </p:cNvPr>
          <p:cNvSpPr txBox="1">
            <a:spLocks/>
          </p:cNvSpPr>
          <p:nvPr/>
        </p:nvSpPr>
        <p:spPr>
          <a:xfrm>
            <a:off x="3314991" y="-1179728"/>
            <a:ext cx="3586393" cy="1865835"/>
          </a:xfrm>
          <a:prstGeom prst="rect">
            <a:avLst/>
          </a:prstGeom>
        </p:spPr>
        <p:txBody>
          <a:bodyPr vert="horz" wrap="square" lIns="91428" tIns="45714" rIns="91428" bIns="45714" rtlCol="0" anchor="t">
            <a:norm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466043" indent="-466043" defTabSz="951209">
              <a:buFont typeface="+mj-lt"/>
              <a:buAutoNum type="arabicPeriod"/>
              <a:defRPr/>
            </a:pPr>
            <a:endParaRPr lang="en-US" sz="1600">
              <a:gradFill>
                <a:gsLst>
                  <a:gs pos="2917">
                    <a:srgbClr val="505050"/>
                  </a:gs>
                  <a:gs pos="30000">
                    <a:srgbClr val="505050"/>
                  </a:gs>
                </a:gsLst>
                <a:lin ang="5400000" scaled="0"/>
              </a:gradFill>
              <a:latin typeface="Segoe UI"/>
              <a:cs typeface="Segoe UI"/>
            </a:endParaRPr>
          </a:p>
        </p:txBody>
      </p:sp>
      <p:sp>
        <p:nvSpPr>
          <p:cNvPr id="6" name="Content Placeholder 2">
            <a:extLst>
              <a:ext uri="{FF2B5EF4-FFF2-40B4-BE49-F238E27FC236}">
                <a16:creationId xmlns:a16="http://schemas.microsoft.com/office/drawing/2014/main" id="{F8C27C68-4A87-44DC-B629-112078020EFD}"/>
              </a:ext>
            </a:extLst>
          </p:cNvPr>
          <p:cNvSpPr>
            <a:spLocks noGrp="1"/>
          </p:cNvSpPr>
          <p:nvPr>
            <p:ph idx="1"/>
          </p:nvPr>
        </p:nvSpPr>
        <p:spPr>
          <a:xfrm>
            <a:off x="4021025" y="1597089"/>
            <a:ext cx="8413688" cy="2361676"/>
          </a:xfrm>
        </p:spPr>
        <p:txBody>
          <a:bodyPr>
            <a:normAutofit/>
          </a:bodyPr>
          <a:lstStyle/>
          <a:p>
            <a:pPr marL="0" indent="0">
              <a:buNone/>
            </a:pPr>
            <a:r>
              <a:rPr lang="en-US" sz="2000" b="1">
                <a:solidFill>
                  <a:srgbClr val="171717"/>
                </a:solidFill>
                <a:latin typeface="SFMono-Regular"/>
              </a:rPr>
              <a:t>BEFORE</a:t>
            </a:r>
          </a:p>
          <a:p>
            <a:pPr marL="0" indent="0">
              <a:buNone/>
            </a:pPr>
            <a:r>
              <a:rPr lang="en-US" sz="2000">
                <a:solidFill>
                  <a:srgbClr val="171717"/>
                </a:solidFill>
                <a:latin typeface="SFMono-Regular"/>
              </a:rPr>
              <a:t>Sales YoY Growth % = </a:t>
            </a:r>
          </a:p>
          <a:p>
            <a:pPr marL="0" indent="0">
              <a:buNone/>
            </a:pPr>
            <a:r>
              <a:rPr lang="en-US" sz="2000">
                <a:solidFill>
                  <a:srgbClr val="0101FD"/>
                </a:solidFill>
                <a:latin typeface="SFMono-Regular"/>
              </a:rPr>
              <a:t>DIVIDE</a:t>
            </a:r>
            <a:r>
              <a:rPr lang="en-US" sz="2000">
                <a:solidFill>
                  <a:srgbClr val="171717"/>
                </a:solidFill>
                <a:latin typeface="SFMono-Regular"/>
              </a:rPr>
              <a:t>( </a:t>
            </a:r>
          </a:p>
          <a:p>
            <a:pPr marL="0" indent="0">
              <a:buNone/>
            </a:pPr>
            <a:r>
              <a:rPr lang="en-US" sz="2000">
                <a:solidFill>
                  <a:srgbClr val="171717"/>
                </a:solidFill>
                <a:latin typeface="SFMono-Regular"/>
              </a:rPr>
              <a:t>     ([Sales] -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     </a:t>
            </a:r>
            <a:r>
              <a:rPr lang="en-US" sz="2000">
                <a:solidFill>
                  <a:srgbClr val="0101FD"/>
                </a:solidFill>
                <a:latin typeface="SFMono-Regular"/>
              </a:rPr>
              <a:t>CALCULATE</a:t>
            </a:r>
            <a:r>
              <a:rPr lang="en-US" sz="2000">
                <a:solidFill>
                  <a:srgbClr val="171717"/>
                </a:solidFill>
                <a:latin typeface="SFMono-Regular"/>
              </a:rPr>
              <a:t>([Sales], </a:t>
            </a:r>
            <a:r>
              <a:rPr lang="en-US" sz="2000">
                <a:solidFill>
                  <a:srgbClr val="0101FD"/>
                </a:solidFill>
                <a:latin typeface="SFMono-Regular"/>
              </a:rPr>
              <a:t>PARALLELPERIOD</a:t>
            </a:r>
            <a:r>
              <a:rPr lang="en-US" sz="2000">
                <a:solidFill>
                  <a:srgbClr val="171717"/>
                </a:solidFill>
                <a:latin typeface="SFMono-Regular"/>
              </a:rPr>
              <a:t>('Date'[Date], -12, </a:t>
            </a:r>
            <a:r>
              <a:rPr lang="en-US" sz="2000">
                <a:solidFill>
                  <a:srgbClr val="0101FD"/>
                </a:solidFill>
                <a:latin typeface="SFMono-Regular"/>
              </a:rPr>
              <a:t>MONTH</a:t>
            </a:r>
            <a:r>
              <a:rPr lang="en-US" sz="2000">
                <a:solidFill>
                  <a:srgbClr val="171717"/>
                </a:solidFill>
                <a:latin typeface="SFMono-Regular"/>
              </a:rPr>
              <a:t>)) </a:t>
            </a:r>
          </a:p>
          <a:p>
            <a:pPr marL="0" indent="0">
              <a:buNone/>
            </a:pPr>
            <a:r>
              <a:rPr lang="en-US" sz="2000">
                <a:solidFill>
                  <a:srgbClr val="171717"/>
                </a:solidFill>
                <a:latin typeface="SFMono-Regular"/>
              </a:rPr>
              <a:t>)</a:t>
            </a:r>
            <a:endParaRPr lang="en-US" sz="4800">
              <a:solidFill>
                <a:srgbClr val="000000"/>
              </a:solidFill>
              <a:latin typeface="Segoe UI" panose="020B0502040204020203" pitchFamily="34" charset="0"/>
            </a:endParaRPr>
          </a:p>
        </p:txBody>
      </p:sp>
      <p:sp>
        <p:nvSpPr>
          <p:cNvPr id="7" name="TextBox 6">
            <a:extLst>
              <a:ext uri="{FF2B5EF4-FFF2-40B4-BE49-F238E27FC236}">
                <a16:creationId xmlns:a16="http://schemas.microsoft.com/office/drawing/2014/main" id="{4B930B33-2C66-41AC-A607-A7CB401EE83C}"/>
              </a:ext>
            </a:extLst>
          </p:cNvPr>
          <p:cNvSpPr txBox="1"/>
          <p:nvPr/>
        </p:nvSpPr>
        <p:spPr>
          <a:xfrm>
            <a:off x="4021024" y="4543594"/>
            <a:ext cx="8413688" cy="1754326"/>
          </a:xfrm>
          <a:prstGeom prst="rect">
            <a:avLst/>
          </a:prstGeom>
          <a:noFill/>
        </p:spPr>
        <p:txBody>
          <a:bodyPr wrap="square">
            <a:spAutoFit/>
          </a:bodyPr>
          <a:lstStyle/>
          <a:p>
            <a:pPr defTabSz="932649">
              <a:defRPr/>
            </a:pPr>
            <a:r>
              <a:rPr lang="en-US" b="1">
                <a:solidFill>
                  <a:srgbClr val="171717"/>
                </a:solidFill>
                <a:latin typeface="SFMono-Regular"/>
              </a:rPr>
              <a:t>AFTER</a:t>
            </a:r>
          </a:p>
          <a:p>
            <a:pPr defTabSz="932649">
              <a:defRPr/>
            </a:pPr>
            <a:r>
              <a:rPr lang="en-US">
                <a:solidFill>
                  <a:srgbClr val="171717"/>
                </a:solidFill>
                <a:latin typeface="SFMono-Regular"/>
              </a:rPr>
              <a:t>Sales YoY Growth % = </a:t>
            </a:r>
          </a:p>
          <a:p>
            <a:pPr defTabSz="932649">
              <a:defRPr/>
            </a:pPr>
            <a:r>
              <a:rPr lang="en-US">
                <a:solidFill>
                  <a:srgbClr val="0101FD"/>
                </a:solidFill>
                <a:latin typeface="SFMono-Regular"/>
              </a:rPr>
              <a:t>V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 = </a:t>
            </a:r>
          </a:p>
          <a:p>
            <a:pPr defTabSz="932649">
              <a:defRPr/>
            </a:pPr>
            <a:r>
              <a:rPr lang="en-US">
                <a:solidFill>
                  <a:srgbClr val="171717"/>
                </a:solidFill>
                <a:latin typeface="SFMono-Regular"/>
              </a:rPr>
              <a:t>    </a:t>
            </a:r>
            <a:r>
              <a:rPr lang="en-US">
                <a:solidFill>
                  <a:srgbClr val="0101FD"/>
                </a:solidFill>
                <a:latin typeface="SFMono-Regular"/>
              </a:rPr>
              <a:t>CALCULATE</a:t>
            </a:r>
            <a:r>
              <a:rPr lang="en-US">
                <a:solidFill>
                  <a:srgbClr val="171717"/>
                </a:solidFill>
                <a:latin typeface="SFMono-Regular"/>
              </a:rPr>
              <a:t>([Sales], </a:t>
            </a:r>
            <a:r>
              <a:rPr lang="en-US">
                <a:solidFill>
                  <a:srgbClr val="0101FD"/>
                </a:solidFill>
                <a:latin typeface="SFMono-Regular"/>
              </a:rPr>
              <a:t>PARALLELPERIOD</a:t>
            </a:r>
            <a:r>
              <a:rPr lang="en-US">
                <a:solidFill>
                  <a:srgbClr val="171717"/>
                </a:solidFill>
                <a:latin typeface="SFMono-Regular"/>
              </a:rPr>
              <a:t>('Date'[Date], -12, </a:t>
            </a:r>
            <a:r>
              <a:rPr lang="en-US">
                <a:solidFill>
                  <a:srgbClr val="0101FD"/>
                </a:solidFill>
                <a:latin typeface="SFMono-Regular"/>
              </a:rPr>
              <a:t>MONTH</a:t>
            </a:r>
            <a:r>
              <a:rPr lang="en-US">
                <a:solidFill>
                  <a:srgbClr val="171717"/>
                </a:solidFill>
                <a:latin typeface="SFMono-Regular"/>
              </a:rPr>
              <a:t>)) </a:t>
            </a:r>
          </a:p>
          <a:p>
            <a:pPr defTabSz="932649">
              <a:defRPr/>
            </a:pPr>
            <a:r>
              <a:rPr lang="en-US">
                <a:solidFill>
                  <a:srgbClr val="0101FD"/>
                </a:solidFill>
                <a:latin typeface="SFMono-Regular"/>
              </a:rPr>
              <a:t>RETURN</a:t>
            </a:r>
            <a:r>
              <a:rPr lang="en-US">
                <a:solidFill>
                  <a:srgbClr val="171717"/>
                </a:solidFill>
                <a:latin typeface="SFMono-Regular"/>
              </a:rPr>
              <a:t> </a:t>
            </a:r>
          </a:p>
          <a:p>
            <a:pPr defTabSz="932649">
              <a:defRPr/>
            </a:pPr>
            <a:r>
              <a:rPr lang="en-US">
                <a:solidFill>
                  <a:srgbClr val="171717"/>
                </a:solidFill>
                <a:latin typeface="SFMono-Regular"/>
              </a:rPr>
              <a:t>    </a:t>
            </a:r>
            <a:r>
              <a:rPr lang="en-US">
                <a:solidFill>
                  <a:srgbClr val="0101FD"/>
                </a:solidFill>
                <a:latin typeface="SFMono-Regular"/>
              </a:rPr>
              <a:t>DIVIDE</a:t>
            </a:r>
            <a:r>
              <a:rPr lang="en-US">
                <a:solidFill>
                  <a:srgbClr val="171717"/>
                </a:solidFill>
                <a:latin typeface="SFMono-Regular"/>
              </a:rPr>
              <a:t>(([Sales] - </a:t>
            </a:r>
            <a:r>
              <a:rPr lang="en-US" err="1">
                <a:solidFill>
                  <a:srgbClr val="171717"/>
                </a:solidFill>
                <a:latin typeface="SFMono-Regular"/>
              </a:rPr>
              <a:t>SalesPriorYear</a:t>
            </a:r>
            <a:r>
              <a:rPr lang="en-US">
                <a:solidFill>
                  <a:srgbClr val="171717"/>
                </a:solidFill>
                <a:latin typeface="SFMono-Regular"/>
              </a:rPr>
              <a:t>), </a:t>
            </a:r>
            <a:r>
              <a:rPr lang="en-US" err="1">
                <a:solidFill>
                  <a:srgbClr val="171717"/>
                </a:solidFill>
                <a:latin typeface="SFMono-Regular"/>
              </a:rPr>
              <a:t>SalesPriorYear</a:t>
            </a:r>
            <a:r>
              <a:rPr lang="en-US">
                <a:solidFill>
                  <a:srgbClr val="171717"/>
                </a:solidFill>
                <a:latin typeface="SFMono-Regular"/>
              </a:rPr>
              <a:t>)</a:t>
            </a:r>
            <a:endParaRPr lang="en-US">
              <a:solidFill>
                <a:srgbClr val="000000"/>
              </a:solidFill>
              <a:latin typeface="Segoe UI"/>
            </a:endParaRPr>
          </a:p>
        </p:txBody>
      </p:sp>
      <p:sp>
        <p:nvSpPr>
          <p:cNvPr id="8" name="Content Placeholder 2">
            <a:extLst>
              <a:ext uri="{FF2B5EF4-FFF2-40B4-BE49-F238E27FC236}">
                <a16:creationId xmlns:a16="http://schemas.microsoft.com/office/drawing/2014/main" id="{846AD36B-A881-4BC1-9BE5-6DD5514D984B}"/>
              </a:ext>
            </a:extLst>
          </p:cNvPr>
          <p:cNvSpPr txBox="1">
            <a:spLocks/>
          </p:cNvSpPr>
          <p:nvPr/>
        </p:nvSpPr>
        <p:spPr>
          <a:xfrm>
            <a:off x="434633" y="1619609"/>
            <a:ext cx="3113240" cy="4678311"/>
          </a:xfrm>
          <a:prstGeom prst="rect">
            <a:avLst/>
          </a:prstGeom>
        </p:spPr>
        <p:txBody>
          <a:bodyPr vert="horz" wrap="square" lIns="91428" tIns="45714" rIns="91428" bIns="45714" rtlCol="0" anchor="t">
            <a:normAutofit/>
          </a:bodyPr>
          <a:lstStyle>
            <a:lvl1pPr marL="233126"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51" marR="0" indent="-233126"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237" marR="0" indent="-203985"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652" marR="0" indent="-184558"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210" marR="0" indent="-171607" algn="l" defTabSz="95120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582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42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032"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638" indent="-237802" algn="l" defTabSz="95120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400" b="1">
                <a:gradFill>
                  <a:gsLst>
                    <a:gs pos="2917">
                      <a:srgbClr val="505050"/>
                    </a:gs>
                    <a:gs pos="30000">
                      <a:srgbClr val="505050"/>
                    </a:gs>
                  </a:gsLst>
                  <a:lin ang="5400000" scaled="0"/>
                </a:gradFill>
                <a:latin typeface="Segoe UI"/>
              </a:rPr>
              <a:t>Advantages:</a:t>
            </a:r>
            <a:endParaRPr lang="en-US" sz="2400" b="1">
              <a:gradFill>
                <a:gsLst>
                  <a:gs pos="2917">
                    <a:srgbClr val="505050"/>
                  </a:gs>
                  <a:gs pos="30000">
                    <a:srgbClr val="505050"/>
                  </a:gs>
                </a:gsLst>
                <a:lin ang="5400000" scaled="0"/>
              </a:gradFill>
              <a:latin typeface="Segoe UI"/>
              <a:cs typeface="Segoe UI"/>
            </a:endParaRP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Improved Readabil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rPr>
              <a:t>Simplify debugging</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Reduce Complexity</a:t>
            </a:r>
          </a:p>
          <a:p>
            <a:pPr marL="466043" indent="-466043" defTabSz="951209">
              <a:buFont typeface="+mj-lt"/>
              <a:buAutoNum type="arabicPeriod"/>
              <a:defRPr/>
            </a:pPr>
            <a:r>
              <a:rPr lang="en-US" sz="1800">
                <a:gradFill>
                  <a:gsLst>
                    <a:gs pos="2917">
                      <a:srgbClr val="505050"/>
                    </a:gs>
                    <a:gs pos="30000">
                      <a:srgbClr val="505050"/>
                    </a:gs>
                  </a:gsLst>
                  <a:lin ang="5400000" scaled="0"/>
                </a:gradFill>
                <a:latin typeface="Segoe UI"/>
                <a:cs typeface="Segoe UI"/>
              </a:rPr>
              <a:t>Improve Performance</a:t>
            </a:r>
            <a:endParaRPr lang="en-US" sz="1400">
              <a:gradFill>
                <a:gsLst>
                  <a:gs pos="2917">
                    <a:srgbClr val="505050"/>
                  </a:gs>
                  <a:gs pos="30000">
                    <a:srgbClr val="505050"/>
                  </a:gs>
                </a:gsLst>
                <a:lin ang="5400000" scaled="0"/>
              </a:gradFill>
              <a:latin typeface="Segoe UI"/>
              <a:cs typeface="Segoe UI"/>
            </a:endParaRPr>
          </a:p>
        </p:txBody>
      </p:sp>
      <p:cxnSp>
        <p:nvCxnSpPr>
          <p:cNvPr id="10" name="Straight Connector 9">
            <a:extLst>
              <a:ext uri="{FF2B5EF4-FFF2-40B4-BE49-F238E27FC236}">
                <a16:creationId xmlns:a16="http://schemas.microsoft.com/office/drawing/2014/main" id="{F89463C5-48C9-421B-BB63-E28027DF68A1}"/>
              </a:ext>
            </a:extLst>
          </p:cNvPr>
          <p:cNvCxnSpPr>
            <a:cxnSpLocks/>
          </p:cNvCxnSpPr>
          <p:nvPr/>
        </p:nvCxnSpPr>
        <p:spPr>
          <a:xfrm>
            <a:off x="3931920" y="4151376"/>
            <a:ext cx="807415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37797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artitions</a:t>
            </a:r>
            <a:endParaRPr lang="en-US">
              <a:gradFill>
                <a:gsLst>
                  <a:gs pos="1250">
                    <a:srgbClr val="000000"/>
                  </a:gs>
                  <a:gs pos="100000">
                    <a:srgbClr val="000000"/>
                  </a:gs>
                </a:gsLst>
                <a:lin ang="5400000" scaled="0"/>
              </a:gradFill>
            </a:endParaRPr>
          </a:p>
        </p:txBody>
      </p:sp>
      <p:sp>
        <p:nvSpPr>
          <p:cNvPr id="2" name="TextBox 1">
            <a:extLst>
              <a:ext uri="{FF2B5EF4-FFF2-40B4-BE49-F238E27FC236}">
                <a16:creationId xmlns:a16="http://schemas.microsoft.com/office/drawing/2014/main" id="{4C2846BE-010E-4B75-BD41-823230F325FE}"/>
              </a:ext>
            </a:extLst>
          </p:cNvPr>
          <p:cNvSpPr txBox="1"/>
          <p:nvPr/>
        </p:nvSpPr>
        <p:spPr>
          <a:xfrm>
            <a:off x="1010358" y="4527540"/>
            <a:ext cx="992721" cy="542399"/>
          </a:xfrm>
          <a:prstGeom prst="rect">
            <a:avLst/>
          </a:prstGeom>
          <a:solidFill>
            <a:schemeClr val="tx1"/>
          </a:solidFill>
        </p:spPr>
        <p:txBody>
          <a:bodyPr wrap="none" rtlCol="0">
            <a:spAutoFit/>
          </a:bodyPr>
          <a:lstStyle/>
          <a:p>
            <a:pPr algn="ctr"/>
            <a:r>
              <a:rPr lang="en-US" sz="2856">
                <a:solidFill>
                  <a:schemeClr val="bg1"/>
                </a:solidFill>
                <a:latin typeface="Segoe UI" panose="020B0502040204020203" pitchFamily="34" charset="0"/>
                <a:cs typeface="Segoe UI" panose="020B0502040204020203" pitchFamily="34" charset="0"/>
              </a:rPr>
              <a:t>2020</a:t>
            </a:r>
          </a:p>
        </p:txBody>
      </p:sp>
      <p:sp>
        <p:nvSpPr>
          <p:cNvPr id="7" name="TextBox 6">
            <a:extLst>
              <a:ext uri="{FF2B5EF4-FFF2-40B4-BE49-F238E27FC236}">
                <a16:creationId xmlns:a16="http://schemas.microsoft.com/office/drawing/2014/main" id="{88FE46FB-881F-4B34-B4A8-3EE668DBF58F}"/>
              </a:ext>
            </a:extLst>
          </p:cNvPr>
          <p:cNvSpPr txBox="1"/>
          <p:nvPr/>
        </p:nvSpPr>
        <p:spPr>
          <a:xfrm>
            <a:off x="1016899" y="3374996"/>
            <a:ext cx="979640" cy="531812"/>
          </a:xfrm>
          <a:prstGeom prst="rect">
            <a:avLst/>
          </a:prstGeom>
          <a:solidFill>
            <a:schemeClr val="tx1"/>
          </a:solidFill>
        </p:spPr>
        <p:txBody>
          <a:bodyPr wrap="squar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9</a:t>
            </a:r>
          </a:p>
        </p:txBody>
      </p:sp>
      <p:sp>
        <p:nvSpPr>
          <p:cNvPr id="9" name="TextBox 8">
            <a:extLst>
              <a:ext uri="{FF2B5EF4-FFF2-40B4-BE49-F238E27FC236}">
                <a16:creationId xmlns:a16="http://schemas.microsoft.com/office/drawing/2014/main" id="{AD1F639E-110C-43F9-95A5-26656E99A2E1}"/>
              </a:ext>
            </a:extLst>
          </p:cNvPr>
          <p:cNvSpPr txBox="1"/>
          <p:nvPr/>
        </p:nvSpPr>
        <p:spPr>
          <a:xfrm>
            <a:off x="1010359" y="2222453"/>
            <a:ext cx="992721" cy="542399"/>
          </a:xfrm>
          <a:prstGeom prst="rect">
            <a:avLst/>
          </a:prstGeom>
          <a:solidFill>
            <a:schemeClr val="tx1"/>
          </a:solidFill>
        </p:spPr>
        <p:txBody>
          <a:bodyPr wrap="none" rtlCol="0">
            <a:spAutoFit/>
          </a:bodyPr>
          <a:lstStyle>
            <a:defPPr>
              <a:defRPr lang="en-US"/>
            </a:defPPr>
            <a:lvl1pPr algn="ctr">
              <a:defRPr sz="2800">
                <a:solidFill>
                  <a:schemeClr val="bg1"/>
                </a:solidFill>
                <a:latin typeface="Segoe UI" panose="020B0502040204020203" pitchFamily="34" charset="0"/>
                <a:cs typeface="Segoe UI" panose="020B0502040204020203" pitchFamily="34" charset="0"/>
              </a:defRPr>
            </a:lvl1pPr>
          </a:lstStyle>
          <a:p>
            <a:r>
              <a:rPr lang="en-US" sz="2856"/>
              <a:t>2018</a:t>
            </a:r>
          </a:p>
        </p:txBody>
      </p:sp>
      <p:graphicFrame>
        <p:nvGraphicFramePr>
          <p:cNvPr id="11" name="Table 10">
            <a:extLst>
              <a:ext uri="{FF2B5EF4-FFF2-40B4-BE49-F238E27FC236}">
                <a16:creationId xmlns:a16="http://schemas.microsoft.com/office/drawing/2014/main" id="{A6F0EBD5-F7E6-4AD2-BC68-2A96D673AD15}"/>
              </a:ext>
            </a:extLst>
          </p:cNvPr>
          <p:cNvGraphicFramePr>
            <a:graphicFrameLocks noGrp="1"/>
          </p:cNvGraphicFramePr>
          <p:nvPr/>
        </p:nvGraphicFramePr>
        <p:xfrm>
          <a:off x="2115181" y="1603546"/>
          <a:ext cx="7669436" cy="4117393"/>
        </p:xfrm>
        <a:graphic>
          <a:graphicData uri="http://schemas.openxmlformats.org/drawingml/2006/table">
            <a:tbl>
              <a:tblPr firstRow="1" bandRow="1">
                <a:tableStyleId>{9D7B26C5-4107-4FEC-AEDC-1716B250A1EF}</a:tableStyleId>
              </a:tblPr>
              <a:tblGrid>
                <a:gridCol w="7669436">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3095080"/>
                  </a:ext>
                </a:extLst>
              </a:tr>
            </a:tbl>
          </a:graphicData>
        </a:graphic>
      </p:graphicFrame>
      <p:graphicFrame>
        <p:nvGraphicFramePr>
          <p:cNvPr id="13" name="Table 12">
            <a:extLst>
              <a:ext uri="{FF2B5EF4-FFF2-40B4-BE49-F238E27FC236}">
                <a16:creationId xmlns:a16="http://schemas.microsoft.com/office/drawing/2014/main" id="{A9BF688B-B7F8-4DBF-B112-1CF484200245}"/>
              </a:ext>
            </a:extLst>
          </p:cNvPr>
          <p:cNvGraphicFramePr>
            <a:graphicFrameLocks noGrp="1"/>
          </p:cNvGraphicFramePr>
          <p:nvPr/>
        </p:nvGraphicFramePr>
        <p:xfrm>
          <a:off x="9904240" y="1603546"/>
          <a:ext cx="1522103" cy="4117393"/>
        </p:xfrm>
        <a:graphic>
          <a:graphicData uri="http://schemas.openxmlformats.org/drawingml/2006/table">
            <a:tbl>
              <a:tblPr firstRow="1" bandRow="1">
                <a:tableStyleId>{9D7B26C5-4107-4FEC-AEDC-1716B250A1EF}</a:tableStyleId>
              </a:tblPr>
              <a:tblGrid>
                <a:gridCol w="1522103">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bl>
          </a:graphicData>
        </a:graphic>
      </p:graphicFrame>
      <p:sp>
        <p:nvSpPr>
          <p:cNvPr id="15" name="Rectangle 14">
            <a:extLst>
              <a:ext uri="{FF2B5EF4-FFF2-40B4-BE49-F238E27FC236}">
                <a16:creationId xmlns:a16="http://schemas.microsoft.com/office/drawing/2014/main" id="{AA77B33B-7FF7-4BA8-BE05-7C082C1C0E5D}"/>
              </a:ext>
            </a:extLst>
          </p:cNvPr>
          <p:cNvSpPr/>
          <p:nvPr/>
        </p:nvSpPr>
        <p:spPr>
          <a:xfrm>
            <a:off x="9904238" y="1603546"/>
            <a:ext cx="1522298" cy="4117921"/>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7" name="TextBox 16">
            <a:extLst>
              <a:ext uri="{FF2B5EF4-FFF2-40B4-BE49-F238E27FC236}">
                <a16:creationId xmlns:a16="http://schemas.microsoft.com/office/drawing/2014/main" id="{A00A4954-B394-413C-B8F6-308483287225}"/>
              </a:ext>
            </a:extLst>
          </p:cNvPr>
          <p:cNvSpPr txBox="1"/>
          <p:nvPr/>
        </p:nvSpPr>
        <p:spPr>
          <a:xfrm>
            <a:off x="1016899" y="5146447"/>
            <a:ext cx="979640" cy="542399"/>
          </a:xfrm>
          <a:prstGeom prst="rect">
            <a:avLst/>
          </a:prstGeom>
          <a:solidFill>
            <a:schemeClr val="tx1"/>
          </a:solidFill>
        </p:spPr>
        <p:txBody>
          <a:bodyPr wrap="square" rtlCol="0">
            <a:spAutoFit/>
          </a:bodyPr>
          <a:lstStyle/>
          <a:p>
            <a:pPr algn="ctr"/>
            <a:endParaRPr lang="en-US" sz="2856">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4AD8397D-A221-4D43-89A3-11175CAA0224}"/>
              </a:ext>
            </a:extLst>
          </p:cNvPr>
          <p:cNvSpPr txBox="1"/>
          <p:nvPr/>
        </p:nvSpPr>
        <p:spPr>
          <a:xfrm>
            <a:off x="1267559" y="4955550"/>
            <a:ext cx="539849" cy="670512"/>
          </a:xfrm>
          <a:prstGeom prst="rect">
            <a:avLst/>
          </a:prstGeom>
          <a:noFill/>
        </p:spPr>
        <p:txBody>
          <a:bodyPr wrap="none" rtlCol="0">
            <a:spAutoFit/>
          </a:bodyPr>
          <a:lstStyle/>
          <a:p>
            <a:r>
              <a:rPr lang="en-US" sz="3672">
                <a:solidFill>
                  <a:schemeClr val="bg1"/>
                </a:solidFill>
              </a:rPr>
              <a:t>…</a:t>
            </a:r>
          </a:p>
        </p:txBody>
      </p:sp>
      <p:cxnSp>
        <p:nvCxnSpPr>
          <p:cNvPr id="21" name="Straight Arrow Connector 20">
            <a:extLst>
              <a:ext uri="{FF2B5EF4-FFF2-40B4-BE49-F238E27FC236}">
                <a16:creationId xmlns:a16="http://schemas.microsoft.com/office/drawing/2014/main" id="{E2D1F5D0-964F-4A3F-95EA-FC646084FDD4}"/>
              </a:ext>
            </a:extLst>
          </p:cNvPr>
          <p:cNvCxnSpPr>
            <a:cxnSpLocks/>
          </p:cNvCxnSpPr>
          <p:nvPr/>
        </p:nvCxnSpPr>
        <p:spPr>
          <a:xfrm flipV="1">
            <a:off x="11809000" y="1631259"/>
            <a:ext cx="0" cy="4090208"/>
          </a:xfrm>
          <a:prstGeom prst="straightConnector1">
            <a:avLst/>
          </a:prstGeom>
          <a:ln w="76200">
            <a:prstDash val="sysDot"/>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623931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7" name="Content Placeholder 2">
            <a:extLst>
              <a:ext uri="{FF2B5EF4-FFF2-40B4-BE49-F238E27FC236}">
                <a16:creationId xmlns:a16="http://schemas.microsoft.com/office/drawing/2014/main" id="{4F072593-2924-4EF9-B891-AABE80ED9748}"/>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Calculated columns are </a:t>
            </a:r>
            <a:r>
              <a:rPr lang="en-US" sz="1836" b="1">
                <a:solidFill>
                  <a:schemeClr val="tx1">
                    <a:lumMod val="50000"/>
                    <a:lumOff val="50000"/>
                  </a:schemeClr>
                </a:solidFill>
                <a:latin typeface="Segoe UI" panose="020B0502040204020203" pitchFamily="34" charset="0"/>
              </a:rPr>
              <a:t>evaluated at the table level</a:t>
            </a:r>
            <a:r>
              <a:rPr lang="en-US" sz="1836">
                <a:latin typeface="Segoe UI" panose="020B0502040204020203" pitchFamily="34" charset="0"/>
              </a:rPr>
              <a:t>. It is a good practice not to include calculated columns where you have partitions that you refresh often. Consider moving these calculations to the external data source or an M query.</a:t>
            </a:r>
          </a:p>
        </p:txBody>
      </p:sp>
      <p:sp>
        <p:nvSpPr>
          <p:cNvPr id="8" name="Rectangle 7">
            <a:extLst>
              <a:ext uri="{FF2B5EF4-FFF2-40B4-BE49-F238E27FC236}">
                <a16:creationId xmlns:a16="http://schemas.microsoft.com/office/drawing/2014/main" id="{5DA10E94-9282-40DB-A02F-0DEA0F2ABA66}"/>
              </a:ext>
            </a:extLst>
          </p:cNvPr>
          <p:cNvSpPr/>
          <p:nvPr/>
        </p:nvSpPr>
        <p:spPr>
          <a:xfrm>
            <a:off x="10546294" y="6294991"/>
            <a:ext cx="172908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s: Marco Russo</a:t>
            </a:r>
          </a:p>
        </p:txBody>
      </p:sp>
    </p:spTree>
    <p:extLst>
      <p:ext uri="{BB962C8B-B14F-4D97-AF65-F5344CB8AC3E}">
        <p14:creationId xmlns:p14="http://schemas.microsoft.com/office/powerpoint/2010/main" val="392625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591745266"/>
              </p:ext>
            </p:extLst>
          </p:nvPr>
        </p:nvGraphicFramePr>
        <p:xfrm>
          <a:off x="465954" y="1249885"/>
          <a:ext cx="11375188" cy="4938569"/>
        </p:xfrm>
        <a:graphic>
          <a:graphicData uri="http://schemas.openxmlformats.org/drawingml/2006/table">
            <a:tbl>
              <a:tblPr firstRow="1" bandRow="1">
                <a:tableStyleId>{5C22544A-7EE6-4342-B048-85BDC9FD1C3A}</a:tableStyleId>
              </a:tblPr>
              <a:tblGrid>
                <a:gridCol w="2152077">
                  <a:extLst>
                    <a:ext uri="{9D8B030D-6E8A-4147-A177-3AD203B41FA5}">
                      <a16:colId xmlns:a16="http://schemas.microsoft.com/office/drawing/2014/main" val="1768755900"/>
                    </a:ext>
                  </a:extLst>
                </a:gridCol>
                <a:gridCol w="2623691">
                  <a:extLst>
                    <a:ext uri="{9D8B030D-6E8A-4147-A177-3AD203B41FA5}">
                      <a16:colId xmlns:a16="http://schemas.microsoft.com/office/drawing/2014/main" val="790972667"/>
                    </a:ext>
                  </a:extLst>
                </a:gridCol>
                <a:gridCol w="6599420">
                  <a:extLst>
                    <a:ext uri="{9D8B030D-6E8A-4147-A177-3AD203B41FA5}">
                      <a16:colId xmlns:a16="http://schemas.microsoft.com/office/drawing/2014/main" val="3331715341"/>
                    </a:ext>
                  </a:extLst>
                </a:gridCol>
              </a:tblGrid>
              <a:tr h="457200">
                <a:tc gridSpan="3">
                  <a:txBody>
                    <a:bodyPr/>
                    <a:lstStyle/>
                    <a:p>
                      <a:r>
                        <a:rPr lang="en-US" sz="1800" b="0">
                          <a:solidFill>
                            <a:srgbClr val="191919"/>
                          </a:solidFill>
                          <a:latin typeface="+mj-lt"/>
                        </a:rPr>
                        <a:t>Morning</a:t>
                      </a:r>
                      <a:endParaRPr lang="en-IN" sz="1800" b="0" dirty="0">
                        <a:solidFill>
                          <a:srgbClr val="191919"/>
                        </a:solidFill>
                        <a:latin typeface="+mj-lt"/>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IN" sz="1800" b="0">
                        <a:solidFill>
                          <a:srgbClr val="191919"/>
                        </a:solidFill>
                        <a:latin typeface="+mj-lt"/>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467356">
                <a:tc>
                  <a:txBody>
                    <a:bodyPr/>
                    <a:lstStyle/>
                    <a:p>
                      <a:r>
                        <a:rPr lang="en-US" sz="1400">
                          <a:solidFill>
                            <a:schemeClr val="tx1"/>
                          </a:solidFill>
                        </a:rPr>
                        <a:t>9:00 AM – 9:15 AM</a:t>
                      </a:r>
                      <a:endParaRPr lang="en-IN" sz="1600" b="1"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IN" sz="160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chemeClr val="tx1"/>
                          </a:solidFill>
                        </a:rPr>
                        <a:t>Introductions, setup and retrospective</a:t>
                      </a:r>
                      <a:endParaRPr lang="en-IN" sz="16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430949">
                <a:tc>
                  <a:txBody>
                    <a:bodyPr/>
                    <a:lstStyle/>
                    <a:p>
                      <a:r>
                        <a:rPr lang="en-US" sz="1400">
                          <a:solidFill>
                            <a:schemeClr val="tx1"/>
                          </a:solidFill>
                        </a:rPr>
                        <a:t>9:15 AM – 10:30 AM</a:t>
                      </a:r>
                      <a:endParaRPr lang="en-US"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rPr>
                        <a:t>Alex Powers</a:t>
                      </a:r>
                      <a:endParaRPr lang="en-US" sz="12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preparation</a:t>
                      </a:r>
                      <a:endParaRPr lang="en-US" sz="14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467356">
                <a:tc>
                  <a:txBody>
                    <a:bodyPr/>
                    <a:lstStyle/>
                    <a:p>
                      <a:pPr marL="0" algn="l" defTabSz="951209" rtl="0" eaLnBrk="1" latinLnBrk="0" hangingPunct="1"/>
                      <a:r>
                        <a:rPr lang="en-US" sz="1400" kern="1200">
                          <a:solidFill>
                            <a:schemeClr val="tx1"/>
                          </a:solidFill>
                          <a:latin typeface="+mj-lt"/>
                          <a:ea typeface="+mn-ea"/>
                          <a:cs typeface="+mn-cs"/>
                        </a:rPr>
                        <a:t>10:30 AM – 11:00 A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33078290"/>
                  </a:ext>
                </a:extLst>
              </a:tr>
              <a:tr h="430949">
                <a:tc>
                  <a:txBody>
                    <a:bodyPr/>
                    <a:lstStyle/>
                    <a:p>
                      <a:r>
                        <a:rPr lang="en-US" sz="1400">
                          <a:solidFill>
                            <a:schemeClr val="tx1"/>
                          </a:solidFill>
                        </a:rPr>
                        <a:t>11:00 AM – 12:00 PM</a:t>
                      </a:r>
                      <a:endParaRPr lang="en-IN" sz="16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latin typeface="+mn-lt"/>
                          <a:ea typeface="+mn-ea"/>
                          <a:cs typeface="+mn-cs"/>
                        </a:rPr>
                        <a:t>Patrick LeBlanc</a:t>
                      </a:r>
                      <a:endParaRPr lang="en-US" sz="1200" kern="1200" dirty="0">
                        <a:solidFill>
                          <a:schemeClr val="tx1"/>
                        </a:solidFill>
                        <a:latin typeface="+mn-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a:solidFill>
                            <a:schemeClr val="tx1"/>
                          </a:solidFill>
                        </a:rPr>
                        <a:t>Data modeling</a:t>
                      </a: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467356">
                <a:tc>
                  <a:txBody>
                    <a:bodyPr/>
                    <a:lstStyle/>
                    <a:p>
                      <a:r>
                        <a:rPr lang="en-US" sz="1400">
                          <a:solidFill>
                            <a:schemeClr val="tx1"/>
                          </a:solidFill>
                          <a:latin typeface="+mj-lt"/>
                        </a:rPr>
                        <a:t>12:00 PM – 1:00 PM</a:t>
                      </a:r>
                      <a:endParaRPr lang="en-IN" sz="1600" dirty="0">
                        <a:solidFill>
                          <a:schemeClr val="tx1"/>
                        </a:solidFill>
                        <a:latin typeface="+mj-lt"/>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IN" sz="160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400">
                          <a:solidFill>
                            <a:schemeClr val="tx1"/>
                          </a:solidFill>
                          <a:latin typeface="+mj-lt"/>
                        </a:rPr>
                        <a:t>Break for lunch</a:t>
                      </a:r>
                      <a:endParaRPr lang="en-IN" sz="1600" dirty="0">
                        <a:solidFill>
                          <a:schemeClr val="tx1"/>
                        </a:solidFill>
                        <a:latin typeface="+mj-lt"/>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9600049"/>
                  </a:ext>
                </a:extLst>
              </a:tr>
              <a:tr h="457200">
                <a:tc gridSpan="3">
                  <a:txBody>
                    <a:bodyPr/>
                    <a:lstStyle/>
                    <a:p>
                      <a:pPr marL="0" algn="l" defTabSz="914367" rtl="0" eaLnBrk="1" latinLnBrk="0" hangingPunct="1"/>
                      <a:r>
                        <a:rPr lang="en-IN" sz="1800" b="0" kern="1200">
                          <a:solidFill>
                            <a:srgbClr val="191919"/>
                          </a:solidFill>
                          <a:latin typeface="+mj-lt"/>
                          <a:ea typeface="+mn-ea"/>
                          <a:cs typeface="+mn-cs"/>
                        </a:rPr>
                        <a:t>Afternoon</a:t>
                      </a:r>
                      <a:endParaRPr lang="en-IN" sz="1800" b="0" kern="1200" dirty="0">
                        <a:solidFill>
                          <a:srgbClr val="191919"/>
                        </a:solidFill>
                        <a:latin typeface="+mj-lt"/>
                        <a:ea typeface="+mn-ea"/>
                        <a:cs typeface="+mn-cs"/>
                      </a:endParaRPr>
                    </a:p>
                  </a:txBody>
                  <a:tcPr marL="74598" marR="74598" marT="46624" marB="46624">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270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9050" cap="flat" cmpd="sng" algn="ctr">
                      <a:solidFill>
                        <a:srgbClr val="F2C811"/>
                      </a:solidFill>
                      <a:prstDash val="solid"/>
                      <a:round/>
                      <a:headEnd type="none" w="med" len="med"/>
                      <a:tailEnd type="none" w="med" len="med"/>
                    </a:lnT>
                  </a:tcPr>
                </a:tc>
                <a:tc hMerge="1">
                  <a:txBody>
                    <a:bodyPr/>
                    <a:lstStyle/>
                    <a:p>
                      <a:pPr marL="0" algn="l" defTabSz="914367" rtl="0" eaLnBrk="1" latinLnBrk="0" hangingPunct="1"/>
                      <a:endParaRPr lang="en-IN" sz="1800" b="0" kern="1200">
                        <a:solidFill>
                          <a:srgbClr val="191919"/>
                        </a:solidFill>
                        <a:latin typeface="+mj-lt"/>
                        <a:ea typeface="+mn-ea"/>
                        <a:cs typeface="+mn-cs"/>
                      </a:endParaRPr>
                    </a:p>
                  </a:txBody>
                  <a:tcPr marL="74608" marR="74608" marT="46630" marB="46630">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4523050"/>
                  </a:ext>
                </a:extLst>
              </a:tr>
              <a:tr h="430949">
                <a:tc>
                  <a:txBody>
                    <a:bodyPr/>
                    <a:lstStyle/>
                    <a:p>
                      <a:r>
                        <a:rPr lang="en-US" sz="1400">
                          <a:solidFill>
                            <a:schemeClr val="tx1"/>
                          </a:solidFill>
                        </a:rPr>
                        <a:t>1:00 PM – 2:0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a:solidFill>
                            <a:schemeClr val="tx1"/>
                          </a:solidFill>
                          <a:latin typeface="+mn-lt"/>
                          <a:ea typeface="+mn-ea"/>
                          <a:cs typeface="+mn-cs"/>
                        </a:rPr>
                        <a:t>Patrick LeBlanc</a:t>
                      </a:r>
                      <a:endParaRPr lang="en-IN" sz="1200" kern="1200" dirty="0">
                        <a:solidFill>
                          <a:schemeClr val="tx1"/>
                        </a:solidFill>
                        <a:latin typeface="+mn-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rPr>
                        <a:t>Data modeling (continued)</a:t>
                      </a:r>
                      <a:endParaRPr lang="en-US" sz="14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r h="430949">
                <a:tc>
                  <a:txBody>
                    <a:bodyPr/>
                    <a:lstStyle/>
                    <a:p>
                      <a:pPr marL="0" algn="l" defTabSz="951209" rtl="0" eaLnBrk="1" latinLnBrk="0" hangingPunct="1"/>
                      <a:r>
                        <a:rPr lang="en-US" sz="1400" kern="1200">
                          <a:solidFill>
                            <a:schemeClr val="tx1"/>
                          </a:solidFill>
                          <a:latin typeface="+mj-lt"/>
                          <a:ea typeface="+mn-ea"/>
                          <a:cs typeface="+mn-cs"/>
                        </a:rPr>
                        <a:t>2:00 PM – 2:15 P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a:solidFill>
                            <a:schemeClr val="tx1"/>
                          </a:solidFill>
                          <a:latin typeface="+mj-lt"/>
                          <a:ea typeface="+mn-ea"/>
                          <a:cs typeface="+mn-cs"/>
                        </a:rPr>
                        <a:t>Break &amp;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9367373"/>
                  </a:ext>
                </a:extLst>
              </a:tr>
              <a:tr h="430949">
                <a:tc>
                  <a:txBody>
                    <a:bodyPr/>
                    <a:lstStyle/>
                    <a:p>
                      <a:r>
                        <a:rPr lang="en-IN" sz="1400">
                          <a:solidFill>
                            <a:schemeClr val="tx1"/>
                          </a:solidFill>
                        </a:rPr>
                        <a:t>2:15 PM – 3:30 PM</a:t>
                      </a:r>
                      <a:endParaRPr lang="en-IN" sz="1400" dirty="0">
                        <a:solidFill>
                          <a:schemeClr val="tx1"/>
                        </a:solidFill>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200" kern="1200">
                          <a:solidFill>
                            <a:schemeClr val="tx1"/>
                          </a:solidFill>
                          <a:latin typeface="+mn-lt"/>
                          <a:ea typeface="+mn-ea"/>
                          <a:cs typeface="+mn-cs"/>
                        </a:rPr>
                        <a:t>Alex Powers</a:t>
                      </a:r>
                      <a:endParaRPr lang="en-IN" sz="1200" kern="1200" dirty="0">
                        <a:solidFill>
                          <a:schemeClr val="tx1"/>
                        </a:solidFill>
                        <a:latin typeface="+mn-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1209" rtl="0" eaLnBrk="1" fontAlgn="auto" latinLnBrk="0" hangingPunct="1">
                        <a:lnSpc>
                          <a:spcPct val="100000"/>
                        </a:lnSpc>
                        <a:spcBef>
                          <a:spcPts val="0"/>
                        </a:spcBef>
                        <a:spcAft>
                          <a:spcPts val="0"/>
                        </a:spcAft>
                        <a:buClrTx/>
                        <a:buSzTx/>
                        <a:buFontTx/>
                        <a:buNone/>
                        <a:tabLst/>
                        <a:defRPr/>
                      </a:pPr>
                      <a:r>
                        <a:rPr lang="en-US" sz="1400">
                          <a:solidFill>
                            <a:schemeClr val="tx1"/>
                          </a:solidFill>
                        </a:rPr>
                        <a:t>Data visualization</a:t>
                      </a:r>
                      <a:endParaRPr lang="en-US" sz="1400"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6176627"/>
                  </a:ext>
                </a:extLst>
              </a:tr>
              <a:tr h="467356">
                <a:tc>
                  <a:txBody>
                    <a:bodyPr/>
                    <a:lstStyle/>
                    <a:p>
                      <a:pPr marL="0" algn="l" defTabSz="951209" rtl="0" eaLnBrk="1" latinLnBrk="0" hangingPunct="1"/>
                      <a:r>
                        <a:rPr lang="en-IN" sz="1400" kern="1200">
                          <a:solidFill>
                            <a:schemeClr val="tx1"/>
                          </a:solidFill>
                          <a:latin typeface="+mj-lt"/>
                          <a:ea typeface="+mn-ea"/>
                          <a:cs typeface="+mn-cs"/>
                        </a:rPr>
                        <a:t>3:30 PM – 4:00 PM</a:t>
                      </a:r>
                      <a:endParaRPr lang="en-IN" sz="1400" kern="1200" dirty="0">
                        <a:solidFill>
                          <a:schemeClr val="tx1"/>
                        </a:solidFill>
                        <a:latin typeface="+mj-lt"/>
                        <a:ea typeface="+mn-ea"/>
                        <a:cs typeface="+mn-cs"/>
                      </a:endParaRPr>
                    </a:p>
                  </a:txBody>
                  <a:tcPr marL="74598" marR="74598" marT="46624" marB="46624">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IN" sz="1600" b="1" dirty="0">
                        <a:solidFill>
                          <a:schemeClr val="tx1"/>
                        </a:solidFill>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l" defTabSz="951209" rtl="0" eaLnBrk="1" latinLnBrk="0" hangingPunct="1"/>
                      <a:r>
                        <a:rPr lang="en-US" sz="1400" kern="1200" dirty="0">
                          <a:solidFill>
                            <a:schemeClr val="tx1"/>
                          </a:solidFill>
                          <a:latin typeface="+mj-lt"/>
                          <a:ea typeface="+mn-ea"/>
                          <a:cs typeface="+mn-cs"/>
                        </a:rPr>
                        <a:t>Closing thoughts and Q&amp;A</a:t>
                      </a:r>
                      <a:endParaRPr lang="en-IN" sz="1400" kern="1200" dirty="0">
                        <a:solidFill>
                          <a:schemeClr val="tx1"/>
                        </a:solidFill>
                        <a:latin typeface="+mj-lt"/>
                        <a:ea typeface="+mn-ea"/>
                        <a:cs typeface="+mn-cs"/>
                      </a:endParaRPr>
                    </a:p>
                  </a:txBody>
                  <a:tcPr marL="74598" marR="74598" marT="46624" marB="46624">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20876743"/>
                  </a:ext>
                </a:extLst>
              </a:tr>
            </a:tbl>
          </a:graphicData>
        </a:graphic>
      </p:graphicFrame>
      <p:sp>
        <p:nvSpPr>
          <p:cNvPr id="4" name="TextBox 3">
            <a:extLst>
              <a:ext uri="{FF2B5EF4-FFF2-40B4-BE49-F238E27FC236}">
                <a16:creationId xmlns:a16="http://schemas.microsoft.com/office/drawing/2014/main" id="{073A8F06-C566-BAFF-6E2C-C7B7BAA5FABC}"/>
              </a:ext>
            </a:extLst>
          </p:cNvPr>
          <p:cNvSpPr txBox="1"/>
          <p:nvPr/>
        </p:nvSpPr>
        <p:spPr>
          <a:xfrm>
            <a:off x="465139" y="6484650"/>
            <a:ext cx="11375188" cy="307777"/>
          </a:xfrm>
          <a:prstGeom prst="rect">
            <a:avLst/>
          </a:prstGeom>
          <a:noFill/>
          <a:ln w="3175">
            <a:solidFill>
              <a:schemeClr val="tx1"/>
            </a:solidFill>
          </a:ln>
        </p:spPr>
        <p:txBody>
          <a:bodyPr wrap="square">
            <a:spAutoFit/>
          </a:bodyPr>
          <a:lstStyle/>
          <a:p>
            <a:r>
              <a:rPr lang="en-US" sz="1400" b="0" i="0" dirty="0">
                <a:solidFill>
                  <a:srgbClr val="24292F"/>
                </a:solidFill>
                <a:effectLst/>
                <a:latin typeface="-apple-system"/>
              </a:rPr>
              <a:t>This workshop assumes that you have a working knowledge of report authoring using Power BI Desktop and content sharing via the Power BI service.</a:t>
            </a:r>
            <a:endParaRPr lang="en-US" sz="1400" dirty="0"/>
          </a:p>
        </p:txBody>
      </p:sp>
    </p:spTree>
    <p:extLst>
      <p:ext uri="{BB962C8B-B14F-4D97-AF65-F5344CB8AC3E}">
        <p14:creationId xmlns:p14="http://schemas.microsoft.com/office/powerpoint/2010/main" val="1531936027"/>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889594"/>
            <a:ext cx="7384111" cy="753238"/>
          </a:xfrm>
        </p:spPr>
        <p:txBody>
          <a:bodyPr/>
          <a:lstStyle/>
          <a:p>
            <a:r>
              <a:rPr lang="en-US" sz="4799"/>
              <a:t>DEMO</a:t>
            </a:r>
          </a:p>
        </p:txBody>
      </p:sp>
    </p:spTree>
    <p:extLst>
      <p:ext uri="{BB962C8B-B14F-4D97-AF65-F5344CB8AC3E}">
        <p14:creationId xmlns:p14="http://schemas.microsoft.com/office/powerpoint/2010/main" val="421777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Row-level Security</a:t>
            </a:r>
            <a:endParaRPr lang="en-US" sz="4080" spc="0">
              <a:solidFill>
                <a:srgbClr val="FFC000"/>
              </a:solidFill>
            </a:endParaRPr>
          </a:p>
        </p:txBody>
      </p:sp>
      <p:sp>
        <p:nvSpPr>
          <p:cNvPr id="4" name="Content Placeholder 3">
            <a:extLst>
              <a:ext uri="{FF2B5EF4-FFF2-40B4-BE49-F238E27FC236}">
                <a16:creationId xmlns:a16="http://schemas.microsoft.com/office/drawing/2014/main" id="{9668475D-3E5E-42CC-B3E4-E83D54889211}"/>
              </a:ext>
            </a:extLst>
          </p:cNvPr>
          <p:cNvSpPr>
            <a:spLocks noGrp="1"/>
          </p:cNvSpPr>
          <p:nvPr>
            <p:ph idx="1"/>
          </p:nvPr>
        </p:nvSpPr>
        <p:spPr>
          <a:xfrm>
            <a:off x="595839" y="1464081"/>
            <a:ext cx="9550343" cy="4834529"/>
          </a:xfrm>
        </p:spPr>
        <p:txBody>
          <a:bodyPr/>
          <a:lstStyle/>
          <a:p>
            <a:pPr marL="0" indent="0">
              <a:buNone/>
            </a:pPr>
            <a:r>
              <a:rPr lang="en-US" dirty="0"/>
              <a:t>Things to Remember:</a:t>
            </a:r>
          </a:p>
          <a:p>
            <a:pPr marL="342900" indent="-342900">
              <a:buAutoNum type="arabicPeriod"/>
            </a:pPr>
            <a:r>
              <a:rPr lang="en-US" sz="2800" dirty="0"/>
              <a:t>View Role</a:t>
            </a:r>
          </a:p>
          <a:p>
            <a:pPr marL="342900" indent="-342900">
              <a:buAutoNum type="arabicPeriod"/>
            </a:pPr>
            <a:r>
              <a:rPr lang="en-US" sz="2800" dirty="0"/>
              <a:t>Add member/group to Role in service</a:t>
            </a:r>
          </a:p>
          <a:p>
            <a:pPr marL="342900" indent="-342900">
              <a:buAutoNum type="arabicPeriod"/>
            </a:pPr>
            <a:r>
              <a:rPr lang="en-US" sz="2800" dirty="0"/>
              <a:t>Test Role</a:t>
            </a:r>
          </a:p>
          <a:p>
            <a:pPr marL="342900" indent="-342900">
              <a:buAutoNum type="arabicPeriod"/>
            </a:pPr>
            <a:r>
              <a:rPr lang="en-US" sz="2800" dirty="0"/>
              <a:t>Use only when necessary</a:t>
            </a:r>
          </a:p>
          <a:p>
            <a:pPr marL="342900" indent="-342900">
              <a:buAutoNum type="arabicPeriod"/>
            </a:pPr>
            <a:r>
              <a:rPr lang="en-US" sz="2800" dirty="0"/>
              <a:t>Filter on Dimension</a:t>
            </a:r>
          </a:p>
          <a:p>
            <a:pPr marL="342900" indent="-342900">
              <a:buAutoNum type="arabicPeriod"/>
            </a:pPr>
            <a:r>
              <a:rPr lang="en-US" sz="2800" dirty="0"/>
              <a:t>Avoid using LOOKUPVALUE, use relationships in model</a:t>
            </a:r>
          </a:p>
        </p:txBody>
      </p:sp>
    </p:spTree>
    <p:extLst>
      <p:ext uri="{BB962C8B-B14F-4D97-AF65-F5344CB8AC3E}">
        <p14:creationId xmlns:p14="http://schemas.microsoft.com/office/powerpoint/2010/main" val="1264552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Semantic">
            <a:extLst>
              <a:ext uri="{FF2B5EF4-FFF2-40B4-BE49-F238E27FC236}">
                <a16:creationId xmlns:a16="http://schemas.microsoft.com/office/drawing/2014/main" id="{EB302695-E019-46FD-A94B-B1E37944724D}"/>
              </a:ext>
              <a:ext uri="{C183D7F6-B498-43B3-948B-1728B52AA6E4}">
                <adec:decorative xmlns:adec="http://schemas.microsoft.com/office/drawing/2017/decorative" val="1"/>
              </a:ext>
            </a:extLst>
          </p:cNvPr>
          <p:cNvGrpSpPr/>
          <p:nvPr/>
        </p:nvGrpSpPr>
        <p:grpSpPr>
          <a:xfrm>
            <a:off x="3416323" y="2979591"/>
            <a:ext cx="2340535" cy="2338613"/>
            <a:chOff x="6572327" y="3183010"/>
            <a:chExt cx="2295144" cy="2293259"/>
          </a:xfrm>
        </p:grpSpPr>
        <p:sp>
          <p:nvSpPr>
            <p:cNvPr id="29" name="Oval 28">
              <a:extLst>
                <a:ext uri="{FF2B5EF4-FFF2-40B4-BE49-F238E27FC236}">
                  <a16:creationId xmlns:a16="http://schemas.microsoft.com/office/drawing/2014/main" id="{3C138CE8-E81F-4555-871D-DFECCDCF7278}"/>
                </a:ext>
              </a:extLst>
            </p:cNvPr>
            <p:cNvSpPr/>
            <p:nvPr/>
          </p:nvSpPr>
          <p:spPr bwMode="auto">
            <a:xfrm>
              <a:off x="6572327" y="3183010"/>
              <a:ext cx="2295144" cy="2293259"/>
            </a:xfrm>
            <a:prstGeom prst="ellipse">
              <a:avLst/>
            </a:prstGeom>
            <a:solidFill>
              <a:schemeClr val="bg1">
                <a:lumMod val="85000"/>
                <a:lumOff val="15000"/>
                <a:alpha val="25000"/>
              </a:schemeClr>
            </a:solidFill>
            <a:ln w="25400">
              <a:solidFill>
                <a:srgbClr val="BB6100"/>
              </a:solidFill>
            </a:ln>
            <a:effectLst/>
          </p:spPr>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1836" kern="0">
                <a:solidFill>
                  <a:srgbClr val="FFC000"/>
                </a:soli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94559AB9-1955-4BEE-B7A7-DBEC76684186}"/>
                </a:ext>
              </a:extLst>
            </p:cNvPr>
            <p:cNvSpPr txBox="1"/>
            <p:nvPr/>
          </p:nvSpPr>
          <p:spPr>
            <a:xfrm>
              <a:off x="7471170" y="3572885"/>
              <a:ext cx="480816" cy="127151"/>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Security</a:t>
              </a:r>
            </a:p>
          </p:txBody>
        </p:sp>
        <p:sp>
          <p:nvSpPr>
            <p:cNvPr id="31" name="Lock" title="Icon of a padlock">
              <a:extLst>
                <a:ext uri="{FF2B5EF4-FFF2-40B4-BE49-F238E27FC236}">
                  <a16:creationId xmlns:a16="http://schemas.microsoft.com/office/drawing/2014/main" id="{FD2BA6B7-A0A9-41E1-8682-76976A1C37A7}"/>
                </a:ext>
              </a:extLst>
            </p:cNvPr>
            <p:cNvSpPr>
              <a:spLocks noChangeAspect="1" noEditPoints="1"/>
            </p:cNvSpPr>
            <p:nvPr/>
          </p:nvSpPr>
          <p:spPr bwMode="auto">
            <a:xfrm>
              <a:off x="7641228" y="3257715"/>
              <a:ext cx="140699" cy="19664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nvGrpSpPr>
            <p:cNvPr id="32" name="Group 31">
              <a:extLst>
                <a:ext uri="{FF2B5EF4-FFF2-40B4-BE49-F238E27FC236}">
                  <a16:creationId xmlns:a16="http://schemas.microsoft.com/office/drawing/2014/main" id="{F8724F15-73AE-4852-8D68-0F153EE36462}"/>
                </a:ext>
              </a:extLst>
            </p:cNvPr>
            <p:cNvGrpSpPr/>
            <p:nvPr/>
          </p:nvGrpSpPr>
          <p:grpSpPr>
            <a:xfrm>
              <a:off x="6620322" y="4082283"/>
              <a:ext cx="582923" cy="521167"/>
              <a:chOff x="7218611" y="3194265"/>
              <a:chExt cx="815691" cy="729277"/>
            </a:xfrm>
          </p:grpSpPr>
          <p:sp>
            <p:nvSpPr>
              <p:cNvPr id="48" name="TextBox 47">
                <a:extLst>
                  <a:ext uri="{FF2B5EF4-FFF2-40B4-BE49-F238E27FC236}">
                    <a16:creationId xmlns:a16="http://schemas.microsoft.com/office/drawing/2014/main" id="{34A3F998-459E-4E08-B8A0-5802CEBFB96B}"/>
                  </a:ext>
                </a:extLst>
              </p:cNvPr>
              <p:cNvSpPr txBox="1"/>
              <p:nvPr/>
            </p:nvSpPr>
            <p:spPr>
              <a:xfrm>
                <a:off x="7218611" y="3574642"/>
                <a:ext cx="815691" cy="348900"/>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In-memory</a:t>
                </a:r>
                <a:br>
                  <a:rPr lang="en-US" sz="918" kern="0">
                    <a:solidFill>
                      <a:srgbClr val="FFC000"/>
                    </a:solidFill>
                    <a:latin typeface="Segoe UI Semibold"/>
                  </a:rPr>
                </a:br>
                <a:r>
                  <a:rPr lang="en-US" sz="918" kern="0">
                    <a:solidFill>
                      <a:srgbClr val="FFC000"/>
                    </a:solidFill>
                    <a:latin typeface="Segoe UI Semibold"/>
                  </a:rPr>
                  <a:t>cache</a:t>
                </a:r>
              </a:p>
            </p:txBody>
          </p:sp>
          <p:sp>
            <p:nvSpPr>
              <p:cNvPr id="49" name="LightningBolt_E945" title="Icon of a lightning bolt">
                <a:extLst>
                  <a:ext uri="{FF2B5EF4-FFF2-40B4-BE49-F238E27FC236}">
                    <a16:creationId xmlns:a16="http://schemas.microsoft.com/office/drawing/2014/main" id="{3663CD7F-BED1-40FD-8470-7A957A68F9FA}"/>
                  </a:ext>
                </a:extLst>
              </p:cNvPr>
              <p:cNvSpPr>
                <a:spLocks noChangeAspect="1"/>
              </p:cNvSpPr>
              <p:nvPr/>
            </p:nvSpPr>
            <p:spPr bwMode="auto">
              <a:xfrm>
                <a:off x="7532797" y="3194265"/>
                <a:ext cx="187318" cy="261396"/>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33" name="Group 32">
              <a:extLst>
                <a:ext uri="{FF2B5EF4-FFF2-40B4-BE49-F238E27FC236}">
                  <a16:creationId xmlns:a16="http://schemas.microsoft.com/office/drawing/2014/main" id="{07AD2B04-DBCF-4D5D-9C19-00F1922DCBD8}"/>
                </a:ext>
              </a:extLst>
            </p:cNvPr>
            <p:cNvGrpSpPr/>
            <p:nvPr/>
          </p:nvGrpSpPr>
          <p:grpSpPr>
            <a:xfrm>
              <a:off x="8207656" y="4090714"/>
              <a:ext cx="580744" cy="636419"/>
              <a:chOff x="8816823" y="4278622"/>
              <a:chExt cx="812645" cy="890555"/>
            </a:xfrm>
          </p:grpSpPr>
          <p:sp>
            <p:nvSpPr>
              <p:cNvPr id="40" name="TextBox 39">
                <a:extLst>
                  <a:ext uri="{FF2B5EF4-FFF2-40B4-BE49-F238E27FC236}">
                    <a16:creationId xmlns:a16="http://schemas.microsoft.com/office/drawing/2014/main" id="{C1F7312C-E6F1-433F-9B32-A10D05CAFAD7}"/>
                  </a:ext>
                </a:extLst>
              </p:cNvPr>
              <p:cNvSpPr txBox="1"/>
              <p:nvPr/>
            </p:nvSpPr>
            <p:spPr>
              <a:xfrm>
                <a:off x="8816823" y="4635404"/>
                <a:ext cx="812645" cy="533773"/>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Business logic</a:t>
                </a:r>
                <a:br>
                  <a:rPr lang="en-US" sz="918" kern="0">
                    <a:solidFill>
                      <a:srgbClr val="FFC000"/>
                    </a:solidFill>
                    <a:latin typeface="Segoe UI Semibold"/>
                  </a:rPr>
                </a:br>
                <a:r>
                  <a:rPr lang="en-US" sz="918" kern="0">
                    <a:solidFill>
                      <a:srgbClr val="FFC000"/>
                    </a:solidFill>
                    <a:latin typeface="Segoe UI Semibold"/>
                  </a:rPr>
                  <a:t>&amp; metrics</a:t>
                </a:r>
              </a:p>
            </p:txBody>
          </p:sp>
          <p:grpSp>
            <p:nvGrpSpPr>
              <p:cNvPr id="41" name="Group 40">
                <a:extLst>
                  <a:ext uri="{FF2B5EF4-FFF2-40B4-BE49-F238E27FC236}">
                    <a16:creationId xmlns:a16="http://schemas.microsoft.com/office/drawing/2014/main" id="{186173C5-85BE-484A-B1E8-C1FFA5855A6B}"/>
                  </a:ext>
                </a:extLst>
              </p:cNvPr>
              <p:cNvGrpSpPr/>
              <p:nvPr/>
            </p:nvGrpSpPr>
            <p:grpSpPr>
              <a:xfrm>
                <a:off x="9043250" y="4278622"/>
                <a:ext cx="359775" cy="287564"/>
                <a:chOff x="2533804" y="3717460"/>
                <a:chExt cx="655892" cy="524250"/>
              </a:xfrm>
            </p:grpSpPr>
            <p:grpSp>
              <p:nvGrpSpPr>
                <p:cNvPr id="42" name="Group 41">
                  <a:extLst>
                    <a:ext uri="{FF2B5EF4-FFF2-40B4-BE49-F238E27FC236}">
                      <a16:creationId xmlns:a16="http://schemas.microsoft.com/office/drawing/2014/main" id="{8B734E9A-EC14-4E2B-8F67-28C92E245897}"/>
                    </a:ext>
                  </a:extLst>
                </p:cNvPr>
                <p:cNvGrpSpPr/>
                <p:nvPr/>
              </p:nvGrpSpPr>
              <p:grpSpPr>
                <a:xfrm>
                  <a:off x="2533804" y="3878938"/>
                  <a:ext cx="351435" cy="362772"/>
                  <a:chOff x="6979556" y="4967290"/>
                  <a:chExt cx="295275" cy="304800"/>
                </a:xfrm>
              </p:grpSpPr>
              <p:sp>
                <p:nvSpPr>
                  <p:cNvPr id="46" name="Freeform: Shape 45">
                    <a:extLst>
                      <a:ext uri="{FF2B5EF4-FFF2-40B4-BE49-F238E27FC236}">
                        <a16:creationId xmlns:a16="http://schemas.microsoft.com/office/drawing/2014/main" id="{BCF23C08-8401-4084-A7B6-CBDC529B377D}"/>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7" name="Freeform: Shape 46">
                    <a:extLst>
                      <a:ext uri="{FF2B5EF4-FFF2-40B4-BE49-F238E27FC236}">
                        <a16:creationId xmlns:a16="http://schemas.microsoft.com/office/drawing/2014/main" id="{4ED93E01-FC0E-4D43-BA99-1FA8266D84C7}"/>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nvGrpSpPr>
                <p:cNvPr id="43" name="Group 42">
                  <a:extLst>
                    <a:ext uri="{FF2B5EF4-FFF2-40B4-BE49-F238E27FC236}">
                      <a16:creationId xmlns:a16="http://schemas.microsoft.com/office/drawing/2014/main" id="{F8A61B59-7561-41DC-B7E4-0744E5812550}"/>
                    </a:ext>
                  </a:extLst>
                </p:cNvPr>
                <p:cNvGrpSpPr/>
                <p:nvPr/>
              </p:nvGrpSpPr>
              <p:grpSpPr>
                <a:xfrm>
                  <a:off x="2900377" y="3717460"/>
                  <a:ext cx="289319" cy="298652"/>
                  <a:chOff x="6979556" y="4967290"/>
                  <a:chExt cx="295275" cy="304800"/>
                </a:xfrm>
              </p:grpSpPr>
              <p:sp>
                <p:nvSpPr>
                  <p:cNvPr id="44" name="Freeform: Shape 43">
                    <a:extLst>
                      <a:ext uri="{FF2B5EF4-FFF2-40B4-BE49-F238E27FC236}">
                        <a16:creationId xmlns:a16="http://schemas.microsoft.com/office/drawing/2014/main" id="{0F69B8F9-23BD-49B0-921D-D5C77BAAE3EB}"/>
                      </a:ext>
                    </a:extLst>
                  </p:cNvPr>
                  <p:cNvSpPr/>
                  <p:nvPr/>
                </p:nvSpPr>
                <p:spPr>
                  <a:xfrm>
                    <a:off x="7050993" y="5045395"/>
                    <a:ext cx="152400"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sp>
                <p:nvSpPr>
                  <p:cNvPr id="45" name="Freeform: Shape 44">
                    <a:extLst>
                      <a:ext uri="{FF2B5EF4-FFF2-40B4-BE49-F238E27FC236}">
                        <a16:creationId xmlns:a16="http://schemas.microsoft.com/office/drawing/2014/main" id="{00910223-79C2-4817-B3A7-EB18B4B09B43}"/>
                      </a:ext>
                    </a:extLst>
                  </p:cNvPr>
                  <p:cNvSpPr/>
                  <p:nvPr/>
                </p:nvSpPr>
                <p:spPr>
                  <a:xfrm>
                    <a:off x="6979556" y="4967290"/>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rgbClr val="BB61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8" tIns="46624" rIns="93248" bIns="46624" numCol="1" anchor="t" anchorCtr="0" compatLnSpc="1">
                    <a:prstTxWarp prst="textNoShape">
                      <a:avLst/>
                    </a:prstTxWarp>
                  </a:bodyPr>
                  <a:lstStyle/>
                  <a:p>
                    <a:pPr defTabSz="932504">
                      <a:defRPr/>
                    </a:pPr>
                    <a:endParaRPr lang="en-US" sz="612">
                      <a:solidFill>
                        <a:srgbClr val="FFC000"/>
                      </a:solidFill>
                      <a:latin typeface="Segoe UI"/>
                    </a:endParaRPr>
                  </a:p>
                </p:txBody>
              </p:sp>
            </p:grpSp>
          </p:grpSp>
        </p:grpSp>
        <p:grpSp>
          <p:nvGrpSpPr>
            <p:cNvPr id="34" name="Group 33">
              <a:extLst>
                <a:ext uri="{FF2B5EF4-FFF2-40B4-BE49-F238E27FC236}">
                  <a16:creationId xmlns:a16="http://schemas.microsoft.com/office/drawing/2014/main" id="{FAEA0DA6-F375-4A97-983A-742D5EE5B098}"/>
                </a:ext>
              </a:extLst>
            </p:cNvPr>
            <p:cNvGrpSpPr/>
            <p:nvPr/>
          </p:nvGrpSpPr>
          <p:grpSpPr>
            <a:xfrm>
              <a:off x="7565525" y="4946897"/>
              <a:ext cx="314269" cy="444151"/>
              <a:chOff x="7498789" y="4274821"/>
              <a:chExt cx="439761" cy="621510"/>
            </a:xfrm>
          </p:grpSpPr>
          <p:sp>
            <p:nvSpPr>
              <p:cNvPr id="38" name="TextBox 37">
                <a:extLst>
                  <a:ext uri="{FF2B5EF4-FFF2-40B4-BE49-F238E27FC236}">
                    <a16:creationId xmlns:a16="http://schemas.microsoft.com/office/drawing/2014/main" id="{401AE84F-F5CA-4DFB-84F8-5DAC6324867A}"/>
                  </a:ext>
                </a:extLst>
              </p:cNvPr>
              <p:cNvSpPr txBox="1"/>
              <p:nvPr/>
            </p:nvSpPr>
            <p:spPr>
              <a:xfrm>
                <a:off x="7498789" y="4718406"/>
                <a:ext cx="439761" cy="177925"/>
              </a:xfrm>
              <a:prstGeom prst="rect">
                <a:avLst/>
              </a:prstGeom>
              <a:noFill/>
            </p:spPr>
            <p:txBody>
              <a:bodyPr wrap="square" lIns="0" tIns="0" rIns="0" bIns="0" rtlCol="0">
                <a:spAutoFit/>
              </a:bodyPr>
              <a:lstStyle/>
              <a:p>
                <a:pPr algn="ctr" defTabSz="932504">
                  <a:lnSpc>
                    <a:spcPct val="90000"/>
                  </a:lnSpc>
                  <a:spcAft>
                    <a:spcPts val="600"/>
                  </a:spcAft>
                  <a:defRPr/>
                </a:pPr>
                <a:r>
                  <a:rPr lang="en-US" sz="918" kern="0">
                    <a:solidFill>
                      <a:srgbClr val="FFC000"/>
                    </a:solidFill>
                    <a:latin typeface="Segoe UI Semibold"/>
                  </a:rPr>
                  <a:t>ALM</a:t>
                </a:r>
              </a:p>
            </p:txBody>
          </p:sp>
          <p:sp>
            <p:nvSpPr>
              <p:cNvPr id="39" name="transform" title="Icon of a circle and a square with two curved lines making a cycle">
                <a:extLst>
                  <a:ext uri="{FF2B5EF4-FFF2-40B4-BE49-F238E27FC236}">
                    <a16:creationId xmlns:a16="http://schemas.microsoft.com/office/drawing/2014/main" id="{1933D7BC-3854-4B2C-B2B8-0D9C28B56ABB}"/>
                  </a:ext>
                </a:extLst>
              </p:cNvPr>
              <p:cNvSpPr>
                <a:spLocks noChangeAspect="1" noEditPoints="1"/>
              </p:cNvSpPr>
              <p:nvPr/>
            </p:nvSpPr>
            <p:spPr bwMode="auto">
              <a:xfrm>
                <a:off x="7610256" y="4274821"/>
                <a:ext cx="216826" cy="27103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BB6100"/>
                </a:solidFill>
                <a:prstDash val="solid"/>
                <a:miter lim="800000"/>
                <a:headEnd/>
                <a:tailEnd/>
              </a:ln>
            </p:spPr>
            <p:txBody>
              <a:bodyPr vert="horz" wrap="square" lIns="93248" tIns="46624" rIns="93248" bIns="46624" numCol="1" anchor="t" anchorCtr="0" compatLnSpc="1">
                <a:prstTxWarp prst="textNoShape">
                  <a:avLst/>
                </a:prstTxWarp>
              </a:bodyPr>
              <a:lstStyle/>
              <a:p>
                <a:pPr defTabSz="932504">
                  <a:defRPr/>
                </a:pPr>
                <a:endParaRPr lang="en-US" sz="1224">
                  <a:solidFill>
                    <a:srgbClr val="FFC000"/>
                  </a:solidFill>
                  <a:latin typeface="Segoe UI"/>
                </a:endParaRPr>
              </a:p>
            </p:txBody>
          </p:sp>
        </p:grpSp>
        <p:grpSp>
          <p:nvGrpSpPr>
            <p:cNvPr id="35" name="Group 34">
              <a:extLst>
                <a:ext uri="{FF2B5EF4-FFF2-40B4-BE49-F238E27FC236}">
                  <a16:creationId xmlns:a16="http://schemas.microsoft.com/office/drawing/2014/main" id="{4D3324EC-2E70-4CC7-B398-E8DAE3980619}"/>
                </a:ext>
              </a:extLst>
            </p:cNvPr>
            <p:cNvGrpSpPr/>
            <p:nvPr/>
          </p:nvGrpSpPr>
          <p:grpSpPr>
            <a:xfrm>
              <a:off x="7297800" y="3885578"/>
              <a:ext cx="827554" cy="930333"/>
              <a:chOff x="3769143" y="3856277"/>
              <a:chExt cx="1158008" cy="1301829"/>
            </a:xfrm>
          </p:grpSpPr>
          <p:pic>
            <p:nvPicPr>
              <p:cNvPr id="36" name="Picture 35">
                <a:extLst>
                  <a:ext uri="{FF2B5EF4-FFF2-40B4-BE49-F238E27FC236}">
                    <a16:creationId xmlns:a16="http://schemas.microsoft.com/office/drawing/2014/main" id="{C5DE6742-591F-4128-BB0B-3A271D4EE8B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0240" b="10240"/>
              <a:stretch/>
            </p:blipFill>
            <p:spPr>
              <a:xfrm>
                <a:off x="4039565" y="3856277"/>
                <a:ext cx="617165" cy="490768"/>
              </a:xfrm>
              <a:prstGeom prst="rect">
                <a:avLst/>
              </a:prstGeom>
            </p:spPr>
          </p:pic>
          <p:sp>
            <p:nvSpPr>
              <p:cNvPr id="37" name="TextBox 36">
                <a:extLst>
                  <a:ext uri="{FF2B5EF4-FFF2-40B4-BE49-F238E27FC236}">
                    <a16:creationId xmlns:a16="http://schemas.microsoft.com/office/drawing/2014/main" id="{7D8BD3D9-7459-43FA-858B-F1F7F49752FF}"/>
                  </a:ext>
                </a:extLst>
              </p:cNvPr>
              <p:cNvSpPr txBox="1"/>
              <p:nvPr/>
            </p:nvSpPr>
            <p:spPr>
              <a:xfrm>
                <a:off x="3769143" y="4367275"/>
                <a:ext cx="1158008" cy="790831"/>
              </a:xfrm>
              <a:prstGeom prst="rect">
                <a:avLst/>
              </a:prstGeom>
              <a:noFill/>
            </p:spPr>
            <p:txBody>
              <a:bodyPr wrap="square" lIns="0" tIns="0" rIns="0" bIns="0" rtlCol="0">
                <a:spAutoFit/>
              </a:bodyPr>
              <a:lstStyle/>
              <a:p>
                <a:pPr algn="ctr" defTabSz="932504">
                  <a:defRPr/>
                </a:pPr>
                <a:r>
                  <a:rPr lang="en-US" sz="1224" b="1" kern="0">
                    <a:solidFill>
                      <a:srgbClr val="FFC000"/>
                    </a:solidFill>
                    <a:latin typeface="Segoe UI"/>
                  </a:rPr>
                  <a:t>Enterprise</a:t>
                </a:r>
              </a:p>
              <a:p>
                <a:pPr algn="ctr" defTabSz="932504">
                  <a:defRPr/>
                </a:pPr>
                <a:r>
                  <a:rPr lang="en-US" sz="1224" b="1" kern="0">
                    <a:solidFill>
                      <a:srgbClr val="FFC000"/>
                    </a:solidFill>
                    <a:latin typeface="Segoe UI"/>
                  </a:rPr>
                  <a:t>Semantic</a:t>
                </a:r>
              </a:p>
              <a:p>
                <a:pPr algn="ctr" defTabSz="932504">
                  <a:defRPr/>
                </a:pPr>
                <a:r>
                  <a:rPr lang="en-US" sz="1224" b="1" kern="0">
                    <a:solidFill>
                      <a:srgbClr val="FFC000"/>
                    </a:solidFill>
                    <a:latin typeface="Segoe UI"/>
                  </a:rPr>
                  <a:t>Dataset</a:t>
                </a:r>
              </a:p>
            </p:txBody>
          </p:sp>
        </p:grpSp>
      </p:grpSp>
      <p:cxnSp>
        <p:nvCxnSpPr>
          <p:cNvPr id="14" name="Straight Connector 13">
            <a:extLst>
              <a:ext uri="{FF2B5EF4-FFF2-40B4-BE49-F238E27FC236}">
                <a16:creationId xmlns:a16="http://schemas.microsoft.com/office/drawing/2014/main" id="{569CCDB0-0A23-4F64-BE9F-E84E37665B0A}"/>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3D654A0D-FDBC-41CA-B83B-1E7D686DFCF1}"/>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Shared Dataset</a:t>
            </a:r>
          </a:p>
        </p:txBody>
      </p:sp>
      <p:sp>
        <p:nvSpPr>
          <p:cNvPr id="16" name="Text Placeholder 2">
            <a:extLst>
              <a:ext uri="{FF2B5EF4-FFF2-40B4-BE49-F238E27FC236}">
                <a16:creationId xmlns:a16="http://schemas.microsoft.com/office/drawing/2014/main" id="{F5F966D5-521D-4CF7-9DE6-20BB242113F9}"/>
              </a:ext>
            </a:extLst>
          </p:cNvPr>
          <p:cNvSpPr txBox="1">
            <a:spLocks/>
          </p:cNvSpPr>
          <p:nvPr/>
        </p:nvSpPr>
        <p:spPr>
          <a:xfrm>
            <a:off x="266046" y="1484633"/>
            <a:ext cx="11671087" cy="1041930"/>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b="1">
                <a:gradFill>
                  <a:gsLst>
                    <a:gs pos="2917">
                      <a:srgbClr val="505050"/>
                    </a:gs>
                    <a:gs pos="30000">
                      <a:srgbClr val="505050"/>
                    </a:gs>
                  </a:gsLst>
                  <a:lin ang="5400000" scaled="0"/>
                </a:gradFill>
                <a:latin typeface="Segoe UI"/>
                <a:cs typeface="+mn-cs"/>
              </a:rPr>
              <a:t>Live Connection: </a:t>
            </a:r>
            <a:r>
              <a:rPr lang="en-US" sz="1600">
                <a:gradFill>
                  <a:gsLst>
                    <a:gs pos="2917">
                      <a:srgbClr val="505050"/>
                    </a:gs>
                    <a:gs pos="30000">
                      <a:srgbClr val="505050"/>
                    </a:gs>
                  </a:gsLst>
                  <a:lin ang="5400000" scaled="0"/>
                </a:gradFill>
                <a:latin typeface="Segoe UI"/>
                <a:cs typeface="+mn-cs"/>
              </a:rPr>
              <a:t>You can establish a connection to a shared dataset in the Power BI service, and create many different reports from the same dataset. Then you and others can create multiple different reports in separate files and save them to different workspaces.</a:t>
            </a:r>
          </a:p>
        </p:txBody>
      </p:sp>
      <p:pic>
        <p:nvPicPr>
          <p:cNvPr id="18" name="Graphic 17" descr="Illustrator outline">
            <a:extLst>
              <a:ext uri="{FF2B5EF4-FFF2-40B4-BE49-F238E27FC236}">
                <a16:creationId xmlns:a16="http://schemas.microsoft.com/office/drawing/2014/main" id="{57F9A892-7F68-4FE7-B8F2-35AA3BF3C9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2816705"/>
            <a:ext cx="914400" cy="914400"/>
          </a:xfrm>
          <a:prstGeom prst="rect">
            <a:avLst/>
          </a:prstGeom>
        </p:spPr>
      </p:pic>
      <p:pic>
        <p:nvPicPr>
          <p:cNvPr id="19" name="Graphic 18" descr="Illustrator outline">
            <a:extLst>
              <a:ext uri="{FF2B5EF4-FFF2-40B4-BE49-F238E27FC236}">
                <a16:creationId xmlns:a16="http://schemas.microsoft.com/office/drawing/2014/main" id="{112B18A0-95B9-49AD-B998-0A4FDA7798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54490" y="3730749"/>
            <a:ext cx="914400" cy="914400"/>
          </a:xfrm>
          <a:prstGeom prst="rect">
            <a:avLst/>
          </a:prstGeom>
        </p:spPr>
      </p:pic>
      <p:pic>
        <p:nvPicPr>
          <p:cNvPr id="25" name="Graphic 24" descr="Laptop outline">
            <a:extLst>
              <a:ext uri="{FF2B5EF4-FFF2-40B4-BE49-F238E27FC236}">
                <a16:creationId xmlns:a16="http://schemas.microsoft.com/office/drawing/2014/main" id="{C51440EF-AB79-4515-9B94-D94CAD5D73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54490" y="4532152"/>
            <a:ext cx="914400" cy="914400"/>
          </a:xfrm>
          <a:prstGeom prst="rect">
            <a:avLst/>
          </a:prstGeom>
        </p:spPr>
      </p:pic>
      <p:pic>
        <p:nvPicPr>
          <p:cNvPr id="27" name="Graphic 26" descr="Gauge outline">
            <a:extLst>
              <a:ext uri="{FF2B5EF4-FFF2-40B4-BE49-F238E27FC236}">
                <a16:creationId xmlns:a16="http://schemas.microsoft.com/office/drawing/2014/main" id="{F022F54E-9D79-4994-AFEB-E8C53E1C0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57633" y="4534884"/>
            <a:ext cx="914400" cy="914400"/>
          </a:xfrm>
          <a:prstGeom prst="rect">
            <a:avLst/>
          </a:prstGeom>
        </p:spPr>
      </p:pic>
      <p:cxnSp>
        <p:nvCxnSpPr>
          <p:cNvPr id="91" name="Straight Arrow Connector 90">
            <a:extLst>
              <a:ext uri="{FF2B5EF4-FFF2-40B4-BE49-F238E27FC236}">
                <a16:creationId xmlns:a16="http://schemas.microsoft.com/office/drawing/2014/main" id="{4CE2F668-2A1F-4ECE-B45C-DE7BAD5AB9B6}"/>
              </a:ext>
            </a:extLst>
          </p:cNvPr>
          <p:cNvCxnSpPr>
            <a:cxnSpLocks/>
          </p:cNvCxnSpPr>
          <p:nvPr/>
        </p:nvCxnSpPr>
        <p:spPr>
          <a:xfrm>
            <a:off x="2742353" y="4148981"/>
            <a:ext cx="674405" cy="0"/>
          </a:xfrm>
          <a:prstGeom prst="straightConnector1">
            <a:avLst/>
          </a:prstGeom>
          <a:ln w="19050">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C6A1-AD25-402E-8FFF-81457D230E43}"/>
              </a:ext>
            </a:extLst>
          </p:cNvPr>
          <p:cNvCxnSpPr>
            <a:cxnSpLocks/>
            <a:endCxn id="18" idx="1"/>
          </p:cNvCxnSpPr>
          <p:nvPr/>
        </p:nvCxnSpPr>
        <p:spPr>
          <a:xfrm flipV="1">
            <a:off x="8244967" y="3273905"/>
            <a:ext cx="1309523" cy="87602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088D5A9-7021-4563-9488-7F3213ED4300}"/>
              </a:ext>
            </a:extLst>
          </p:cNvPr>
          <p:cNvCxnSpPr>
            <a:cxnSpLocks/>
            <a:endCxn id="19" idx="1"/>
          </p:cNvCxnSpPr>
          <p:nvPr/>
        </p:nvCxnSpPr>
        <p:spPr>
          <a:xfrm>
            <a:off x="8244967" y="4149930"/>
            <a:ext cx="1309523" cy="3801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AC84017-C21D-445E-BAFC-1FD91255B390}"/>
              </a:ext>
            </a:extLst>
          </p:cNvPr>
          <p:cNvCxnSpPr>
            <a:cxnSpLocks/>
            <a:endCxn id="25" idx="1"/>
          </p:cNvCxnSpPr>
          <p:nvPr/>
        </p:nvCxnSpPr>
        <p:spPr>
          <a:xfrm>
            <a:off x="8244967" y="4149930"/>
            <a:ext cx="1309523" cy="83942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7E9B15A-428F-4562-AEC0-6FFCA5190AE3}"/>
              </a:ext>
            </a:extLst>
          </p:cNvPr>
          <p:cNvCxnSpPr>
            <a:stCxn id="25" idx="3"/>
            <a:endCxn id="27" idx="1"/>
          </p:cNvCxnSpPr>
          <p:nvPr/>
        </p:nvCxnSpPr>
        <p:spPr>
          <a:xfrm>
            <a:off x="10468890" y="4989352"/>
            <a:ext cx="388743" cy="273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2055" name="Group 2054">
            <a:extLst>
              <a:ext uri="{FF2B5EF4-FFF2-40B4-BE49-F238E27FC236}">
                <a16:creationId xmlns:a16="http://schemas.microsoft.com/office/drawing/2014/main" id="{7A88D77C-2755-4017-92F3-1C204838E96E}"/>
              </a:ext>
            </a:extLst>
          </p:cNvPr>
          <p:cNvGrpSpPr/>
          <p:nvPr/>
        </p:nvGrpSpPr>
        <p:grpSpPr>
          <a:xfrm>
            <a:off x="6461718" y="3430794"/>
            <a:ext cx="1792822" cy="1431845"/>
            <a:chOff x="5837208" y="5193059"/>
            <a:chExt cx="1793051" cy="1432028"/>
          </a:xfrm>
        </p:grpSpPr>
        <p:grpSp>
          <p:nvGrpSpPr>
            <p:cNvPr id="2054" name="Group 2053">
              <a:extLst>
                <a:ext uri="{FF2B5EF4-FFF2-40B4-BE49-F238E27FC236}">
                  <a16:creationId xmlns:a16="http://schemas.microsoft.com/office/drawing/2014/main" id="{4CC1B709-65AB-435B-B9C9-CBEAE0357711}"/>
                </a:ext>
              </a:extLst>
            </p:cNvPr>
            <p:cNvGrpSpPr/>
            <p:nvPr/>
          </p:nvGrpSpPr>
          <p:grpSpPr>
            <a:xfrm>
              <a:off x="6304372" y="5193059"/>
              <a:ext cx="1325887" cy="1190547"/>
              <a:chOff x="8250419" y="4740577"/>
              <a:chExt cx="1325887" cy="1190547"/>
            </a:xfrm>
          </p:grpSpPr>
          <p:pic>
            <p:nvPicPr>
              <p:cNvPr id="2051" name="Graphic 2050" descr="Office worker female outline">
                <a:extLst>
                  <a:ext uri="{FF2B5EF4-FFF2-40B4-BE49-F238E27FC236}">
                    <a16:creationId xmlns:a16="http://schemas.microsoft.com/office/drawing/2014/main" id="{0F12BD96-8480-40DD-AF95-39CD0BEC1A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0419" y="4740577"/>
                <a:ext cx="914400" cy="914400"/>
              </a:xfrm>
              <a:prstGeom prst="rect">
                <a:avLst/>
              </a:prstGeom>
            </p:spPr>
          </p:pic>
          <p:pic>
            <p:nvPicPr>
              <p:cNvPr id="2053" name="Graphic 2052" descr="Office worker male outline">
                <a:extLst>
                  <a:ext uri="{FF2B5EF4-FFF2-40B4-BE49-F238E27FC236}">
                    <a16:creationId xmlns:a16="http://schemas.microsoft.com/office/drawing/2014/main" id="{7FFF6ACE-C3F5-4703-96A9-3905920E54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61906" y="5016724"/>
                <a:ext cx="914400" cy="914400"/>
              </a:xfrm>
              <a:prstGeom prst="rect">
                <a:avLst/>
              </a:prstGeom>
            </p:spPr>
          </p:pic>
        </p:grpSp>
        <p:grpSp>
          <p:nvGrpSpPr>
            <p:cNvPr id="134" name="Group 133">
              <a:extLst>
                <a:ext uri="{FF2B5EF4-FFF2-40B4-BE49-F238E27FC236}">
                  <a16:creationId xmlns:a16="http://schemas.microsoft.com/office/drawing/2014/main" id="{34A06BCC-D573-4DB7-A2EA-F5034CDFDD7C}"/>
                </a:ext>
              </a:extLst>
            </p:cNvPr>
            <p:cNvGrpSpPr/>
            <p:nvPr/>
          </p:nvGrpSpPr>
          <p:grpSpPr>
            <a:xfrm>
              <a:off x="5837208" y="5199320"/>
              <a:ext cx="1782425" cy="1425767"/>
              <a:chOff x="3739694" y="3630820"/>
              <a:chExt cx="1758628" cy="1425767"/>
            </a:xfrm>
          </p:grpSpPr>
          <p:sp>
            <p:nvSpPr>
              <p:cNvPr id="139" name="TextBox 138">
                <a:extLst>
                  <a:ext uri="{FF2B5EF4-FFF2-40B4-BE49-F238E27FC236}">
                    <a16:creationId xmlns:a16="http://schemas.microsoft.com/office/drawing/2014/main" id="{5C1E474A-98D4-489D-999B-5668570E5EA3}"/>
                  </a:ext>
                </a:extLst>
              </p:cNvPr>
              <p:cNvSpPr txBox="1"/>
              <p:nvPr/>
            </p:nvSpPr>
            <p:spPr>
              <a:xfrm>
                <a:off x="3884765" y="4450105"/>
                <a:ext cx="766951" cy="492443"/>
              </a:xfrm>
              <a:prstGeom prst="rect">
                <a:avLst/>
              </a:prstGeom>
              <a:noFill/>
            </p:spPr>
            <p:txBody>
              <a:bodyPr wrap="none" lIns="0" tIns="0" rIns="0" bIns="0" rtlCol="0">
                <a:spAutoFit/>
              </a:bodyPr>
              <a:lstStyle/>
              <a:p>
                <a:pPr algn="ctr"/>
                <a:r>
                  <a:rPr lang="en-US" sz="1600">
                    <a:latin typeface="+mj-lt"/>
                  </a:rPr>
                  <a:t>Content</a:t>
                </a:r>
              </a:p>
              <a:p>
                <a:pPr algn="ctr"/>
                <a:r>
                  <a:rPr lang="en-US" sz="1600">
                    <a:latin typeface="+mj-lt"/>
                  </a:rPr>
                  <a:t>Creators</a:t>
                </a:r>
              </a:p>
            </p:txBody>
          </p:sp>
          <p:sp>
            <p:nvSpPr>
              <p:cNvPr id="136" name="Rectangle 135">
                <a:extLst>
                  <a:ext uri="{FF2B5EF4-FFF2-40B4-BE49-F238E27FC236}">
                    <a16:creationId xmlns:a16="http://schemas.microsoft.com/office/drawing/2014/main" id="{5F0F574A-A62D-469B-9F28-885534853D05}"/>
                  </a:ext>
                </a:extLst>
              </p:cNvPr>
              <p:cNvSpPr/>
              <p:nvPr/>
            </p:nvSpPr>
            <p:spPr bwMode="auto">
              <a:xfrm>
                <a:off x="3739694" y="3630820"/>
                <a:ext cx="1758628" cy="1425767"/>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cxnSp>
        <p:nvCxnSpPr>
          <p:cNvPr id="2059" name="Straight Arrow Connector 2058">
            <a:extLst>
              <a:ext uri="{FF2B5EF4-FFF2-40B4-BE49-F238E27FC236}">
                <a16:creationId xmlns:a16="http://schemas.microsoft.com/office/drawing/2014/main" id="{39C7241A-4C00-4415-8D10-970BA116FB5B}"/>
              </a:ext>
            </a:extLst>
          </p:cNvPr>
          <p:cNvCxnSpPr>
            <a:cxnSpLocks/>
          </p:cNvCxnSpPr>
          <p:nvPr/>
        </p:nvCxnSpPr>
        <p:spPr>
          <a:xfrm>
            <a:off x="5757592" y="4148981"/>
            <a:ext cx="704950" cy="949"/>
          </a:xfrm>
          <a:prstGeom prst="straightConnector1">
            <a:avLst/>
          </a:prstGeom>
          <a:ln w="19050">
            <a:solidFill>
              <a:schemeClr val="tx1"/>
            </a:solidFill>
            <a:prstDash val="sysDot"/>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2075" name="Group 2074">
            <a:extLst>
              <a:ext uri="{FF2B5EF4-FFF2-40B4-BE49-F238E27FC236}">
                <a16:creationId xmlns:a16="http://schemas.microsoft.com/office/drawing/2014/main" id="{F0993911-8CFC-4F1E-A606-3E8093489A28}"/>
              </a:ext>
            </a:extLst>
          </p:cNvPr>
          <p:cNvGrpSpPr/>
          <p:nvPr/>
        </p:nvGrpSpPr>
        <p:grpSpPr>
          <a:xfrm>
            <a:off x="701256" y="3388613"/>
            <a:ext cx="2081045" cy="1520558"/>
            <a:chOff x="713642" y="3705511"/>
            <a:chExt cx="2081310" cy="1520753"/>
          </a:xfrm>
        </p:grpSpPr>
        <p:pic>
          <p:nvPicPr>
            <p:cNvPr id="21" name="Graphic 20" descr="Programmer male outline">
              <a:extLst>
                <a:ext uri="{FF2B5EF4-FFF2-40B4-BE49-F238E27FC236}">
                  <a16:creationId xmlns:a16="http://schemas.microsoft.com/office/drawing/2014/main" id="{95FED6F0-F535-4799-A6C0-B3CC923A6C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70510" y="3726563"/>
              <a:ext cx="926773" cy="914400"/>
            </a:xfrm>
            <a:prstGeom prst="rect">
              <a:avLst/>
            </a:prstGeom>
          </p:spPr>
        </p:pic>
        <p:pic>
          <p:nvPicPr>
            <p:cNvPr id="23" name="Graphic 22" descr="Programmer female outline">
              <a:extLst>
                <a:ext uri="{FF2B5EF4-FFF2-40B4-BE49-F238E27FC236}">
                  <a16:creationId xmlns:a16="http://schemas.microsoft.com/office/drawing/2014/main" id="{39EF3049-121B-408B-BF06-E7D1523888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68179" y="4037431"/>
              <a:ext cx="926773" cy="914400"/>
            </a:xfrm>
            <a:prstGeom prst="rect">
              <a:avLst/>
            </a:prstGeom>
          </p:spPr>
        </p:pic>
        <p:sp>
          <p:nvSpPr>
            <p:cNvPr id="88" name="TextBox 87">
              <a:extLst>
                <a:ext uri="{FF2B5EF4-FFF2-40B4-BE49-F238E27FC236}">
                  <a16:creationId xmlns:a16="http://schemas.microsoft.com/office/drawing/2014/main" id="{92E7B61F-1F41-4884-B7D1-434EC78BAB15}"/>
                </a:ext>
              </a:extLst>
            </p:cNvPr>
            <p:cNvSpPr txBox="1"/>
            <p:nvPr/>
          </p:nvSpPr>
          <p:spPr>
            <a:xfrm>
              <a:off x="789357" y="4662199"/>
              <a:ext cx="1380665" cy="492443"/>
            </a:xfrm>
            <a:prstGeom prst="rect">
              <a:avLst/>
            </a:prstGeom>
            <a:noFill/>
          </p:spPr>
          <p:txBody>
            <a:bodyPr wrap="none" lIns="0" tIns="0" rIns="0" bIns="0" rtlCol="0">
              <a:spAutoFit/>
            </a:bodyPr>
            <a:lstStyle/>
            <a:p>
              <a:pPr algn="ctr"/>
              <a:r>
                <a:rPr lang="en-US" sz="1600">
                  <a:latin typeface="+mj-lt"/>
                </a:rPr>
                <a:t>Enterprise </a:t>
              </a:r>
            </a:p>
            <a:p>
              <a:pPr algn="ctr"/>
              <a:r>
                <a:rPr lang="en-US" sz="1600">
                  <a:latin typeface="+mj-lt"/>
                </a:rPr>
                <a:t>Data Modelers</a:t>
              </a:r>
            </a:p>
          </p:txBody>
        </p:sp>
        <p:sp>
          <p:nvSpPr>
            <p:cNvPr id="165" name="Rectangle 164">
              <a:extLst>
                <a:ext uri="{FF2B5EF4-FFF2-40B4-BE49-F238E27FC236}">
                  <a16:creationId xmlns:a16="http://schemas.microsoft.com/office/drawing/2014/main" id="{224F759C-185B-4DE1-A1AB-D434D335887A}"/>
                </a:ext>
              </a:extLst>
            </p:cNvPr>
            <p:cNvSpPr/>
            <p:nvPr/>
          </p:nvSpPr>
          <p:spPr bwMode="auto">
            <a:xfrm>
              <a:off x="713642" y="3705511"/>
              <a:ext cx="2041006" cy="1520753"/>
            </a:xfrm>
            <a:prstGeom prst="rect">
              <a:avLst/>
            </a:prstGeom>
            <a:noFill/>
            <a:ln>
              <a:solidFill>
                <a:schemeClr val="tx1">
                  <a:lumMod val="50000"/>
                  <a:lumOff val="50000"/>
                </a:schemeClr>
              </a:solidFill>
              <a:headEnd type="none" w="med" len="med"/>
              <a:tailEnd type="none" w="med" len="med"/>
            </a:ln>
            <a:effectLst>
              <a:outerShdw blurRad="50800" dist="38100" dir="13500000" algn="b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078" name="TextBox 2077">
            <a:extLst>
              <a:ext uri="{FF2B5EF4-FFF2-40B4-BE49-F238E27FC236}">
                <a16:creationId xmlns:a16="http://schemas.microsoft.com/office/drawing/2014/main" id="{46BAA875-3564-4758-BA46-456A615C5196}"/>
              </a:ext>
            </a:extLst>
          </p:cNvPr>
          <p:cNvSpPr txBox="1"/>
          <p:nvPr/>
        </p:nvSpPr>
        <p:spPr>
          <a:xfrm>
            <a:off x="701347" y="5101838"/>
            <a:ext cx="3098541" cy="861774"/>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integrity of the solution</a:t>
            </a:r>
          </a:p>
          <a:p>
            <a:pPr algn="l"/>
            <a:r>
              <a:rPr lang="en-US" sz="1400">
                <a:latin typeface="Segoe UI" panose="020B0502040204020203" pitchFamily="34" charset="0"/>
                <a:cs typeface="Segoe UI" panose="020B0502040204020203" pitchFamily="34" charset="0"/>
              </a:rPr>
              <a:t>Continuous improvement/</a:t>
            </a:r>
          </a:p>
          <a:p>
            <a:pPr lvl="1"/>
            <a:r>
              <a:rPr lang="en-US" sz="1400">
                <a:latin typeface="Segoe UI" panose="020B0502040204020203" pitchFamily="34" charset="0"/>
                <a:cs typeface="Segoe UI" panose="020B0502040204020203" pitchFamily="34" charset="0"/>
              </a:rPr>
              <a:t>Continuous development (CI/CD)</a:t>
            </a:r>
          </a:p>
          <a:p>
            <a:pPr algn="l"/>
            <a:r>
              <a:rPr lang="en-US" sz="1400">
                <a:latin typeface="Segoe UI" panose="020B0502040204020203" pitchFamily="34" charset="0"/>
                <a:cs typeface="Segoe UI" panose="020B0502040204020203" pitchFamily="34" charset="0"/>
              </a:rPr>
              <a:t>Performance optimization</a:t>
            </a:r>
          </a:p>
        </p:txBody>
      </p:sp>
      <p:sp>
        <p:nvSpPr>
          <p:cNvPr id="2079" name="TextBox 2078">
            <a:extLst>
              <a:ext uri="{FF2B5EF4-FFF2-40B4-BE49-F238E27FC236}">
                <a16:creationId xmlns:a16="http://schemas.microsoft.com/office/drawing/2014/main" id="{D05F2167-6D01-4421-9013-9441F8509D6A}"/>
              </a:ext>
            </a:extLst>
          </p:cNvPr>
          <p:cNvSpPr txBox="1"/>
          <p:nvPr/>
        </p:nvSpPr>
        <p:spPr>
          <a:xfrm>
            <a:off x="6431997" y="5101838"/>
            <a:ext cx="2783775" cy="646331"/>
          </a:xfrm>
          <a:prstGeom prst="rect">
            <a:avLst/>
          </a:prstGeom>
          <a:noFill/>
        </p:spPr>
        <p:txBody>
          <a:bodyPr wrap="none" lIns="0" tIns="0" rIns="0" bIns="0" rtlCol="0">
            <a:spAutoFit/>
          </a:bodyPr>
          <a:lstStyle/>
          <a:p>
            <a:pPr algn="l"/>
            <a:r>
              <a:rPr lang="en-US" sz="1400">
                <a:latin typeface="Segoe UI" panose="020B0502040204020203" pitchFamily="34" charset="0"/>
                <a:cs typeface="Segoe UI" panose="020B0502040204020203" pitchFamily="34" charset="0"/>
              </a:rPr>
              <a:t>Manages the story for the business</a:t>
            </a:r>
          </a:p>
          <a:p>
            <a:pPr algn="l"/>
            <a:r>
              <a:rPr lang="en-US" sz="1400">
                <a:latin typeface="Segoe UI" panose="020B0502040204020203" pitchFamily="34" charset="0"/>
                <a:cs typeface="Segoe UI" panose="020B0502040204020203" pitchFamily="34" charset="0"/>
              </a:rPr>
              <a:t>Develops reports/dashboards</a:t>
            </a:r>
          </a:p>
          <a:p>
            <a:pPr algn="l"/>
            <a:r>
              <a:rPr lang="en-US" sz="1400">
                <a:latin typeface="Segoe UI" panose="020B0502040204020203" pitchFamily="34" charset="0"/>
                <a:cs typeface="Segoe UI" panose="020B0502040204020203" pitchFamily="34" charset="0"/>
              </a:rPr>
              <a:t>Feedback for improvements (UAT)</a:t>
            </a:r>
          </a:p>
        </p:txBody>
      </p:sp>
    </p:spTree>
    <p:extLst>
      <p:ext uri="{BB962C8B-B14F-4D97-AF65-F5344CB8AC3E}">
        <p14:creationId xmlns:p14="http://schemas.microsoft.com/office/powerpoint/2010/main" val="344000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8369A30-A814-46DD-ABF0-B1D8C1BF2832}"/>
              </a:ext>
            </a:extLst>
          </p:cNvPr>
          <p:cNvSpPr>
            <a:spLocks noGrp="1"/>
          </p:cNvSpPr>
          <p:nvPr>
            <p:ph idx="1"/>
          </p:nvPr>
        </p:nvSpPr>
        <p:spPr>
          <a:xfrm>
            <a:off x="640695" y="1536839"/>
            <a:ext cx="10724938" cy="2892921"/>
          </a:xfrm>
        </p:spPr>
        <p:txBody>
          <a:bodyPr vert="horz" wrap="square" lIns="0" tIns="0" rIns="0" bIns="0" rtlCol="0" anchor="t">
            <a:normAutofit/>
          </a:bodyPr>
          <a:lstStyle/>
          <a:p>
            <a:pPr marL="466043" indent="-466043">
              <a:buFont typeface="+mj-lt"/>
              <a:buAutoNum type="arabicPeriod"/>
            </a:pPr>
            <a:r>
              <a:rPr lang="en-US" sz="2400" dirty="0">
                <a:latin typeface="Segoe UI"/>
                <a:cs typeface="Segoe UI"/>
              </a:rPr>
              <a:t>“As far upstream as possible, as far downstream as necessary.”</a:t>
            </a:r>
          </a:p>
          <a:p>
            <a:pPr marL="466043" indent="-466043">
              <a:buFont typeface="+mj-lt"/>
              <a:buAutoNum type="arabicPeriod"/>
            </a:pPr>
            <a:r>
              <a:rPr lang="en-US" sz="2400" dirty="0">
                <a:latin typeface="Segoe UI"/>
                <a:cs typeface="Segoe UI"/>
              </a:rPr>
              <a:t>Less is Always More. Only Bring in What You Need.</a:t>
            </a:r>
          </a:p>
          <a:p>
            <a:pPr marL="466043" indent="-466043">
              <a:buFont typeface="+mj-lt"/>
              <a:buAutoNum type="arabicPeriod"/>
            </a:pPr>
            <a:r>
              <a:rPr lang="en-US" sz="2400" dirty="0">
                <a:latin typeface="Segoe UI"/>
                <a:cs typeface="Segoe UI"/>
              </a:rPr>
              <a:t>Keep it Simple. Keep it Clean.</a:t>
            </a:r>
          </a:p>
          <a:p>
            <a:pPr marL="466043" indent="-466043">
              <a:buFont typeface="+mj-lt"/>
              <a:buAutoNum type="arabicPeriod"/>
            </a:pPr>
            <a:r>
              <a:rPr lang="en-US" sz="2400" dirty="0">
                <a:latin typeface="Segoe UI" panose="020B0502040204020203" pitchFamily="34" charset="0"/>
              </a:rPr>
              <a:t>There is no such thing as “</a:t>
            </a:r>
            <a:r>
              <a:rPr lang="en-US" sz="2400" b="1" dirty="0">
                <a:latin typeface="Segoe UI" panose="020B0502040204020203" pitchFamily="34" charset="0"/>
              </a:rPr>
              <a:t>Come Back To It</a:t>
            </a:r>
            <a:r>
              <a:rPr lang="en-US" sz="2400" dirty="0">
                <a:latin typeface="Segoe UI" panose="020B0502040204020203" pitchFamily="34" charset="0"/>
              </a:rPr>
              <a:t>”.</a:t>
            </a:r>
          </a:p>
          <a:p>
            <a:pPr marL="466043" indent="-466043">
              <a:buAutoNum type="arabicPeriod"/>
            </a:pPr>
            <a:r>
              <a:rPr lang="en-US" sz="2400" dirty="0">
                <a:latin typeface="Segoe UI"/>
                <a:cs typeface="Segoe UI"/>
              </a:rPr>
              <a:t>Test. Test. Test.</a:t>
            </a:r>
          </a:p>
        </p:txBody>
      </p:sp>
      <p:cxnSp>
        <p:nvCxnSpPr>
          <p:cNvPr id="2" name="Straight Connector 1">
            <a:extLst>
              <a:ext uri="{FF2B5EF4-FFF2-40B4-BE49-F238E27FC236}">
                <a16:creationId xmlns:a16="http://schemas.microsoft.com/office/drawing/2014/main" id="{14C21011-054F-416D-AB49-BAEEBF03CC4D}"/>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0D69A8A3-2B39-48E2-94C2-0F25489C12E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losing Thoughts on Data Modeling</a:t>
            </a:r>
          </a:p>
        </p:txBody>
      </p:sp>
    </p:spTree>
    <p:extLst>
      <p:ext uri="{BB962C8B-B14F-4D97-AF65-F5344CB8AC3E}">
        <p14:creationId xmlns:p14="http://schemas.microsoft.com/office/powerpoint/2010/main" val="339415019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2758727"/>
            <a:ext cx="7384111" cy="1477071"/>
          </a:xfrm>
        </p:spPr>
        <p:txBody>
          <a:bodyPr/>
          <a:lstStyle/>
          <a:p>
            <a:r>
              <a:rPr lang="en-US" sz="4799" dirty="0"/>
              <a:t>IF TIME ALLOWS…</a:t>
            </a:r>
            <a:br>
              <a:rPr lang="en-US" sz="4799" dirty="0"/>
            </a:br>
            <a:r>
              <a:rPr lang="en-US" sz="4799" dirty="0"/>
              <a:t>THE DEEP END.</a:t>
            </a:r>
          </a:p>
        </p:txBody>
      </p:sp>
    </p:spTree>
    <p:extLst>
      <p:ext uri="{BB962C8B-B14F-4D97-AF65-F5344CB8AC3E}">
        <p14:creationId xmlns:p14="http://schemas.microsoft.com/office/powerpoint/2010/main" val="343556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1850962"/>
            <a:ext cx="11237870" cy="2769989"/>
          </a:xfrm>
        </p:spPr>
        <p:txBody>
          <a:bodyPr/>
          <a:lstStyle/>
          <a:p>
            <a:r>
              <a:rPr lang="en-US" sz="3600" dirty="0">
                <a:ea typeface="Times New Roman" panose="02020603050405020304" pitchFamily="18" charset="0"/>
                <a:cs typeface="Segoe UI"/>
              </a:rPr>
              <a:t>Performance considerations:</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cardinality</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Column encoding</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fficient resource usage</a:t>
            </a:r>
            <a:br>
              <a:rPr lang="en-US" sz="3600" dirty="0">
                <a:latin typeface="+mn-lt"/>
                <a:ea typeface="Times New Roman" panose="02020603050405020304" pitchFamily="18" charset="0"/>
                <a:cs typeface="Segoe UI"/>
              </a:rPr>
            </a:br>
            <a:r>
              <a:rPr lang="en-US" sz="3600" dirty="0">
                <a:latin typeface="+mn-lt"/>
                <a:ea typeface="Times New Roman" panose="02020603050405020304" pitchFamily="18" charset="0"/>
                <a:cs typeface="Segoe UI"/>
              </a:rPr>
              <a:t>External Tools</a:t>
            </a:r>
            <a:endParaRPr lang="en-US" sz="3600" dirty="0">
              <a:cs typeface="Segoe UI"/>
            </a:endParaRPr>
          </a:p>
        </p:txBody>
      </p:sp>
    </p:spTree>
    <p:extLst>
      <p:ext uri="{BB962C8B-B14F-4D97-AF65-F5344CB8AC3E}">
        <p14:creationId xmlns:p14="http://schemas.microsoft.com/office/powerpoint/2010/main" val="366802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1992379" y="160481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762685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08234671"/>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7680714"/>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4967406"/>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013401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1617039"/>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23095080"/>
                  </a:ext>
                </a:extLst>
              </a:tr>
              <a:tr h="5881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31090695"/>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Tabular (Rows and Columns)</a:t>
            </a:r>
          </a:p>
        </p:txBody>
      </p:sp>
    </p:spTree>
    <p:extLst>
      <p:ext uri="{BB962C8B-B14F-4D97-AF65-F5344CB8AC3E}">
        <p14:creationId xmlns:p14="http://schemas.microsoft.com/office/powerpoint/2010/main" val="24912053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855768" y="1598425"/>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480961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7" name="Table 6">
            <a:extLst>
              <a:ext uri="{FF2B5EF4-FFF2-40B4-BE49-F238E27FC236}">
                <a16:creationId xmlns:a16="http://schemas.microsoft.com/office/drawing/2014/main" id="{3C7E8F80-E1F4-4944-958C-9983C2775965}"/>
              </a:ext>
            </a:extLst>
          </p:cNvPr>
          <p:cNvGraphicFramePr>
            <a:graphicFrameLocks noGrp="1"/>
          </p:cNvGraphicFramePr>
          <p:nvPr/>
        </p:nvGraphicFramePr>
        <p:xfrm>
          <a:off x="876346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cxnSp>
        <p:nvCxnSpPr>
          <p:cNvPr id="12" name="Straight Connector 11">
            <a:extLst>
              <a:ext uri="{FF2B5EF4-FFF2-40B4-BE49-F238E27FC236}">
                <a16:creationId xmlns:a16="http://schemas.microsoft.com/office/drawing/2014/main" id="{1AB2F85C-C06C-447B-A94D-DDE1EB0C393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F3D7B7AC-B908-4944-A9B7-55C86DC8B24A}"/>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olumnar Database</a:t>
            </a:r>
          </a:p>
        </p:txBody>
      </p:sp>
    </p:spTree>
    <p:extLst>
      <p:ext uri="{BB962C8B-B14F-4D97-AF65-F5344CB8AC3E}">
        <p14:creationId xmlns:p14="http://schemas.microsoft.com/office/powerpoint/2010/main" val="26846665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56D553-2394-4869-8034-60FB6148BA3A}"/>
              </a:ext>
            </a:extLst>
          </p:cNvPr>
          <p:cNvSpPr>
            <a:spLocks noGrp="1"/>
          </p:cNvSpPr>
          <p:nvPr>
            <p:ph idx="1"/>
          </p:nvPr>
        </p:nvSpPr>
        <p:spPr>
          <a:xfrm>
            <a:off x="565454" y="1631427"/>
            <a:ext cx="11305566" cy="4663563"/>
          </a:xfrm>
        </p:spPr>
        <p:txBody>
          <a:bodyPr>
            <a:normAutofit/>
          </a:bodyPr>
          <a:lstStyle/>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High-cardinality: </a:t>
            </a:r>
            <a:r>
              <a:rPr lang="en-US" sz="2448" b="1">
                <a:gradFill>
                  <a:gsLst>
                    <a:gs pos="2917">
                      <a:srgbClr val="505050"/>
                    </a:gs>
                    <a:gs pos="30000">
                      <a:srgbClr val="505050"/>
                    </a:gs>
                  </a:gsLst>
                  <a:lin ang="5400000" scaled="0"/>
                </a:gradFill>
                <a:latin typeface="Segoe UI"/>
                <a:cs typeface="+mn-cs"/>
              </a:rPr>
              <a:t>columns with values that are very uncommon or unique.</a:t>
            </a:r>
          </a:p>
          <a:p>
            <a:pPr lvl="2"/>
            <a:r>
              <a:rPr lang="en-US" sz="1800" err="1">
                <a:gradFill>
                  <a:gsLst>
                    <a:gs pos="2917">
                      <a:srgbClr val="505050"/>
                    </a:gs>
                    <a:gs pos="30000">
                      <a:srgbClr val="505050"/>
                    </a:gs>
                  </a:gsLst>
                  <a:lin ang="5400000" scaled="0"/>
                </a:gradFill>
                <a:latin typeface="Segoe UI"/>
              </a:rPr>
              <a:t>DateTime</a:t>
            </a:r>
            <a:endParaRPr lang="en-US" sz="1800">
              <a:gradFill>
                <a:gsLst>
                  <a:gs pos="2917">
                    <a:srgbClr val="505050"/>
                  </a:gs>
                  <a:gs pos="30000">
                    <a:srgbClr val="505050"/>
                  </a:gs>
                </a:gsLst>
                <a:lin ang="5400000" scaled="0"/>
              </a:gradFill>
              <a:latin typeface="Segoe UI"/>
            </a:endParaRPr>
          </a:p>
          <a:p>
            <a:pPr lvl="2"/>
            <a:r>
              <a:rPr lang="en-US" sz="1800">
                <a:gradFill>
                  <a:gsLst>
                    <a:gs pos="2917">
                      <a:srgbClr val="505050"/>
                    </a:gs>
                    <a:gs pos="30000">
                      <a:srgbClr val="505050"/>
                    </a:gs>
                  </a:gsLst>
                  <a:lin ang="5400000" scaled="0"/>
                </a:gradFill>
                <a:latin typeface="Segoe UI"/>
              </a:rPr>
              <a:t>Unique IDs (Not Needed For Relationships)</a:t>
            </a:r>
          </a:p>
          <a:p>
            <a:pPr lvl="2"/>
            <a:r>
              <a:rPr lang="en-US" sz="1800">
                <a:gradFill>
                  <a:gsLst>
                    <a:gs pos="2917">
                      <a:srgbClr val="505050"/>
                    </a:gs>
                    <a:gs pos="30000">
                      <a:srgbClr val="505050"/>
                    </a:gs>
                  </a:gsLst>
                  <a:lin ang="5400000" scaled="0"/>
                </a:gradFill>
                <a:latin typeface="Segoe UI"/>
              </a:rPr>
              <a:t>Text (Freeform Fields)</a:t>
            </a:r>
          </a:p>
          <a:p>
            <a:pPr lvl="2"/>
            <a:r>
              <a:rPr lang="en-US" sz="1800">
                <a:gradFill>
                  <a:gsLst>
                    <a:gs pos="2917">
                      <a:srgbClr val="505050"/>
                    </a:gs>
                    <a:gs pos="30000">
                      <a:srgbClr val="505050"/>
                    </a:gs>
                  </a:gsLst>
                  <a:lin ang="5400000" scaled="0"/>
                </a:gradFill>
                <a:latin typeface="Segoe UI"/>
              </a:rPr>
              <a:t>Numbers (Floating Point Precision)</a:t>
            </a:r>
          </a:p>
          <a:p>
            <a:pPr marL="466252" lvl="2" indent="0">
              <a:buNone/>
            </a:pPr>
            <a:endParaRPr lang="en-US" sz="1800">
              <a:gradFill>
                <a:gsLst>
                  <a:gs pos="2917">
                    <a:srgbClr val="505050"/>
                  </a:gs>
                  <a:gs pos="30000">
                    <a:srgbClr val="505050"/>
                  </a:gs>
                </a:gsLst>
                <a:lin ang="5400000" scaled="0"/>
              </a:gradFill>
              <a:latin typeface="Segoe UI"/>
            </a:endParaRPr>
          </a:p>
          <a:p>
            <a:pPr marL="466251" indent="-466251">
              <a:buFont typeface="+mj-lt"/>
              <a:buAutoNum type="arabicPeriod"/>
            </a:pPr>
            <a:r>
              <a:rPr lang="en-US" sz="2448">
                <a:gradFill>
                  <a:gsLst>
                    <a:gs pos="2917">
                      <a:srgbClr val="505050"/>
                    </a:gs>
                    <a:gs pos="30000">
                      <a:srgbClr val="505050"/>
                    </a:gs>
                  </a:gsLst>
                  <a:lin ang="5400000" scaled="0"/>
                </a:gradFill>
                <a:latin typeface="Segoe UI"/>
                <a:cs typeface="+mn-cs"/>
              </a:rPr>
              <a:t>Low-cardinality: </a:t>
            </a:r>
            <a:r>
              <a:rPr lang="en-US" sz="2448" b="1">
                <a:gradFill>
                  <a:gsLst>
                    <a:gs pos="2917">
                      <a:srgbClr val="505050"/>
                    </a:gs>
                    <a:gs pos="30000">
                      <a:srgbClr val="505050"/>
                    </a:gs>
                  </a:gsLst>
                  <a:lin ang="5400000" scaled="0"/>
                </a:gradFill>
                <a:latin typeface="Segoe UI"/>
                <a:cs typeface="+mn-cs"/>
              </a:rPr>
              <a:t>columns with relatively few unique values.</a:t>
            </a:r>
          </a:p>
          <a:p>
            <a:pPr lvl="2"/>
            <a:r>
              <a:rPr lang="en-US" sz="1800">
                <a:gradFill>
                  <a:gsLst>
                    <a:gs pos="2917">
                      <a:srgbClr val="505050"/>
                    </a:gs>
                    <a:gs pos="30000">
                      <a:srgbClr val="505050"/>
                    </a:gs>
                  </a:gsLst>
                  <a:lin ang="5400000" scaled="0"/>
                </a:gradFill>
                <a:latin typeface="Segoe UI"/>
              </a:rPr>
              <a:t>Date (365 Days a Year)</a:t>
            </a:r>
          </a:p>
          <a:p>
            <a:pPr lvl="2"/>
            <a:r>
              <a:rPr lang="en-US" sz="1800">
                <a:gradFill>
                  <a:gsLst>
                    <a:gs pos="2917">
                      <a:srgbClr val="505050"/>
                    </a:gs>
                    <a:gs pos="30000">
                      <a:srgbClr val="505050"/>
                    </a:gs>
                  </a:gsLst>
                  <a:lin ang="5400000" scaled="0"/>
                </a:gradFill>
                <a:latin typeface="Segoe UI"/>
              </a:rPr>
              <a:t>Time (86,400 Seconds)</a:t>
            </a:r>
          </a:p>
          <a:p>
            <a:pPr lvl="2"/>
            <a:r>
              <a:rPr lang="en-US" sz="1800">
                <a:gradFill>
                  <a:gsLst>
                    <a:gs pos="2917">
                      <a:srgbClr val="505050"/>
                    </a:gs>
                    <a:gs pos="30000">
                      <a:srgbClr val="505050"/>
                    </a:gs>
                  </a:gsLst>
                  <a:lin ang="5400000" scaled="0"/>
                </a:gradFill>
                <a:latin typeface="Segoe UI"/>
              </a:rPr>
              <a:t>True / False</a:t>
            </a:r>
          </a:p>
          <a:p>
            <a:pPr lvl="2"/>
            <a:r>
              <a:rPr lang="en-US" sz="1800">
                <a:gradFill>
                  <a:gsLst>
                    <a:gs pos="2917">
                      <a:srgbClr val="505050"/>
                    </a:gs>
                    <a:gs pos="30000">
                      <a:srgbClr val="505050"/>
                    </a:gs>
                  </a:gsLst>
                  <a:lin ang="5400000" scaled="0"/>
                </a:gradFill>
                <a:latin typeface="Segoe UI"/>
              </a:rPr>
              <a:t>Currency (4 Digits after Decimal)</a:t>
            </a:r>
          </a:p>
        </p:txBody>
      </p:sp>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Cardinality</a:t>
            </a:r>
          </a:p>
        </p:txBody>
      </p:sp>
    </p:spTree>
    <p:extLst>
      <p:ext uri="{BB962C8B-B14F-4D97-AF65-F5344CB8AC3E}">
        <p14:creationId xmlns:p14="http://schemas.microsoft.com/office/powerpoint/2010/main" val="64077827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AX Studio</a:t>
            </a:r>
            <a:endParaRPr lang="en-US">
              <a:gradFill>
                <a:gsLst>
                  <a:gs pos="1250">
                    <a:srgbClr val="000000"/>
                  </a:gs>
                  <a:gs pos="100000">
                    <a:srgbClr val="000000"/>
                  </a:gs>
                </a:gsLst>
                <a:lin ang="5400000" scaled="0"/>
              </a:gradFill>
            </a:endParaRPr>
          </a:p>
        </p:txBody>
      </p:sp>
      <p:pic>
        <p:nvPicPr>
          <p:cNvPr id="6" name="Picture 5">
            <a:extLst>
              <a:ext uri="{FF2B5EF4-FFF2-40B4-BE49-F238E27FC236}">
                <a16:creationId xmlns:a16="http://schemas.microsoft.com/office/drawing/2014/main" id="{4C66E6F6-63BA-4A31-959D-66B8D18E8064}"/>
              </a:ext>
            </a:extLst>
          </p:cNvPr>
          <p:cNvPicPr>
            <a:picLocks noChangeAspect="1"/>
          </p:cNvPicPr>
          <p:nvPr/>
        </p:nvPicPr>
        <p:blipFill>
          <a:blip r:embed="rId2"/>
          <a:stretch>
            <a:fillRect/>
          </a:stretch>
        </p:blipFill>
        <p:spPr>
          <a:xfrm>
            <a:off x="5114565" y="1415609"/>
            <a:ext cx="6906855" cy="5282732"/>
          </a:xfrm>
          <a:prstGeom prst="rect">
            <a:avLst/>
          </a:prstGeom>
          <a:ln>
            <a:solidFill>
              <a:schemeClr val="tx1">
                <a:lumMod val="50000"/>
                <a:lumOff val="50000"/>
              </a:schemeClr>
            </a:solidFill>
          </a:ln>
        </p:spPr>
      </p:pic>
      <p:sp>
        <p:nvSpPr>
          <p:cNvPr id="7" name="TextBox 6">
            <a:extLst>
              <a:ext uri="{FF2B5EF4-FFF2-40B4-BE49-F238E27FC236}">
                <a16:creationId xmlns:a16="http://schemas.microsoft.com/office/drawing/2014/main" id="{BDB864D8-7651-4D9F-B2D7-EC87B1FADD4A}"/>
              </a:ext>
            </a:extLst>
          </p:cNvPr>
          <p:cNvSpPr txBox="1"/>
          <p:nvPr/>
        </p:nvSpPr>
        <p:spPr>
          <a:xfrm>
            <a:off x="413468" y="1415609"/>
            <a:ext cx="4253947" cy="4308872"/>
          </a:xfrm>
          <a:prstGeom prst="rect">
            <a:avLst/>
          </a:prstGeom>
          <a:noFill/>
        </p:spPr>
        <p:txBody>
          <a:bodyPr wrap="square" lIns="0" tIns="0" rIns="0" bIns="0" rtlCol="0">
            <a:spAutoFit/>
          </a:bodyPr>
          <a:lstStyle/>
          <a:p>
            <a:pPr algn="l"/>
            <a:r>
              <a:rPr lang="en-US" sz="2000" b="1">
                <a:gradFill>
                  <a:gsLst>
                    <a:gs pos="2917">
                      <a:srgbClr val="505050"/>
                    </a:gs>
                    <a:gs pos="30000">
                      <a:srgbClr val="505050"/>
                    </a:gs>
                  </a:gsLst>
                  <a:lin ang="5400000" scaled="0"/>
                </a:gradFill>
              </a:rPr>
              <a:t>DAX Studio </a:t>
            </a:r>
            <a:r>
              <a:rPr lang="en-US" sz="2000" b="0" i="0">
                <a:solidFill>
                  <a:srgbClr val="24292F"/>
                </a:solidFill>
                <a:effectLst/>
              </a:rPr>
              <a:t>is a tool to write, execute, and analyze DAX queries in Power BI Desktop, Power Pivot for Excel, and Analysis Services Tabular. </a:t>
            </a:r>
          </a:p>
          <a:p>
            <a:pPr algn="l"/>
            <a:endParaRPr lang="en-US" sz="2000">
              <a:solidFill>
                <a:srgbClr val="24292F"/>
              </a:solidFill>
            </a:endParaRPr>
          </a:p>
          <a:p>
            <a:pPr algn="l"/>
            <a:r>
              <a:rPr lang="en-US" sz="2000" b="0" i="0">
                <a:solidFill>
                  <a:srgbClr val="24292F"/>
                </a:solidFill>
                <a:effectLst/>
              </a:rPr>
              <a:t>It includes an Object Browser, query editing and execution, formula and measure editing, syntax highlighting and formatting, integrated tracing, query execution breakdowns and viewing model metrics.</a:t>
            </a:r>
          </a:p>
          <a:p>
            <a:pPr algn="l"/>
            <a:endParaRPr lang="en-US" sz="2000" b="0" i="0">
              <a:solidFill>
                <a:srgbClr val="24292F"/>
              </a:solidFill>
              <a:effectLst/>
            </a:endParaRPr>
          </a:p>
          <a:p>
            <a:pPr algn="l"/>
            <a:r>
              <a:rPr lang="en-US" sz="2000" b="0" i="0">
                <a:solidFill>
                  <a:srgbClr val="24292F"/>
                </a:solidFill>
                <a:effectLst/>
              </a:rPr>
              <a:t>Website: </a:t>
            </a:r>
            <a:r>
              <a:rPr lang="en-US" sz="2000" b="0" i="0" u="none" strike="noStrike">
                <a:solidFill>
                  <a:srgbClr val="24292F"/>
                </a:solidFill>
                <a:effectLst/>
                <a:hlinkClick r:id="rId3"/>
              </a:rPr>
              <a:t>https://daxstudio.org/</a:t>
            </a:r>
            <a:endParaRPr lang="en-US" sz="2000" b="0" i="0">
              <a:solidFill>
                <a:srgbClr val="24292F"/>
              </a:solidFill>
              <a:effectLst/>
            </a:endParaRPr>
          </a:p>
          <a:p>
            <a:pPr algn="l"/>
            <a:endParaRPr lang="en-US" sz="2000"/>
          </a:p>
        </p:txBody>
      </p:sp>
    </p:spTree>
    <p:extLst>
      <p:ext uri="{BB962C8B-B14F-4D97-AF65-F5344CB8AC3E}">
        <p14:creationId xmlns:p14="http://schemas.microsoft.com/office/powerpoint/2010/main" val="590942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4AF8-0564-4CE2-A3F3-ED6D0598904B}"/>
              </a:ext>
            </a:extLst>
          </p:cNvPr>
          <p:cNvSpPr>
            <a:spLocks noGrp="1"/>
          </p:cNvSpPr>
          <p:nvPr>
            <p:ph type="title"/>
          </p:nvPr>
        </p:nvSpPr>
        <p:spPr>
          <a:xfrm>
            <a:off x="596710" y="3120643"/>
            <a:ext cx="7384111" cy="753238"/>
          </a:xfrm>
        </p:spPr>
        <p:txBody>
          <a:bodyPr/>
          <a:lstStyle/>
          <a:p>
            <a:r>
              <a:rPr lang="en-US" sz="4799" dirty="0"/>
              <a:t>A retrospective…</a:t>
            </a:r>
          </a:p>
        </p:txBody>
      </p:sp>
    </p:spTree>
    <p:extLst>
      <p:ext uri="{BB962C8B-B14F-4D97-AF65-F5344CB8AC3E}">
        <p14:creationId xmlns:p14="http://schemas.microsoft.com/office/powerpoint/2010/main" val="2701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Vertipaq Analyzer</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47050"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vailable in:</a:t>
            </a:r>
          </a:p>
          <a:p>
            <a:pPr marL="699065" lvl="1" indent="-233022"/>
            <a:r>
              <a:rPr lang="en-US" sz="1800">
                <a:gradFill>
                  <a:gsLst>
                    <a:gs pos="2917">
                      <a:srgbClr val="505050"/>
                    </a:gs>
                    <a:gs pos="30000">
                      <a:srgbClr val="505050"/>
                    </a:gs>
                  </a:gsLst>
                  <a:lin ang="5400000" scaled="0"/>
                </a:gradFill>
                <a:latin typeface="Segoe UI"/>
              </a:rPr>
              <a:t>DAX Studio</a:t>
            </a:r>
          </a:p>
          <a:p>
            <a:pPr marL="699065" lvl="1" indent="-233022"/>
            <a:r>
              <a:rPr lang="en-US" sz="1800">
                <a:gradFill>
                  <a:gsLst>
                    <a:gs pos="2917">
                      <a:srgbClr val="505050"/>
                    </a:gs>
                    <a:gs pos="30000">
                      <a:srgbClr val="505050"/>
                    </a:gs>
                  </a:gsLst>
                  <a:lin ang="5400000" scaled="0"/>
                </a:gradFill>
                <a:latin typeface="Segoe UI"/>
              </a:rPr>
              <a:t>Excel</a:t>
            </a:r>
          </a:p>
          <a:p>
            <a:pPr marL="699065" lvl="1" indent="-233022"/>
            <a:r>
              <a:rPr lang="en-US" sz="1800">
                <a:gradFill>
                  <a:gsLst>
                    <a:gs pos="2917">
                      <a:srgbClr val="505050"/>
                    </a:gs>
                    <a:gs pos="30000">
                      <a:srgbClr val="505050"/>
                    </a:gs>
                  </a:gsLst>
                  <a:lin ang="5400000" scaled="0"/>
                </a:gradFill>
                <a:latin typeface="Segoe UI"/>
              </a:rPr>
              <a:t>Tabular Editor</a:t>
            </a: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Great for:</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Optimizing Model Size</a:t>
            </a:r>
          </a:p>
          <a:p>
            <a:pPr marL="699065" lvl="1" indent="-233022"/>
            <a:r>
              <a:rPr lang="en-US" sz="1800">
                <a:gradFill>
                  <a:gsLst>
                    <a:gs pos="2917">
                      <a:srgbClr val="505050"/>
                    </a:gs>
                    <a:gs pos="30000">
                      <a:srgbClr val="505050"/>
                    </a:gs>
                  </a:gsLst>
                  <a:lin ang="5400000" scaled="0"/>
                </a:gradFill>
                <a:latin typeface="Segoe UI"/>
                <a:cs typeface="Segoe UI"/>
              </a:rPr>
              <a:t>Analyze Model</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Identifying High Cardinality Columns</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odel Siz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Memory Usag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Encoding</a:t>
            </a:r>
          </a:p>
        </p:txBody>
      </p:sp>
      <p:grpSp>
        <p:nvGrpSpPr>
          <p:cNvPr id="2" name="Group 1">
            <a:extLst>
              <a:ext uri="{FF2B5EF4-FFF2-40B4-BE49-F238E27FC236}">
                <a16:creationId xmlns:a16="http://schemas.microsoft.com/office/drawing/2014/main" id="{395E36DF-9B8E-4B1D-BBBE-6E3424071EE4}"/>
              </a:ext>
            </a:extLst>
          </p:cNvPr>
          <p:cNvGrpSpPr/>
          <p:nvPr/>
        </p:nvGrpSpPr>
        <p:grpSpPr>
          <a:xfrm>
            <a:off x="4535424" y="1631427"/>
            <a:ext cx="7899288" cy="4670917"/>
            <a:chOff x="4535424" y="1398832"/>
            <a:chExt cx="7899288" cy="4670917"/>
          </a:xfrm>
        </p:grpSpPr>
        <p:pic>
          <p:nvPicPr>
            <p:cNvPr id="1026" name="Picture 2">
              <a:extLst>
                <a:ext uri="{FF2B5EF4-FFF2-40B4-BE49-F238E27FC236}">
                  <a16:creationId xmlns:a16="http://schemas.microsoft.com/office/drawing/2014/main" id="{9D4DD5E3-3A54-447F-90AA-E8495AAD7D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6475"/>
            <a:stretch/>
          </p:blipFill>
          <p:spPr bwMode="auto">
            <a:xfrm>
              <a:off x="4535424" y="1398832"/>
              <a:ext cx="7899288" cy="257175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012CDD-F77D-4506-90DA-D4A35B256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763" y="3812324"/>
              <a:ext cx="7315200" cy="225742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050869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High Cardinality Columns</a:t>
            </a:r>
            <a:endParaRPr lang="en-US" sz="4080" spc="0">
              <a:solidFill>
                <a:srgbClr val="FFC000"/>
              </a:solidFill>
            </a:endParaRPr>
          </a:p>
        </p:txBody>
      </p: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8"/>
            <a:ext cx="4579662" cy="2572928"/>
          </a:xfrm>
        </p:spPr>
        <p:txBody>
          <a:bodyPr vert="horz" wrap="square" lIns="91428" tIns="45714" rIns="91428" bIns="45714" rtlCol="0" anchor="t">
            <a:normAutofit/>
          </a:bodyPr>
          <a:lstStyle/>
          <a:p>
            <a:pPr marL="466043" indent="-466043">
              <a:buFont typeface="+mj-lt"/>
              <a:buAutoNum type="arabicPeriod"/>
            </a:pPr>
            <a:r>
              <a:rPr lang="en-US" sz="2400">
                <a:gradFill>
                  <a:gsLst>
                    <a:gs pos="2917">
                      <a:srgbClr val="505050"/>
                    </a:gs>
                    <a:gs pos="30000">
                      <a:srgbClr val="505050"/>
                    </a:gs>
                  </a:gsLst>
                  <a:lin ang="5400000" scaled="0"/>
                </a:gradFill>
                <a:latin typeface="Segoe UI"/>
              </a:rPr>
              <a:t>Slow Down Refresh</a:t>
            </a:r>
          </a:p>
          <a:p>
            <a:pPr marL="466043" indent="-466043">
              <a:buFont typeface="+mj-lt"/>
              <a:buAutoNum type="arabicPeriod"/>
            </a:pPr>
            <a:r>
              <a:rPr lang="en-US" sz="2400">
                <a:gradFill>
                  <a:gsLst>
                    <a:gs pos="2917">
                      <a:srgbClr val="505050"/>
                    </a:gs>
                    <a:gs pos="30000">
                      <a:srgbClr val="505050"/>
                    </a:gs>
                  </a:gsLst>
                  <a:lin ang="5400000" scaled="0"/>
                </a:gradFill>
                <a:latin typeface="Segoe UI"/>
              </a:rPr>
              <a:t>Consume Memory</a:t>
            </a:r>
          </a:p>
          <a:p>
            <a:pPr marL="466043" indent="-466043">
              <a:buFont typeface="+mj-lt"/>
              <a:buAutoNum type="arabicPeriod"/>
            </a:pPr>
            <a:r>
              <a:rPr lang="en-US" sz="2400">
                <a:gradFill>
                  <a:gsLst>
                    <a:gs pos="2917">
                      <a:srgbClr val="505050"/>
                    </a:gs>
                    <a:gs pos="30000">
                      <a:srgbClr val="505050"/>
                    </a:gs>
                  </a:gsLst>
                  <a:lin ang="5400000" scaled="0"/>
                </a:gradFill>
                <a:latin typeface="Segoe UI"/>
              </a:rPr>
              <a:t>Increase Size of Model</a:t>
            </a:r>
            <a:endParaRPr lang="en-US" sz="1800">
              <a:gradFill>
                <a:gsLst>
                  <a:gs pos="2917">
                    <a:srgbClr val="505050"/>
                  </a:gs>
                  <a:gs pos="30000">
                    <a:srgbClr val="505050"/>
                  </a:gs>
                </a:gsLst>
                <a:lin ang="5400000" scaled="0"/>
              </a:gradFill>
              <a:latin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p:txBody>
      </p:sp>
      <p:pic>
        <p:nvPicPr>
          <p:cNvPr id="5" name="Picture 4">
            <a:extLst>
              <a:ext uri="{FF2B5EF4-FFF2-40B4-BE49-F238E27FC236}">
                <a16:creationId xmlns:a16="http://schemas.microsoft.com/office/drawing/2014/main" id="{6B0E153C-D396-411A-8867-D58EA0933F1E}"/>
              </a:ext>
            </a:extLst>
          </p:cNvPr>
          <p:cNvPicPr>
            <a:picLocks noChangeAspect="1"/>
          </p:cNvPicPr>
          <p:nvPr/>
        </p:nvPicPr>
        <p:blipFill>
          <a:blip r:embed="rId3"/>
          <a:stretch>
            <a:fillRect/>
          </a:stretch>
        </p:blipFill>
        <p:spPr>
          <a:xfrm>
            <a:off x="622369" y="3162006"/>
            <a:ext cx="11190150" cy="3348522"/>
          </a:xfrm>
          <a:prstGeom prst="rect">
            <a:avLst/>
          </a:prstGeom>
        </p:spPr>
      </p:pic>
      <p:sp>
        <p:nvSpPr>
          <p:cNvPr id="6" name="Rectangle 5">
            <a:extLst>
              <a:ext uri="{FF2B5EF4-FFF2-40B4-BE49-F238E27FC236}">
                <a16:creationId xmlns:a16="http://schemas.microsoft.com/office/drawing/2014/main" id="{DF69F015-8CE5-4366-86AB-8CE8086EFF1A}"/>
              </a:ext>
            </a:extLst>
          </p:cNvPr>
          <p:cNvSpPr/>
          <p:nvPr/>
        </p:nvSpPr>
        <p:spPr bwMode="auto">
          <a:xfrm>
            <a:off x="637683" y="3761728"/>
            <a:ext cx="4757277" cy="1153087"/>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8EE97EF5-38AA-4A3B-8CE7-97EAA8F80FCF}"/>
              </a:ext>
            </a:extLst>
          </p:cNvPr>
          <p:cNvSpPr/>
          <p:nvPr/>
        </p:nvSpPr>
        <p:spPr bwMode="auto">
          <a:xfrm>
            <a:off x="7964424" y="3761728"/>
            <a:ext cx="567638" cy="1002296"/>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015045CC-9A8C-C42B-629A-8665AE652264}"/>
              </a:ext>
            </a:extLst>
          </p:cNvPr>
          <p:cNvSpPr/>
          <p:nvPr/>
        </p:nvSpPr>
        <p:spPr bwMode="auto">
          <a:xfrm>
            <a:off x="8550350" y="3761728"/>
            <a:ext cx="758242" cy="1934983"/>
          </a:xfrm>
          <a:prstGeom prst="rect">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1531718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219577" y="1801578"/>
            <a:ext cx="9997321" cy="3391369"/>
          </a:xfrm>
        </p:spPr>
        <p:txBody>
          <a:bodyPr vert="horz" wrap="square" lIns="0" tIns="0" rIns="0" bIns="0" rtlCol="0" anchor="t">
            <a:normAutofit/>
          </a:bodyPr>
          <a:lstStyle/>
          <a:p>
            <a:pPr marL="0" indent="0">
              <a:buNone/>
            </a:pPr>
            <a:r>
              <a:rPr lang="en-US" sz="2800" b="1">
                <a:gradFill>
                  <a:gsLst>
                    <a:gs pos="2917">
                      <a:srgbClr val="505050"/>
                    </a:gs>
                    <a:gs pos="30000">
                      <a:srgbClr val="505050"/>
                    </a:gs>
                  </a:gsLst>
                  <a:lin ang="5400000" scaled="0"/>
                </a:gradFill>
                <a:latin typeface="Segoe UI"/>
                <a:cs typeface="+mn-cs"/>
              </a:rPr>
              <a:t>Value: </a:t>
            </a:r>
            <a:r>
              <a:rPr lang="en-US" sz="2100">
                <a:gradFill>
                  <a:gsLst>
                    <a:gs pos="2917">
                      <a:srgbClr val="505050"/>
                    </a:gs>
                    <a:gs pos="30000">
                      <a:srgbClr val="505050"/>
                    </a:gs>
                  </a:gsLst>
                  <a:lin ang="5400000" scaled="0"/>
                </a:gradFill>
                <a:latin typeface="Segoe UI"/>
                <a:cs typeface="+mn-cs"/>
              </a:rPr>
              <a:t>Value of the cell itself is used.</a:t>
            </a:r>
          </a:p>
          <a:p>
            <a:pPr marL="0" indent="0">
              <a:buNone/>
            </a:pPr>
            <a:r>
              <a:rPr lang="en-US" sz="1800" b="1">
                <a:solidFill>
                  <a:schemeClr val="tx1">
                    <a:lumMod val="50000"/>
                    <a:lumOff val="50000"/>
                  </a:schemeClr>
                </a:solidFill>
                <a:latin typeface="Segoe UI"/>
                <a:cs typeface="Segoe UI"/>
              </a:rPr>
              <a:t>It’s possible a mathematical operation is included.</a:t>
            </a:r>
            <a:endParaRPr lang="en-US" sz="1800">
              <a:solidFill>
                <a:schemeClr val="tx1">
                  <a:lumMod val="50000"/>
                  <a:lumOff val="50000"/>
                </a:schemeClr>
              </a:solidFill>
            </a:endParaRPr>
          </a:p>
          <a:p>
            <a:pPr marL="0" indent="0">
              <a:buNone/>
            </a:pPr>
            <a:r>
              <a:rPr lang="en-US" sz="2040">
                <a:solidFill>
                  <a:schemeClr val="tx1">
                    <a:lumMod val="50000"/>
                    <a:lumOff val="50000"/>
                  </a:schemeClr>
                </a:solidFill>
                <a:latin typeface="Segoe UI" panose="020B0502040204020203" pitchFamily="34" charset="0"/>
                <a:cs typeface="+mn-cs"/>
              </a:rPr>
              <a:t>For example, if a column contains the values 10,000 and 10,001, Analysis Services can subtract 10,000 from the values and keep the results 0 and 1, which can be stored using fewer bits.</a:t>
            </a:r>
          </a:p>
          <a:p>
            <a:pPr marL="466043" lvl="1" indent="0">
              <a:buNone/>
            </a:pPr>
            <a:endParaRPr lang="en-US">
              <a:solidFill>
                <a:schemeClr val="tx1">
                  <a:lumMod val="50000"/>
                  <a:lumOff val="50000"/>
                </a:schemeClr>
              </a:solidFill>
              <a:latin typeface="Segoe UI" panose="020B0502040204020203" pitchFamily="34" charset="0"/>
            </a:endParaRPr>
          </a:p>
          <a:p>
            <a:pPr marL="0" indent="0">
              <a:buNone/>
            </a:pPr>
            <a:r>
              <a:rPr lang="en-US" sz="2800" b="1">
                <a:gradFill>
                  <a:gsLst>
                    <a:gs pos="2917">
                      <a:srgbClr val="505050"/>
                    </a:gs>
                    <a:gs pos="30000">
                      <a:srgbClr val="505050"/>
                    </a:gs>
                  </a:gsLst>
                  <a:lin ang="5400000" scaled="0"/>
                </a:gradFill>
                <a:latin typeface="Segoe UI"/>
                <a:cs typeface="+mn-cs"/>
              </a:rPr>
              <a:t>Hash: </a:t>
            </a:r>
            <a:r>
              <a:rPr lang="en-US" sz="2100">
                <a:gradFill>
                  <a:gsLst>
                    <a:gs pos="2917">
                      <a:srgbClr val="505050"/>
                    </a:gs>
                    <a:gs pos="30000">
                      <a:srgbClr val="505050"/>
                    </a:gs>
                  </a:gsLst>
                  <a:lin ang="5400000" scaled="0"/>
                </a:gradFill>
                <a:latin typeface="Segoe UI"/>
                <a:cs typeface="+mn-cs"/>
              </a:rPr>
              <a:t>Values are transformed into integers. </a:t>
            </a:r>
          </a:p>
          <a:p>
            <a:pPr marL="0" indent="0">
              <a:buNone/>
            </a:pPr>
            <a:r>
              <a:rPr lang="en-US" sz="2040">
                <a:solidFill>
                  <a:schemeClr val="tx1">
                    <a:lumMod val="50000"/>
                    <a:lumOff val="50000"/>
                  </a:schemeClr>
                </a:solidFill>
                <a:latin typeface="Segoe UI" panose="020B0502040204020203" pitchFamily="34" charset="0"/>
                <a:cs typeface="+mn-cs"/>
              </a:rPr>
              <a:t>This transformation step is then kept in a dictionary, so Analysis Services can translate the integers back to the original value.</a:t>
            </a:r>
          </a:p>
        </p:txBody>
      </p:sp>
    </p:spTree>
    <p:extLst>
      <p:ext uri="{BB962C8B-B14F-4D97-AF65-F5344CB8AC3E}">
        <p14:creationId xmlns:p14="http://schemas.microsoft.com/office/powerpoint/2010/main" val="13257429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Value Encoding</a:t>
            </a:r>
            <a:endParaRPr lang="en-US"/>
          </a:p>
        </p:txBody>
      </p:sp>
      <p:graphicFrame>
        <p:nvGraphicFramePr>
          <p:cNvPr id="24" name="Table 6">
            <a:extLst>
              <a:ext uri="{FF2B5EF4-FFF2-40B4-BE49-F238E27FC236}">
                <a16:creationId xmlns:a16="http://schemas.microsoft.com/office/drawing/2014/main" id="{FAF400A1-FFA6-4E98-8DB0-A96817038C11}"/>
              </a:ext>
            </a:extLst>
          </p:cNvPr>
          <p:cNvGraphicFramePr>
            <a:graphicFrameLocks noGrp="1"/>
          </p:cNvGraphicFramePr>
          <p:nvPr>
            <p:extLst>
              <p:ext uri="{D42A27DB-BD31-4B8C-83A1-F6EECF244321}">
                <p14:modId xmlns:p14="http://schemas.microsoft.com/office/powerpoint/2010/main" val="69686737"/>
              </p:ext>
            </p:extLst>
          </p:nvPr>
        </p:nvGraphicFramePr>
        <p:xfrm>
          <a:off x="855768" y="1460062"/>
          <a:ext cx="1446353" cy="4546730"/>
        </p:xfrm>
        <a:graphic>
          <a:graphicData uri="http://schemas.openxmlformats.org/drawingml/2006/table">
            <a:tbl>
              <a:tblPr firstRow="1" bandRow="1">
                <a:tableStyleId>{5C22544A-7EE6-4342-B048-85BDC9FD1C3A}</a:tableStyleId>
              </a:tblPr>
              <a:tblGrid>
                <a:gridCol w="1446353">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p>
                  </a:txBody>
                  <a:tcPr marL="93248" marR="93248" marT="46624" marB="46624"/>
                </a:tc>
                <a:extLst>
                  <a:ext uri="{0D108BD9-81ED-4DB2-BD59-A6C34878D82A}">
                    <a16:rowId xmlns:a16="http://schemas.microsoft.com/office/drawing/2014/main" val="4044422552"/>
                  </a:ext>
                </a:extLst>
              </a:tr>
            </a:tbl>
          </a:graphicData>
        </a:graphic>
      </p:graphicFrame>
      <p:sp>
        <p:nvSpPr>
          <p:cNvPr id="26" name="Rectangle: Rounded Corners 25">
            <a:extLst>
              <a:ext uri="{FF2B5EF4-FFF2-40B4-BE49-F238E27FC236}">
                <a16:creationId xmlns:a16="http://schemas.microsoft.com/office/drawing/2014/main" id="{8D4C0505-97A5-441D-9934-4D110A772F04}"/>
              </a:ext>
            </a:extLst>
          </p:cNvPr>
          <p:cNvSpPr/>
          <p:nvPr/>
        </p:nvSpPr>
        <p:spPr>
          <a:xfrm>
            <a:off x="8433745" y="6005621"/>
            <a:ext cx="2975839"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Max: 22</a:t>
            </a:r>
          </a:p>
          <a:p>
            <a:pPr algn="ctr"/>
            <a:r>
              <a:rPr lang="en-US" sz="1836"/>
              <a:t>5 bits needed</a:t>
            </a:r>
          </a:p>
        </p:txBody>
      </p:sp>
      <p:graphicFrame>
        <p:nvGraphicFramePr>
          <p:cNvPr id="28" name="Table 6">
            <a:extLst>
              <a:ext uri="{FF2B5EF4-FFF2-40B4-BE49-F238E27FC236}">
                <a16:creationId xmlns:a16="http://schemas.microsoft.com/office/drawing/2014/main" id="{37C980F3-912E-4C06-AFCD-0B280E6C5A68}"/>
              </a:ext>
            </a:extLst>
          </p:cNvPr>
          <p:cNvGraphicFramePr>
            <a:graphicFrameLocks noGrp="1"/>
          </p:cNvGraphicFramePr>
          <p:nvPr>
            <p:extLst>
              <p:ext uri="{D42A27DB-BD31-4B8C-83A1-F6EECF244321}">
                <p14:modId xmlns:p14="http://schemas.microsoft.com/office/powerpoint/2010/main" val="3990838735"/>
              </p:ext>
            </p:extLst>
          </p:nvPr>
        </p:nvGraphicFramePr>
        <p:xfrm>
          <a:off x="4531027"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212-</a:t>
                      </a:r>
                      <a:r>
                        <a:rPr lang="en-US" sz="1900" b="1"/>
                        <a:t>194</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14-</a:t>
                      </a:r>
                      <a:r>
                        <a:rPr lang="en-US" sz="1900" b="1"/>
                        <a:t>194</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194-</a:t>
                      </a:r>
                      <a:r>
                        <a:rPr lang="en-US" sz="1900" b="1"/>
                        <a:t>194</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197-</a:t>
                      </a:r>
                      <a:r>
                        <a:rPr lang="en-US" sz="1900" b="1"/>
                        <a:t>194</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16-</a:t>
                      </a:r>
                      <a:r>
                        <a:rPr lang="en-US" sz="1900" b="1"/>
                        <a:t>194</a:t>
                      </a:r>
                    </a:p>
                  </a:txBody>
                  <a:tcPr marL="93248" marR="93248" marT="46624" marB="46624"/>
                </a:tc>
                <a:extLst>
                  <a:ext uri="{0D108BD9-81ED-4DB2-BD59-A6C34878D82A}">
                    <a16:rowId xmlns:a16="http://schemas.microsoft.com/office/drawing/2014/main" val="4044422552"/>
                  </a:ext>
                </a:extLst>
              </a:tr>
            </a:tbl>
          </a:graphicData>
        </a:graphic>
      </p:graphicFrame>
      <p:sp>
        <p:nvSpPr>
          <p:cNvPr id="30" name="Arrow: Right 29">
            <a:extLst>
              <a:ext uri="{FF2B5EF4-FFF2-40B4-BE49-F238E27FC236}">
                <a16:creationId xmlns:a16="http://schemas.microsoft.com/office/drawing/2014/main" id="{CCD50DBC-DF1F-42C4-A068-0AF0C3F97FEE}"/>
              </a:ext>
            </a:extLst>
          </p:cNvPr>
          <p:cNvSpPr/>
          <p:nvPr/>
        </p:nvSpPr>
        <p:spPr>
          <a:xfrm>
            <a:off x="2559272" y="3084345"/>
            <a:ext cx="1714787"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Bit Packing</a:t>
            </a:r>
          </a:p>
        </p:txBody>
      </p:sp>
      <p:sp>
        <p:nvSpPr>
          <p:cNvPr id="32" name="Arrow: Right 31">
            <a:extLst>
              <a:ext uri="{FF2B5EF4-FFF2-40B4-BE49-F238E27FC236}">
                <a16:creationId xmlns:a16="http://schemas.microsoft.com/office/drawing/2014/main" id="{9E2722C0-8356-417C-9BD1-40534FE5466D}"/>
              </a:ext>
            </a:extLst>
          </p:cNvPr>
          <p:cNvSpPr/>
          <p:nvPr/>
        </p:nvSpPr>
        <p:spPr>
          <a:xfrm>
            <a:off x="6635653" y="3084356"/>
            <a:ext cx="1847658" cy="1229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t>Value Encoding</a:t>
            </a:r>
          </a:p>
        </p:txBody>
      </p:sp>
      <p:graphicFrame>
        <p:nvGraphicFramePr>
          <p:cNvPr id="34" name="Table 6">
            <a:extLst>
              <a:ext uri="{FF2B5EF4-FFF2-40B4-BE49-F238E27FC236}">
                <a16:creationId xmlns:a16="http://schemas.microsoft.com/office/drawing/2014/main" id="{1460C3EE-DFC9-413D-8EBA-BAA846496EF7}"/>
              </a:ext>
            </a:extLst>
          </p:cNvPr>
          <p:cNvGraphicFramePr>
            <a:graphicFrameLocks noGrp="1"/>
          </p:cNvGraphicFramePr>
          <p:nvPr>
            <p:extLst>
              <p:ext uri="{D42A27DB-BD31-4B8C-83A1-F6EECF244321}">
                <p14:modId xmlns:p14="http://schemas.microsoft.com/office/powerpoint/2010/main" val="2871800606"/>
              </p:ext>
            </p:extLst>
          </p:nvPr>
        </p:nvGraphicFramePr>
        <p:xfrm>
          <a:off x="8953373" y="1460062"/>
          <a:ext cx="1847422" cy="4546730"/>
        </p:xfrm>
        <a:graphic>
          <a:graphicData uri="http://schemas.openxmlformats.org/drawingml/2006/table">
            <a:tbl>
              <a:tblPr firstRow="1" bandRow="1">
                <a:tableStyleId>{5C22544A-7EE6-4342-B048-85BDC9FD1C3A}</a:tableStyleId>
              </a:tblPr>
              <a:tblGrid>
                <a:gridCol w="1847422">
                  <a:extLst>
                    <a:ext uri="{9D8B030D-6E8A-4147-A177-3AD203B41FA5}">
                      <a16:colId xmlns:a16="http://schemas.microsoft.com/office/drawing/2014/main" val="660710619"/>
                    </a:ext>
                  </a:extLst>
                </a:gridCol>
              </a:tblGrid>
              <a:tr h="454673">
                <a:tc>
                  <a:txBody>
                    <a:bodyPr/>
                    <a:lstStyle/>
                    <a:p>
                      <a:pPr algn="ctr"/>
                      <a:r>
                        <a:rPr lang="en-US" sz="1900"/>
                        <a:t>Unit Price</a:t>
                      </a:r>
                    </a:p>
                  </a:txBody>
                  <a:tcPr marL="93248" marR="93248" marT="46624" marB="46624"/>
                </a:tc>
                <a:extLst>
                  <a:ext uri="{0D108BD9-81ED-4DB2-BD59-A6C34878D82A}">
                    <a16:rowId xmlns:a16="http://schemas.microsoft.com/office/drawing/2014/main" val="3283667682"/>
                  </a:ext>
                </a:extLst>
              </a:tr>
              <a:tr h="454673">
                <a:tc>
                  <a:txBody>
                    <a:bodyPr/>
                    <a:lstStyle/>
                    <a:p>
                      <a:pPr algn="ctr"/>
                      <a:r>
                        <a:rPr lang="en-US" sz="1900"/>
                        <a:t>18</a:t>
                      </a:r>
                    </a:p>
                  </a:txBody>
                  <a:tcPr marL="93248" marR="93248" marT="46624" marB="46624"/>
                </a:tc>
                <a:extLst>
                  <a:ext uri="{0D108BD9-81ED-4DB2-BD59-A6C34878D82A}">
                    <a16:rowId xmlns:a16="http://schemas.microsoft.com/office/drawing/2014/main" val="3018550398"/>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966994607"/>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1890312210"/>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854759503"/>
                  </a:ext>
                </a:extLst>
              </a:tr>
              <a:tr h="454673">
                <a:tc>
                  <a:txBody>
                    <a:bodyPr/>
                    <a:lstStyle/>
                    <a:p>
                      <a:pPr algn="ctr"/>
                      <a:r>
                        <a:rPr lang="en-US" sz="1900"/>
                        <a:t>20</a:t>
                      </a:r>
                    </a:p>
                  </a:txBody>
                  <a:tcPr marL="93248" marR="93248" marT="46624" marB="46624"/>
                </a:tc>
                <a:extLst>
                  <a:ext uri="{0D108BD9-81ED-4DB2-BD59-A6C34878D82A}">
                    <a16:rowId xmlns:a16="http://schemas.microsoft.com/office/drawing/2014/main" val="2335329891"/>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590479453"/>
                  </a:ext>
                </a:extLst>
              </a:tr>
              <a:tr h="454673">
                <a:tc>
                  <a:txBody>
                    <a:bodyPr/>
                    <a:lstStyle/>
                    <a:p>
                      <a:pPr algn="ctr"/>
                      <a:r>
                        <a:rPr lang="en-US" sz="1900"/>
                        <a:t>0</a:t>
                      </a:r>
                    </a:p>
                  </a:txBody>
                  <a:tcPr marL="93248" marR="93248" marT="46624" marB="46624"/>
                </a:tc>
                <a:extLst>
                  <a:ext uri="{0D108BD9-81ED-4DB2-BD59-A6C34878D82A}">
                    <a16:rowId xmlns:a16="http://schemas.microsoft.com/office/drawing/2014/main" val="4034395117"/>
                  </a:ext>
                </a:extLst>
              </a:tr>
              <a:tr h="454673">
                <a:tc>
                  <a:txBody>
                    <a:bodyPr/>
                    <a:lstStyle/>
                    <a:p>
                      <a:pPr algn="ctr"/>
                      <a:r>
                        <a:rPr lang="en-US" sz="1900"/>
                        <a:t>3</a:t>
                      </a:r>
                    </a:p>
                  </a:txBody>
                  <a:tcPr marL="93248" marR="93248" marT="46624" marB="46624"/>
                </a:tc>
                <a:extLst>
                  <a:ext uri="{0D108BD9-81ED-4DB2-BD59-A6C34878D82A}">
                    <a16:rowId xmlns:a16="http://schemas.microsoft.com/office/drawing/2014/main" val="1090872867"/>
                  </a:ext>
                </a:extLst>
              </a:tr>
              <a:tr h="454673">
                <a:tc>
                  <a:txBody>
                    <a:bodyPr/>
                    <a:lstStyle/>
                    <a:p>
                      <a:pPr algn="ctr"/>
                      <a:r>
                        <a:rPr lang="en-US" sz="1900"/>
                        <a:t>22</a:t>
                      </a:r>
                    </a:p>
                  </a:txBody>
                  <a:tcPr marL="93248" marR="93248" marT="46624" marB="46624"/>
                </a:tc>
                <a:extLst>
                  <a:ext uri="{0D108BD9-81ED-4DB2-BD59-A6C34878D82A}">
                    <a16:rowId xmlns:a16="http://schemas.microsoft.com/office/drawing/2014/main" val="4044422552"/>
                  </a:ext>
                </a:extLst>
              </a:tr>
            </a:tbl>
          </a:graphicData>
        </a:graphic>
      </p:graphicFrame>
      <p:sp>
        <p:nvSpPr>
          <p:cNvPr id="36" name="Rectangle: Rounded Corners 35">
            <a:extLst>
              <a:ext uri="{FF2B5EF4-FFF2-40B4-BE49-F238E27FC236}">
                <a16:creationId xmlns:a16="http://schemas.microsoft.com/office/drawing/2014/main" id="{45E265BC-D118-48FD-BEC9-4339AC84F214}"/>
              </a:ext>
            </a:extLst>
          </p:cNvPr>
          <p:cNvSpPr/>
          <p:nvPr/>
        </p:nvSpPr>
        <p:spPr>
          <a:xfrm>
            <a:off x="468449" y="6005621"/>
            <a:ext cx="2172600" cy="691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a:t>Max value: 216</a:t>
            </a:r>
          </a:p>
          <a:p>
            <a:pPr algn="ctr"/>
            <a:r>
              <a:rPr lang="en-US"/>
              <a:t>8 bits needed</a:t>
            </a:r>
            <a:endParaRPr lang="en-US">
              <a:cs typeface="Segoe UI"/>
            </a:endParaRPr>
          </a:p>
        </p:txBody>
      </p:sp>
      <p:sp>
        <p:nvSpPr>
          <p:cNvPr id="38" name="Rectangle: Rounded Corners 37">
            <a:extLst>
              <a:ext uri="{FF2B5EF4-FFF2-40B4-BE49-F238E27FC236}">
                <a16:creationId xmlns:a16="http://schemas.microsoft.com/office/drawing/2014/main" id="{8F04826B-CEC0-4E71-8438-8473BCC160DF}"/>
              </a:ext>
            </a:extLst>
          </p:cNvPr>
          <p:cNvSpPr/>
          <p:nvPr/>
        </p:nvSpPr>
        <p:spPr>
          <a:xfrm>
            <a:off x="4005505" y="6005621"/>
            <a:ext cx="2926482" cy="691932"/>
          </a:xfrm>
          <a:prstGeom prst="roundRect">
            <a:avLst/>
          </a:prstGeom>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lIns="91428" tIns="45714" rIns="91428" bIns="45714" rtlCol="0" anchor="ctr"/>
          <a:lstStyle/>
          <a:p>
            <a:pPr algn="ctr"/>
            <a:r>
              <a:rPr lang="en-US">
                <a:solidFill>
                  <a:schemeClr val="tx1"/>
                </a:solidFill>
              </a:rPr>
              <a:t>Subtract Min: 194</a:t>
            </a:r>
            <a:endParaRPr lang="en-US" sz="1836">
              <a:solidFill>
                <a:schemeClr val="tx1"/>
              </a:solidFill>
            </a:endParaRPr>
          </a:p>
        </p:txBody>
      </p:sp>
    </p:spTree>
    <p:extLst>
      <p:ext uri="{BB962C8B-B14F-4D97-AF65-F5344CB8AC3E}">
        <p14:creationId xmlns:p14="http://schemas.microsoft.com/office/powerpoint/2010/main" val="21264240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Understanding Hash Encoding</a:t>
            </a:r>
            <a:endParaRPr lang="en-US" sz="4050" spc="0">
              <a:solidFill>
                <a:srgbClr val="FFC000"/>
              </a:solidFill>
            </a:endParaRPr>
          </a:p>
        </p:txBody>
      </p:sp>
      <p:sp>
        <p:nvSpPr>
          <p:cNvPr id="2" name="Rectangle 1">
            <a:extLst>
              <a:ext uri="{FF2B5EF4-FFF2-40B4-BE49-F238E27FC236}">
                <a16:creationId xmlns:a16="http://schemas.microsoft.com/office/drawing/2014/main" id="{65A22AE4-108C-4C2C-815C-593A679F56BF}"/>
              </a:ext>
            </a:extLst>
          </p:cNvPr>
          <p:cNvSpPr/>
          <p:nvPr/>
        </p:nvSpPr>
        <p:spPr>
          <a:xfrm>
            <a:off x="855768" y="1675952"/>
            <a:ext cx="5984205" cy="469683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 name="Rectangle 2">
            <a:extLst>
              <a:ext uri="{FF2B5EF4-FFF2-40B4-BE49-F238E27FC236}">
                <a16:creationId xmlns:a16="http://schemas.microsoft.com/office/drawing/2014/main" id="{84065C69-31EE-4611-B869-322B0AED831A}"/>
              </a:ext>
            </a:extLst>
          </p:cNvPr>
          <p:cNvSpPr/>
          <p:nvPr/>
        </p:nvSpPr>
        <p:spPr>
          <a:xfrm>
            <a:off x="4029210" y="2020640"/>
            <a:ext cx="2189027" cy="1917018"/>
          </a:xfrm>
          <a:prstGeom prst="rect">
            <a:avLst/>
          </a:prstGeom>
          <a:solidFill>
            <a:schemeClr val="bg2"/>
          </a:solid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836">
                <a:latin typeface="Helvetica" panose="020B0604020202020204" pitchFamily="34" charset="0"/>
                <a:cs typeface="Helvetica" panose="020B0604020202020204" pitchFamily="34" charset="0"/>
              </a:rPr>
              <a:t>DATA</a:t>
            </a:r>
          </a:p>
          <a:p>
            <a:pPr algn="ctr"/>
            <a:r>
              <a:rPr lang="en-US" sz="1836">
                <a:latin typeface="Helvetica" panose="020B0604020202020204" pitchFamily="34" charset="0"/>
                <a:cs typeface="Helvetica" panose="020B0604020202020204" pitchFamily="34" charset="0"/>
              </a:rPr>
              <a:t>DICTIONARY</a:t>
            </a:r>
          </a:p>
        </p:txBody>
      </p:sp>
      <p:sp>
        <p:nvSpPr>
          <p:cNvPr id="4" name="Rectangle 3">
            <a:extLst>
              <a:ext uri="{FF2B5EF4-FFF2-40B4-BE49-F238E27FC236}">
                <a16:creationId xmlns:a16="http://schemas.microsoft.com/office/drawing/2014/main" id="{14D9E6EF-3702-4B16-9B29-B6826CFD07EB}"/>
              </a:ext>
            </a:extLst>
          </p:cNvPr>
          <p:cNvSpPr/>
          <p:nvPr/>
        </p:nvSpPr>
        <p:spPr>
          <a:xfrm>
            <a:off x="1218447" y="2020640"/>
            <a:ext cx="2189027" cy="4088595"/>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836">
                <a:solidFill>
                  <a:schemeClr val="bg1"/>
                </a:solidFill>
                <a:latin typeface="Helvetica" panose="020B0604020202020204" pitchFamily="34" charset="0"/>
                <a:cs typeface="Helvetica" panose="020B0604020202020204" pitchFamily="34" charset="0"/>
              </a:rPr>
              <a:t>DICTIONARY </a:t>
            </a:r>
          </a:p>
          <a:p>
            <a:pPr algn="ctr"/>
            <a:r>
              <a:rPr lang="en-US" sz="1836">
                <a:solidFill>
                  <a:schemeClr val="bg1"/>
                </a:solidFill>
                <a:latin typeface="Helvetica" panose="020B0604020202020204" pitchFamily="34" charset="0"/>
                <a:cs typeface="Helvetica" panose="020B0604020202020204" pitchFamily="34" charset="0"/>
              </a:rPr>
              <a:t>ENCODING</a:t>
            </a:r>
          </a:p>
        </p:txBody>
      </p:sp>
      <p:sp>
        <p:nvSpPr>
          <p:cNvPr id="5" name="TextBox 4">
            <a:extLst>
              <a:ext uri="{FF2B5EF4-FFF2-40B4-BE49-F238E27FC236}">
                <a16:creationId xmlns:a16="http://schemas.microsoft.com/office/drawing/2014/main" id="{716474F4-7A97-41B7-BA21-46B856D517B4}"/>
              </a:ext>
            </a:extLst>
          </p:cNvPr>
          <p:cNvSpPr txBox="1"/>
          <p:nvPr/>
        </p:nvSpPr>
        <p:spPr>
          <a:xfrm>
            <a:off x="7305535" y="1675866"/>
            <a:ext cx="4274325" cy="12311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ea typeface="+mn-lt"/>
                <a:cs typeface="+mn-lt"/>
              </a:rPr>
              <a:t>For group-by columns (often dimension-table values) and foreign keys. String columns are always hash encoded.</a:t>
            </a:r>
            <a:endParaRPr lang="en-US">
              <a:cs typeface="Segoe UI"/>
            </a:endParaRPr>
          </a:p>
        </p:txBody>
      </p:sp>
    </p:spTree>
    <p:extLst>
      <p:ext uri="{BB962C8B-B14F-4D97-AF65-F5344CB8AC3E}">
        <p14:creationId xmlns:p14="http://schemas.microsoft.com/office/powerpoint/2010/main" val="14116100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Encoding</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1051704" y="1831336"/>
            <a:ext cx="10328190" cy="2831381"/>
          </a:xfrm>
        </p:spPr>
        <p:txBody>
          <a:bodyPr vert="horz" wrap="square" lIns="0" tIns="0" rIns="0" bIns="0" rtlCol="0" anchor="t">
            <a:normAutofit/>
          </a:bodyPr>
          <a:lstStyle/>
          <a:p>
            <a:pPr marL="0" indent="0">
              <a:spcBef>
                <a:spcPts val="0"/>
              </a:spcBef>
              <a:buNone/>
            </a:pPr>
            <a:r>
              <a:rPr lang="en-US" sz="2400" b="1">
                <a:gradFill>
                  <a:gsLst>
                    <a:gs pos="2917">
                      <a:srgbClr val="505050"/>
                    </a:gs>
                    <a:gs pos="30000">
                      <a:srgbClr val="505050"/>
                    </a:gs>
                  </a:gsLst>
                  <a:lin ang="5400000" scaled="0"/>
                </a:gradFill>
                <a:latin typeface="Segoe UI"/>
                <a:cs typeface="+mn-cs"/>
              </a:rPr>
              <a:t>Value Encoding:</a:t>
            </a:r>
            <a:endParaRPr lang="en-US">
              <a:solidFill>
                <a:srgbClr val="000000"/>
              </a:solidFill>
              <a:latin typeface="Segoe UI"/>
              <a:cs typeface="+mn-cs"/>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Only takes place for integer columns.</a:t>
            </a:r>
          </a:p>
          <a:p>
            <a:pPr marL="436836" lvl="2" indent="0">
              <a:spcBef>
                <a:spcPts val="0"/>
              </a:spcBef>
              <a:buNone/>
            </a:pPr>
            <a:r>
              <a:rPr lang="en-US" sz="1400">
                <a:gradFill>
                  <a:gsLst>
                    <a:gs pos="2917">
                      <a:srgbClr val="505050"/>
                    </a:gs>
                    <a:gs pos="30000">
                      <a:srgbClr val="505050"/>
                    </a:gs>
                  </a:gsLst>
                  <a:lin ang="5400000" scaled="0"/>
                </a:gradFill>
                <a:latin typeface="Segoe UI"/>
              </a:rPr>
              <a:t>2,147,483,647 (the maximum value for an integer)</a:t>
            </a:r>
            <a:endParaRPr lang="en-US" sz="14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annot by applied to strings or floating points values.</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Currency is stored as an integer so…..it can be value encoded.</a:t>
            </a:r>
            <a:endParaRPr lang="en-US" sz="1800">
              <a:gradFill>
                <a:gsLst>
                  <a:gs pos="2917">
                    <a:srgbClr val="505050"/>
                  </a:gs>
                  <a:gs pos="30000">
                    <a:srgbClr val="505050"/>
                  </a:gs>
                </a:gsLst>
                <a:lin ang="5400000" scaled="0"/>
              </a:gradFill>
              <a:latin typeface="Segoe UI"/>
              <a:cs typeface="Segoe UI"/>
            </a:endParaRPr>
          </a:p>
          <a:p>
            <a:pPr marL="0" indent="0">
              <a:spcBef>
                <a:spcPts val="0"/>
              </a:spcBef>
              <a:buNone/>
            </a:pPr>
            <a:endParaRPr lang="en-US" sz="2400">
              <a:solidFill>
                <a:srgbClr val="000000"/>
              </a:solidFill>
              <a:latin typeface="Segoe UI" panose="020B0502040204020203" pitchFamily="34" charset="0"/>
            </a:endParaRPr>
          </a:p>
          <a:p>
            <a:pPr marL="0" indent="0">
              <a:spcBef>
                <a:spcPts val="0"/>
              </a:spcBef>
              <a:buNone/>
            </a:pPr>
            <a:r>
              <a:rPr lang="en-US" sz="2448" b="1">
                <a:gradFill>
                  <a:gsLst>
                    <a:gs pos="2917">
                      <a:srgbClr val="505050"/>
                    </a:gs>
                    <a:gs pos="30000">
                      <a:srgbClr val="505050"/>
                    </a:gs>
                  </a:gsLst>
                  <a:lin ang="5400000" scaled="0"/>
                </a:gradFill>
                <a:latin typeface="Segoe UI"/>
                <a:cs typeface="+mn-cs"/>
              </a:rPr>
              <a:t>Hash Encoding</a:t>
            </a: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If the value changes to often (Primary Key) Vertipaq skips RLE.</a:t>
            </a:r>
            <a:endParaRPr lang="en-US" sz="1800">
              <a:gradFill>
                <a:gsLst>
                  <a:gs pos="2917">
                    <a:srgbClr val="505050"/>
                  </a:gs>
                  <a:gs pos="30000">
                    <a:srgbClr val="505050"/>
                  </a:gs>
                </a:gsLst>
                <a:lin ang="5400000" scaled="0"/>
              </a:gradFill>
              <a:latin typeface="Segoe UI"/>
              <a:cs typeface="Segoe UI"/>
            </a:endParaRPr>
          </a:p>
          <a:p>
            <a:pPr marL="342866" indent="-342866">
              <a:spcBef>
                <a:spcPts val="0"/>
              </a:spcBef>
              <a:buAutoNum type="arabicPeriod"/>
            </a:pPr>
            <a:r>
              <a:rPr lang="en-US" sz="1800">
                <a:gradFill>
                  <a:gsLst>
                    <a:gs pos="2917">
                      <a:srgbClr val="505050"/>
                    </a:gs>
                    <a:gs pos="30000">
                      <a:srgbClr val="505050"/>
                    </a:gs>
                  </a:gsLst>
                  <a:lin ang="5400000" scaled="0"/>
                </a:gradFill>
                <a:latin typeface="Segoe UI"/>
                <a:cs typeface="+mn-cs"/>
              </a:rPr>
              <a:t>Vertipaq storage of a column will never exceed the original column size.</a:t>
            </a:r>
            <a:endParaRPr lang="en-US" sz="1800">
              <a:gradFill>
                <a:gsLst>
                  <a:gs pos="2917">
                    <a:srgbClr val="505050"/>
                  </a:gs>
                  <a:gs pos="30000">
                    <a:srgbClr val="505050"/>
                  </a:gs>
                </a:gsLst>
                <a:lin ang="5400000" scaled="0"/>
              </a:gradFill>
              <a:latin typeface="Segoe UI"/>
              <a:cs typeface="Segoe UI"/>
            </a:endParaRPr>
          </a:p>
        </p:txBody>
      </p:sp>
    </p:spTree>
    <p:extLst>
      <p:ext uri="{BB962C8B-B14F-4D97-AF65-F5344CB8AC3E}">
        <p14:creationId xmlns:p14="http://schemas.microsoft.com/office/powerpoint/2010/main" val="108886583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Providing an Encoding Hint</a:t>
            </a:r>
            <a:endParaRPr lang="en-US"/>
          </a:p>
        </p:txBody>
      </p:sp>
      <p:sp>
        <p:nvSpPr>
          <p:cNvPr id="2" name="Content Placeholder 2">
            <a:extLst>
              <a:ext uri="{FF2B5EF4-FFF2-40B4-BE49-F238E27FC236}">
                <a16:creationId xmlns:a16="http://schemas.microsoft.com/office/drawing/2014/main" id="{7B59351F-8B83-4BC3-9EF6-945BE4783D85}"/>
              </a:ext>
            </a:extLst>
          </p:cNvPr>
          <p:cNvSpPr>
            <a:spLocks noGrp="1"/>
          </p:cNvSpPr>
          <p:nvPr>
            <p:ph idx="1"/>
          </p:nvPr>
        </p:nvSpPr>
        <p:spPr>
          <a:xfrm>
            <a:off x="586291" y="1553529"/>
            <a:ext cx="3024996" cy="2015724"/>
          </a:xfrm>
        </p:spPr>
        <p:txBody>
          <a:bodyPr vert="horz" wrap="square" lIns="0" tIns="0" rIns="0" bIns="0" rtlCol="0" anchor="t">
            <a:normAutofit/>
          </a:bodyPr>
          <a:lstStyle/>
          <a:p>
            <a:pPr marL="0" indent="0">
              <a:spcBef>
                <a:spcPts val="0"/>
              </a:spcBef>
              <a:buNone/>
            </a:pPr>
            <a:r>
              <a:rPr lang="en-US" sz="2400">
                <a:gradFill>
                  <a:gsLst>
                    <a:gs pos="2917">
                      <a:srgbClr val="505050"/>
                    </a:gs>
                    <a:gs pos="30000">
                      <a:srgbClr val="505050"/>
                    </a:gs>
                  </a:gsLst>
                  <a:lin ang="5400000" scaled="0"/>
                </a:gradFill>
                <a:latin typeface="Segoe UI"/>
                <a:cs typeface="+mn-cs"/>
              </a:rPr>
              <a:t>External Tool:</a:t>
            </a:r>
          </a:p>
          <a:p>
            <a:pPr marL="0" indent="0">
              <a:spcBef>
                <a:spcPts val="0"/>
              </a:spcBef>
              <a:buNone/>
            </a:pPr>
            <a:r>
              <a:rPr lang="en-US" sz="2400" b="1">
                <a:gradFill>
                  <a:gsLst>
                    <a:gs pos="2917">
                      <a:srgbClr val="505050"/>
                    </a:gs>
                    <a:gs pos="30000">
                      <a:srgbClr val="505050"/>
                    </a:gs>
                  </a:gsLst>
                  <a:lin ang="5400000" scaled="0"/>
                </a:gradFill>
                <a:latin typeface="Segoe UI"/>
                <a:cs typeface="+mn-cs"/>
              </a:rPr>
              <a:t>Tabular Editor</a:t>
            </a:r>
          </a:p>
          <a:p>
            <a:pPr marL="0" indent="0">
              <a:spcBef>
                <a:spcPts val="0"/>
              </a:spcBef>
              <a:buNone/>
            </a:pPr>
            <a:endParaRPr lang="en-US" b="1"/>
          </a:p>
          <a:p>
            <a:pPr marL="0" indent="0">
              <a:spcBef>
                <a:spcPts val="0"/>
              </a:spcBef>
              <a:buNone/>
            </a:pPr>
            <a:r>
              <a:rPr lang="en-US" sz="2400">
                <a:gradFill>
                  <a:gsLst>
                    <a:gs pos="2917">
                      <a:srgbClr val="505050"/>
                    </a:gs>
                    <a:gs pos="30000">
                      <a:srgbClr val="505050"/>
                    </a:gs>
                  </a:gsLst>
                  <a:lin ang="5400000" scaled="0"/>
                </a:gradFill>
                <a:latin typeface="Segoe UI"/>
                <a:cs typeface="+mn-cs"/>
              </a:rPr>
              <a:t>Column Property:</a:t>
            </a:r>
          </a:p>
          <a:p>
            <a:pPr marL="0" indent="0">
              <a:spcBef>
                <a:spcPts val="0"/>
              </a:spcBef>
              <a:buNone/>
            </a:pPr>
            <a:r>
              <a:rPr lang="en-US" sz="2400" b="1">
                <a:gradFill>
                  <a:gsLst>
                    <a:gs pos="2917">
                      <a:srgbClr val="505050"/>
                    </a:gs>
                    <a:gs pos="30000">
                      <a:srgbClr val="505050"/>
                    </a:gs>
                  </a:gsLst>
                  <a:lin ang="5400000" scaled="0"/>
                </a:gradFill>
                <a:latin typeface="Segoe UI"/>
                <a:cs typeface="+mn-cs"/>
              </a:rPr>
              <a:t>Encoding Hint</a:t>
            </a: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sz="2400" b="1">
              <a:gradFill>
                <a:gsLst>
                  <a:gs pos="2917">
                    <a:srgbClr val="505050"/>
                  </a:gs>
                  <a:gs pos="30000">
                    <a:srgbClr val="505050"/>
                  </a:gs>
                </a:gsLst>
                <a:lin ang="5400000" scaled="0"/>
              </a:gradFill>
              <a:latin typeface="Segoe UI"/>
              <a:cs typeface="+mn-cs"/>
            </a:endParaRPr>
          </a:p>
          <a:p>
            <a:pPr marL="0" indent="0">
              <a:spcBef>
                <a:spcPts val="0"/>
              </a:spcBef>
              <a:buNone/>
            </a:pPr>
            <a:endParaRPr lang="en-US">
              <a:solidFill>
                <a:srgbClr val="000000"/>
              </a:solidFill>
              <a:latin typeface="Segoe UI"/>
              <a:cs typeface="+mn-cs"/>
            </a:endParaRPr>
          </a:p>
        </p:txBody>
      </p:sp>
      <p:grpSp>
        <p:nvGrpSpPr>
          <p:cNvPr id="9" name="Group 8">
            <a:extLst>
              <a:ext uri="{FF2B5EF4-FFF2-40B4-BE49-F238E27FC236}">
                <a16:creationId xmlns:a16="http://schemas.microsoft.com/office/drawing/2014/main" id="{93A569B6-22C1-474D-BEA5-13970BD40F61}"/>
              </a:ext>
            </a:extLst>
          </p:cNvPr>
          <p:cNvGrpSpPr/>
          <p:nvPr/>
        </p:nvGrpSpPr>
        <p:grpSpPr>
          <a:xfrm>
            <a:off x="4423614" y="1783234"/>
            <a:ext cx="7626742" cy="3143412"/>
            <a:chOff x="4344101" y="3037773"/>
            <a:chExt cx="7626742" cy="3143412"/>
          </a:xfrm>
        </p:grpSpPr>
        <p:grpSp>
          <p:nvGrpSpPr>
            <p:cNvPr id="8" name="Group 7">
              <a:extLst>
                <a:ext uri="{FF2B5EF4-FFF2-40B4-BE49-F238E27FC236}">
                  <a16:creationId xmlns:a16="http://schemas.microsoft.com/office/drawing/2014/main" id="{027E3F2A-511A-4AEA-8B8C-30FFCE16BF72}"/>
                </a:ext>
              </a:extLst>
            </p:cNvPr>
            <p:cNvGrpSpPr/>
            <p:nvPr/>
          </p:nvGrpSpPr>
          <p:grpSpPr>
            <a:xfrm>
              <a:off x="4344101" y="3037773"/>
              <a:ext cx="7626742" cy="3143412"/>
              <a:chOff x="4277840" y="1521239"/>
              <a:chExt cx="7626742" cy="3143412"/>
            </a:xfrm>
          </p:grpSpPr>
          <p:pic>
            <p:nvPicPr>
              <p:cNvPr id="7" name="Picture 6">
                <a:extLst>
                  <a:ext uri="{FF2B5EF4-FFF2-40B4-BE49-F238E27FC236}">
                    <a16:creationId xmlns:a16="http://schemas.microsoft.com/office/drawing/2014/main" id="{43ACC134-0338-446C-AFE0-23E4DED4312F}"/>
                  </a:ext>
                </a:extLst>
              </p:cNvPr>
              <p:cNvPicPr>
                <a:picLocks noChangeAspect="1"/>
              </p:cNvPicPr>
              <p:nvPr/>
            </p:nvPicPr>
            <p:blipFill>
              <a:blip r:embed="rId2"/>
              <a:stretch>
                <a:fillRect/>
              </a:stretch>
            </p:blipFill>
            <p:spPr>
              <a:xfrm>
                <a:off x="4277840" y="1521239"/>
                <a:ext cx="7626742" cy="3143412"/>
              </a:xfrm>
              <a:prstGeom prst="rect">
                <a:avLst/>
              </a:prstGeom>
              <a:ln>
                <a:solidFill>
                  <a:schemeClr val="tx1">
                    <a:lumMod val="50000"/>
                    <a:lumOff val="50000"/>
                  </a:schemeClr>
                </a:solidFill>
              </a:ln>
            </p:spPr>
          </p:pic>
          <p:sp>
            <p:nvSpPr>
              <p:cNvPr id="11" name="Rectangle 10">
                <a:extLst>
                  <a:ext uri="{FF2B5EF4-FFF2-40B4-BE49-F238E27FC236}">
                    <a16:creationId xmlns:a16="http://schemas.microsoft.com/office/drawing/2014/main" id="{5B68B983-62D7-4B5F-B565-EE38FB6AF7E4}"/>
                  </a:ext>
                </a:extLst>
              </p:cNvPr>
              <p:cNvSpPr/>
              <p:nvPr/>
            </p:nvSpPr>
            <p:spPr>
              <a:xfrm>
                <a:off x="9029423" y="3158435"/>
                <a:ext cx="653499" cy="5035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4" name="Rectangle 13">
              <a:extLst>
                <a:ext uri="{FF2B5EF4-FFF2-40B4-BE49-F238E27FC236}">
                  <a16:creationId xmlns:a16="http://schemas.microsoft.com/office/drawing/2014/main" id="{7557224B-923B-4BFC-BA3B-BC433DF2E4EE}"/>
                </a:ext>
              </a:extLst>
            </p:cNvPr>
            <p:cNvSpPr/>
            <p:nvPr/>
          </p:nvSpPr>
          <p:spPr>
            <a:xfrm>
              <a:off x="6694832" y="4489143"/>
              <a:ext cx="1044437" cy="2406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sp>
        <p:nvSpPr>
          <p:cNvPr id="12" name="TextBox 11">
            <a:extLst>
              <a:ext uri="{FF2B5EF4-FFF2-40B4-BE49-F238E27FC236}">
                <a16:creationId xmlns:a16="http://schemas.microsoft.com/office/drawing/2014/main" id="{411E8622-7F65-4A42-BB4D-411862F46786}"/>
              </a:ext>
            </a:extLst>
          </p:cNvPr>
          <p:cNvSpPr txBox="1"/>
          <p:nvPr/>
        </p:nvSpPr>
        <p:spPr>
          <a:xfrm>
            <a:off x="4423612" y="5112472"/>
            <a:ext cx="7626743" cy="1538883"/>
          </a:xfrm>
          <a:prstGeom prst="rect">
            <a:avLst/>
          </a:prstGeom>
          <a:noFill/>
        </p:spPr>
        <p:txBody>
          <a:bodyPr wrap="square" lIns="0" tIns="0" rIns="0" bIns="0" rtlCol="0">
            <a:spAutoFit/>
          </a:bodyPr>
          <a:lstStyle/>
          <a:p>
            <a:r>
              <a:rPr lang="en-US" sz="2000" b="1">
                <a:gradFill>
                  <a:gsLst>
                    <a:gs pos="2917">
                      <a:srgbClr val="505050"/>
                    </a:gs>
                    <a:gs pos="30000">
                      <a:srgbClr val="505050"/>
                    </a:gs>
                  </a:gsLst>
                  <a:lin ang="5400000" scaled="0"/>
                </a:gradFill>
                <a:latin typeface="Segoe UI"/>
              </a:rPr>
              <a:t>Encoding Hint</a:t>
            </a:r>
            <a:endParaRPr lang="en-US" sz="2000"/>
          </a:p>
          <a:p>
            <a:pPr algn="l"/>
            <a:r>
              <a:rPr lang="en-US" sz="1600"/>
              <a:t>This property allows an encoding hint to be specified for the column. A numeric column may use either value-based encoding or hash-based encoding. Usually the server will automatically attempt detect which encoding to use, but re-encoding may occur later. This property allows hinting to the server that it should start with a different encoding type.</a:t>
            </a:r>
          </a:p>
        </p:txBody>
      </p:sp>
    </p:spTree>
    <p:extLst>
      <p:ext uri="{BB962C8B-B14F-4D97-AF65-F5344CB8AC3E}">
        <p14:creationId xmlns:p14="http://schemas.microsoft.com/office/powerpoint/2010/main" val="126787879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 Tip: Caution with Providing an Encoding Hint</a:t>
            </a:r>
            <a:endParaRPr lang="en-US"/>
          </a:p>
        </p:txBody>
      </p:sp>
      <p:sp>
        <p:nvSpPr>
          <p:cNvPr id="7" name="TextBox 6">
            <a:extLst>
              <a:ext uri="{FF2B5EF4-FFF2-40B4-BE49-F238E27FC236}">
                <a16:creationId xmlns:a16="http://schemas.microsoft.com/office/drawing/2014/main" id="{94B7EF59-1F05-43EA-BA14-C193D840177A}"/>
              </a:ext>
            </a:extLst>
          </p:cNvPr>
          <p:cNvSpPr txBox="1"/>
          <p:nvPr/>
        </p:nvSpPr>
        <p:spPr>
          <a:xfrm>
            <a:off x="391204" y="1683521"/>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Before</a:t>
            </a:r>
          </a:p>
        </p:txBody>
      </p:sp>
      <p:sp>
        <p:nvSpPr>
          <p:cNvPr id="8" name="TextBox 7">
            <a:extLst>
              <a:ext uri="{FF2B5EF4-FFF2-40B4-BE49-F238E27FC236}">
                <a16:creationId xmlns:a16="http://schemas.microsoft.com/office/drawing/2014/main" id="{7CDD533A-B589-4349-BD1C-AE087F0DD04B}"/>
              </a:ext>
            </a:extLst>
          </p:cNvPr>
          <p:cNvSpPr txBox="1"/>
          <p:nvPr/>
        </p:nvSpPr>
        <p:spPr>
          <a:xfrm>
            <a:off x="6633725" y="1735120"/>
            <a:ext cx="1735055" cy="461665"/>
          </a:xfrm>
          <a:prstGeom prst="rect">
            <a:avLst/>
          </a:prstGeom>
          <a:noFill/>
        </p:spPr>
        <p:txBody>
          <a:bodyPr wrap="square" rtlCol="0">
            <a:spAutoFit/>
          </a:bodyPr>
          <a:lstStyle/>
          <a:p>
            <a:r>
              <a:rPr lang="en-US" sz="2400" b="1">
                <a:gradFill>
                  <a:gsLst>
                    <a:gs pos="2917">
                      <a:srgbClr val="505050"/>
                    </a:gs>
                    <a:gs pos="30000">
                      <a:srgbClr val="505050"/>
                    </a:gs>
                  </a:gsLst>
                  <a:lin ang="5400000" scaled="0"/>
                </a:gradFill>
                <a:latin typeface="Segoe UI"/>
              </a:rPr>
              <a:t>After</a:t>
            </a:r>
          </a:p>
        </p:txBody>
      </p:sp>
      <p:pic>
        <p:nvPicPr>
          <p:cNvPr id="9" name="Picture 8">
            <a:extLst>
              <a:ext uri="{FF2B5EF4-FFF2-40B4-BE49-F238E27FC236}">
                <a16:creationId xmlns:a16="http://schemas.microsoft.com/office/drawing/2014/main" id="{4B5EED8D-8814-408F-9D2B-AFE2F7B3482F}"/>
              </a:ext>
            </a:extLst>
          </p:cNvPr>
          <p:cNvPicPr>
            <a:picLocks noChangeAspect="1"/>
          </p:cNvPicPr>
          <p:nvPr/>
        </p:nvPicPr>
        <p:blipFill>
          <a:blip r:embed="rId2"/>
          <a:stretch>
            <a:fillRect/>
          </a:stretch>
        </p:blipFill>
        <p:spPr>
          <a:xfrm>
            <a:off x="6633725" y="2111804"/>
            <a:ext cx="5129318" cy="2661805"/>
          </a:xfrm>
          <a:prstGeom prst="rect">
            <a:avLst/>
          </a:prstGeom>
        </p:spPr>
      </p:pic>
      <p:pic>
        <p:nvPicPr>
          <p:cNvPr id="10" name="Picture 9">
            <a:extLst>
              <a:ext uri="{FF2B5EF4-FFF2-40B4-BE49-F238E27FC236}">
                <a16:creationId xmlns:a16="http://schemas.microsoft.com/office/drawing/2014/main" id="{ACFADA7E-5924-4243-A074-50217BD1C219}"/>
              </a:ext>
            </a:extLst>
          </p:cNvPr>
          <p:cNvPicPr>
            <a:picLocks noChangeAspect="1"/>
          </p:cNvPicPr>
          <p:nvPr/>
        </p:nvPicPr>
        <p:blipFill>
          <a:blip r:embed="rId3"/>
          <a:stretch>
            <a:fillRect/>
          </a:stretch>
        </p:blipFill>
        <p:spPr>
          <a:xfrm>
            <a:off x="407519" y="2089350"/>
            <a:ext cx="5197321" cy="2632661"/>
          </a:xfrm>
          <a:prstGeom prst="rect">
            <a:avLst/>
          </a:prstGeom>
        </p:spPr>
      </p:pic>
      <p:cxnSp>
        <p:nvCxnSpPr>
          <p:cNvPr id="11" name="Straight Connector 10">
            <a:extLst>
              <a:ext uri="{FF2B5EF4-FFF2-40B4-BE49-F238E27FC236}">
                <a16:creationId xmlns:a16="http://schemas.microsoft.com/office/drawing/2014/main" id="{8C325835-5CC7-4A42-A69A-F55D63792D04}"/>
              </a:ext>
            </a:extLst>
          </p:cNvPr>
          <p:cNvCxnSpPr>
            <a:cxnSpLocks/>
          </p:cNvCxnSpPr>
          <p:nvPr/>
        </p:nvCxnSpPr>
        <p:spPr>
          <a:xfrm>
            <a:off x="6218237" y="1580921"/>
            <a:ext cx="0" cy="3832683"/>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C2EE2A7F-06F5-48A1-90BA-5F22EC648CA2}"/>
              </a:ext>
            </a:extLst>
          </p:cNvPr>
          <p:cNvSpPr/>
          <p:nvPr/>
        </p:nvSpPr>
        <p:spPr>
          <a:xfrm>
            <a:off x="474649" y="3207701"/>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4" name="Rectangle 13">
            <a:extLst>
              <a:ext uri="{FF2B5EF4-FFF2-40B4-BE49-F238E27FC236}">
                <a16:creationId xmlns:a16="http://schemas.microsoft.com/office/drawing/2014/main" id="{57D8399F-3D0F-4917-8D29-1A4F4E5CA7A6}"/>
              </a:ext>
            </a:extLst>
          </p:cNvPr>
          <p:cNvSpPr/>
          <p:nvPr/>
        </p:nvSpPr>
        <p:spPr>
          <a:xfrm>
            <a:off x="6721778" y="2688779"/>
            <a:ext cx="5130189" cy="2312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 name="TextBox 15">
            <a:extLst>
              <a:ext uri="{FF2B5EF4-FFF2-40B4-BE49-F238E27FC236}">
                <a16:creationId xmlns:a16="http://schemas.microsoft.com/office/drawing/2014/main" id="{E2E9D87D-47D7-4FBF-99F2-855AEF53F9AE}"/>
              </a:ext>
            </a:extLst>
          </p:cNvPr>
          <p:cNvSpPr txBox="1"/>
          <p:nvPr/>
        </p:nvSpPr>
        <p:spPr>
          <a:xfrm>
            <a:off x="1523585" y="4773609"/>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731,292,704</a:t>
            </a:r>
          </a:p>
        </p:txBody>
      </p:sp>
      <p:sp>
        <p:nvSpPr>
          <p:cNvPr id="17" name="TextBox 16">
            <a:extLst>
              <a:ext uri="{FF2B5EF4-FFF2-40B4-BE49-F238E27FC236}">
                <a16:creationId xmlns:a16="http://schemas.microsoft.com/office/drawing/2014/main" id="{E7F33890-BFEC-44B5-8D18-771A8530918D}"/>
              </a:ext>
            </a:extLst>
          </p:cNvPr>
          <p:cNvSpPr txBox="1"/>
          <p:nvPr/>
        </p:nvSpPr>
        <p:spPr>
          <a:xfrm>
            <a:off x="7947702" y="4780961"/>
            <a:ext cx="2965188" cy="738664"/>
          </a:xfrm>
          <a:prstGeom prst="rect">
            <a:avLst/>
          </a:prstGeom>
          <a:noFill/>
        </p:spPr>
        <p:txBody>
          <a:bodyPr wrap="square" rtlCol="0">
            <a:spAutoFit/>
          </a:bodyPr>
          <a:lstStyle/>
          <a:p>
            <a:pPr algn="ctr"/>
            <a:r>
              <a:rPr lang="en-US" sz="2400" b="1">
                <a:gradFill>
                  <a:gsLst>
                    <a:gs pos="2917">
                      <a:srgbClr val="505050"/>
                    </a:gs>
                    <a:gs pos="30000">
                      <a:srgbClr val="505050"/>
                    </a:gs>
                  </a:gsLst>
                  <a:lin ang="5400000" scaled="0"/>
                </a:gradFill>
                <a:latin typeface="Segoe UI"/>
              </a:rPr>
              <a:t>Data Size:</a:t>
            </a:r>
          </a:p>
          <a:p>
            <a:pPr algn="ctr"/>
            <a:r>
              <a:rPr lang="en-US">
                <a:gradFill>
                  <a:gsLst>
                    <a:gs pos="2917">
                      <a:srgbClr val="505050"/>
                    </a:gs>
                    <a:gs pos="30000">
                      <a:srgbClr val="505050"/>
                    </a:gs>
                  </a:gsLst>
                  <a:lin ang="5400000" scaled="0"/>
                </a:gradFill>
                <a:latin typeface="Segoe UI"/>
              </a:rPr>
              <a:t>2,074,027,368</a:t>
            </a:r>
          </a:p>
        </p:txBody>
      </p:sp>
    </p:spTree>
    <p:extLst>
      <p:ext uri="{BB962C8B-B14F-4D97-AF65-F5344CB8AC3E}">
        <p14:creationId xmlns:p14="http://schemas.microsoft.com/office/powerpoint/2010/main" val="152316209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44ECF0-39C2-4F75-A562-B06921ED7203}"/>
              </a:ext>
            </a:extLst>
          </p:cNvPr>
          <p:cNvSpPr txBox="1"/>
          <p:nvPr/>
        </p:nvSpPr>
        <p:spPr>
          <a:xfrm>
            <a:off x="8534064" y="4124271"/>
            <a:ext cx="3020121" cy="374798"/>
          </a:xfrm>
          <a:prstGeom prst="rect">
            <a:avLst/>
          </a:prstGeom>
          <a:noFill/>
        </p:spPr>
        <p:txBody>
          <a:bodyPr wrap="none" rtlCol="0">
            <a:spAutoFit/>
          </a:bodyPr>
          <a:lstStyle/>
          <a:p>
            <a:r>
              <a:rPr lang="en-US" sz="1836"/>
              <a:t>Get data ◀▶ Processing </a:t>
            </a:r>
          </a:p>
        </p:txBody>
      </p:sp>
      <p:graphicFrame>
        <p:nvGraphicFramePr>
          <p:cNvPr id="6" name="Diagram 5">
            <a:extLst>
              <a:ext uri="{FF2B5EF4-FFF2-40B4-BE49-F238E27FC236}">
                <a16:creationId xmlns:a16="http://schemas.microsoft.com/office/drawing/2014/main" id="{5E2BB216-AABA-4887-96A3-E3938AD1A51F}"/>
              </a:ext>
            </a:extLst>
          </p:cNvPr>
          <p:cNvGraphicFramePr/>
          <p:nvPr/>
        </p:nvGraphicFramePr>
        <p:xfrm>
          <a:off x="855767" y="1631428"/>
          <a:ext cx="10724940" cy="7359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E4DE004C-00CE-4F3C-82DE-428606706B78}"/>
              </a:ext>
            </a:extLst>
          </p:cNvPr>
          <p:cNvSpPr/>
          <p:nvPr/>
        </p:nvSpPr>
        <p:spPr>
          <a:xfrm>
            <a:off x="3157385"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cxnSp>
        <p:nvCxnSpPr>
          <p:cNvPr id="13" name="Straight Connector 12">
            <a:extLst>
              <a:ext uri="{FF2B5EF4-FFF2-40B4-BE49-F238E27FC236}">
                <a16:creationId xmlns:a16="http://schemas.microsoft.com/office/drawing/2014/main" id="{A3CABC45-661D-476F-B926-10A8F546FB2F}"/>
              </a:ext>
            </a:extLst>
          </p:cNvPr>
          <p:cNvCxnSpPr>
            <a:cxnSpLocks/>
          </p:cNvCxnSpPr>
          <p:nvPr/>
        </p:nvCxnSpPr>
        <p:spPr>
          <a:xfrm>
            <a:off x="9873923" y="1452709"/>
            <a:ext cx="0" cy="2591561"/>
          </a:xfrm>
          <a:prstGeom prst="line">
            <a:avLst/>
          </a:prstGeom>
          <a:ln w="38100"/>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274F51F9-B709-4F7F-A9FC-7936CE0C4A9E}"/>
              </a:ext>
            </a:extLst>
          </p:cNvPr>
          <p:cNvSpPr/>
          <p:nvPr/>
        </p:nvSpPr>
        <p:spPr>
          <a:xfrm>
            <a:off x="5429111"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Compressed</a:t>
            </a:r>
          </a:p>
          <a:p>
            <a:pPr algn="ctr"/>
            <a:r>
              <a:rPr lang="en-US" sz="1020">
                <a:latin typeface="Segoe UI" panose="020B0502040204020203" pitchFamily="34" charset="0"/>
                <a:cs typeface="Segoe UI" panose="020B0502040204020203" pitchFamily="34" charset="0"/>
              </a:rPr>
              <a:t>Segment</a:t>
            </a:r>
          </a:p>
        </p:txBody>
      </p:sp>
      <p:sp>
        <p:nvSpPr>
          <p:cNvPr id="16" name="Rectangle 15">
            <a:extLst>
              <a:ext uri="{FF2B5EF4-FFF2-40B4-BE49-F238E27FC236}">
                <a16:creationId xmlns:a16="http://schemas.microsoft.com/office/drawing/2014/main" id="{198AAED0-C065-4FFB-8C76-4C9FF7F38C70}"/>
              </a:ext>
            </a:extLst>
          </p:cNvPr>
          <p:cNvSpPr/>
          <p:nvPr/>
        </p:nvSpPr>
        <p:spPr>
          <a:xfrm>
            <a:off x="9972561" y="1631428"/>
            <a:ext cx="1608139" cy="220596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a:latin typeface="Segoe UI" panose="020B0502040204020203" pitchFamily="34" charset="0"/>
                <a:cs typeface="Segoe UI" panose="020B0502040204020203" pitchFamily="34" charset="0"/>
              </a:rPr>
              <a:t>Data Model</a:t>
            </a:r>
          </a:p>
          <a:p>
            <a:pPr algn="ctr"/>
            <a:r>
              <a:rPr lang="en-US" sz="1122">
                <a:latin typeface="Segoe UI" panose="020B0502040204020203" pitchFamily="34" charset="0"/>
                <a:cs typeface="Segoe UI" panose="020B0502040204020203" pitchFamily="34" charset="0"/>
              </a:rPr>
              <a:t>(Hierarchies,</a:t>
            </a:r>
          </a:p>
          <a:p>
            <a:pPr algn="ctr"/>
            <a:r>
              <a:rPr lang="en-US" sz="1122">
                <a:latin typeface="Segoe UI" panose="020B0502040204020203" pitchFamily="34" charset="0"/>
                <a:cs typeface="Segoe UI" panose="020B0502040204020203" pitchFamily="34" charset="0"/>
              </a:rPr>
              <a:t>Calculated Columns,</a:t>
            </a:r>
          </a:p>
          <a:p>
            <a:pPr algn="ctr"/>
            <a:r>
              <a:rPr lang="en-US" sz="1122">
                <a:latin typeface="Segoe UI" panose="020B0502040204020203" pitchFamily="34" charset="0"/>
                <a:cs typeface="Segoe UI" panose="020B0502040204020203" pitchFamily="34" charset="0"/>
              </a:rPr>
              <a:t>Relationships)</a:t>
            </a:r>
          </a:p>
        </p:txBody>
      </p:sp>
      <p:sp>
        <p:nvSpPr>
          <p:cNvPr id="17" name="Rectangle 16">
            <a:extLst>
              <a:ext uri="{FF2B5EF4-FFF2-40B4-BE49-F238E27FC236}">
                <a16:creationId xmlns:a16="http://schemas.microsoft.com/office/drawing/2014/main" id="{11158FA2-252F-45EC-9929-3FD38D771D7A}"/>
              </a:ext>
            </a:extLst>
          </p:cNvPr>
          <p:cNvSpPr/>
          <p:nvPr/>
        </p:nvSpPr>
        <p:spPr>
          <a:xfrm>
            <a:off x="9340372" y="1698997"/>
            <a:ext cx="484233" cy="600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0" name="Rectangle 19">
            <a:extLst>
              <a:ext uri="{FF2B5EF4-FFF2-40B4-BE49-F238E27FC236}">
                <a16:creationId xmlns:a16="http://schemas.microsoft.com/office/drawing/2014/main" id="{1288A6CF-523D-4230-9107-1655031E0E90}"/>
              </a:ext>
            </a:extLst>
          </p:cNvPr>
          <p:cNvSpPr/>
          <p:nvPr/>
        </p:nvSpPr>
        <p:spPr>
          <a:xfrm>
            <a:off x="749310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1" name="Rectangle 20">
            <a:extLst>
              <a:ext uri="{FF2B5EF4-FFF2-40B4-BE49-F238E27FC236}">
                <a16:creationId xmlns:a16="http://schemas.microsoft.com/office/drawing/2014/main" id="{28C9F9B8-A48E-40ED-A2CE-36F02F3D5752}"/>
              </a:ext>
            </a:extLst>
          </p:cNvPr>
          <p:cNvSpPr/>
          <p:nvPr/>
        </p:nvSpPr>
        <p:spPr>
          <a:xfrm>
            <a:off x="6551530"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2" name="Rectangle 21">
            <a:extLst>
              <a:ext uri="{FF2B5EF4-FFF2-40B4-BE49-F238E27FC236}">
                <a16:creationId xmlns:a16="http://schemas.microsoft.com/office/drawing/2014/main" id="{36D608D4-5B76-475E-98F9-4440F059A011}"/>
              </a:ext>
            </a:extLst>
          </p:cNvPr>
          <p:cNvSpPr/>
          <p:nvPr/>
        </p:nvSpPr>
        <p:spPr>
          <a:xfrm>
            <a:off x="8434671" y="3236581"/>
            <a:ext cx="905701" cy="600811"/>
          </a:xfrm>
          <a:prstGeom prst="rect">
            <a:avLst/>
          </a:prstGeom>
          <a:solidFill>
            <a:srgbClr val="FFC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solidFill>
                  <a:schemeClr val="tx1"/>
                </a:solidFill>
                <a:latin typeface="Segoe UI" panose="020B0502040204020203" pitchFamily="34" charset="0"/>
                <a:cs typeface="Segoe UI" panose="020B0502040204020203" pitchFamily="34" charset="0"/>
              </a:rPr>
              <a:t>Compressed</a:t>
            </a:r>
          </a:p>
          <a:p>
            <a:pPr algn="ctr"/>
            <a:r>
              <a:rPr lang="en-US" sz="1020">
                <a:solidFill>
                  <a:schemeClr val="tx1"/>
                </a:solidFill>
                <a:latin typeface="Segoe UI" panose="020B0502040204020203" pitchFamily="34" charset="0"/>
                <a:cs typeface="Segoe UI" panose="020B0502040204020203" pitchFamily="34" charset="0"/>
              </a:rPr>
              <a:t>Segment</a:t>
            </a:r>
          </a:p>
        </p:txBody>
      </p:sp>
      <p:sp>
        <p:nvSpPr>
          <p:cNvPr id="27" name="Arrow: Right 26">
            <a:extLst>
              <a:ext uri="{FF2B5EF4-FFF2-40B4-BE49-F238E27FC236}">
                <a16:creationId xmlns:a16="http://schemas.microsoft.com/office/drawing/2014/main" id="{04E83303-F642-4226-96D8-7D15EE7B3440}"/>
              </a:ext>
            </a:extLst>
          </p:cNvPr>
          <p:cNvSpPr/>
          <p:nvPr/>
        </p:nvSpPr>
        <p:spPr>
          <a:xfrm>
            <a:off x="9376241" y="3373175"/>
            <a:ext cx="832448" cy="327622"/>
          </a:xfrm>
          <a:prstGeom prst="rightArrow">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836"/>
          </a:p>
        </p:txBody>
      </p:sp>
      <p:sp>
        <p:nvSpPr>
          <p:cNvPr id="28" name="Rectangle 27">
            <a:extLst>
              <a:ext uri="{FF2B5EF4-FFF2-40B4-BE49-F238E27FC236}">
                <a16:creationId xmlns:a16="http://schemas.microsoft.com/office/drawing/2014/main" id="{DABCF569-03BA-4F6A-BF90-D6BD9FF35D91}"/>
              </a:ext>
            </a:extLst>
          </p:cNvPr>
          <p:cNvSpPr/>
          <p:nvPr/>
        </p:nvSpPr>
        <p:spPr>
          <a:xfrm>
            <a:off x="7700836" y="2492920"/>
            <a:ext cx="905701" cy="60081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20">
                <a:latin typeface="Segoe UI" panose="020B0502040204020203" pitchFamily="34" charset="0"/>
                <a:cs typeface="Segoe UI" panose="020B0502040204020203" pitchFamily="34" charset="0"/>
              </a:rPr>
              <a:t>…</a:t>
            </a:r>
          </a:p>
        </p:txBody>
      </p:sp>
      <p:sp>
        <p:nvSpPr>
          <p:cNvPr id="29" name="TextBox 28">
            <a:extLst>
              <a:ext uri="{FF2B5EF4-FFF2-40B4-BE49-F238E27FC236}">
                <a16:creationId xmlns:a16="http://schemas.microsoft.com/office/drawing/2014/main" id="{3A1F6330-0962-4220-B2C9-255E8685ED55}"/>
              </a:ext>
            </a:extLst>
          </p:cNvPr>
          <p:cNvSpPr txBox="1"/>
          <p:nvPr/>
        </p:nvSpPr>
        <p:spPr>
          <a:xfrm>
            <a:off x="270141" y="1811060"/>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sp>
        <p:nvSpPr>
          <p:cNvPr id="30" name="TextBox 29">
            <a:extLst>
              <a:ext uri="{FF2B5EF4-FFF2-40B4-BE49-F238E27FC236}">
                <a16:creationId xmlns:a16="http://schemas.microsoft.com/office/drawing/2014/main" id="{A2E05464-53E9-4C84-89FF-740AC503D437}"/>
              </a:ext>
            </a:extLst>
          </p:cNvPr>
          <p:cNvSpPr txBox="1"/>
          <p:nvPr/>
        </p:nvSpPr>
        <p:spPr>
          <a:xfrm>
            <a:off x="2026972" y="2617778"/>
            <a:ext cx="1194141"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MEMORY</a:t>
            </a:r>
          </a:p>
        </p:txBody>
      </p:sp>
      <p:sp>
        <p:nvSpPr>
          <p:cNvPr id="31" name="TextBox 30">
            <a:extLst>
              <a:ext uri="{FF2B5EF4-FFF2-40B4-BE49-F238E27FC236}">
                <a16:creationId xmlns:a16="http://schemas.microsoft.com/office/drawing/2014/main" id="{25599D24-74EB-441F-89E4-6EFB9428C8BC}"/>
              </a:ext>
            </a:extLst>
          </p:cNvPr>
          <p:cNvSpPr txBox="1"/>
          <p:nvPr/>
        </p:nvSpPr>
        <p:spPr>
          <a:xfrm>
            <a:off x="5889658" y="3377344"/>
            <a:ext cx="636309" cy="382308"/>
          </a:xfrm>
          <a:prstGeom prst="rect">
            <a:avLst/>
          </a:prstGeom>
          <a:noFill/>
        </p:spPr>
        <p:txBody>
          <a:bodyPr wrap="none" rtlCol="0">
            <a:spAutoFit/>
          </a:bodyPr>
          <a:lstStyle/>
          <a:p>
            <a:r>
              <a:rPr lang="en-US" sz="1836">
                <a:latin typeface="Segoe UI" panose="020B0502040204020203" pitchFamily="34" charset="0"/>
                <a:cs typeface="Segoe UI" panose="020B0502040204020203" pitchFamily="34" charset="0"/>
              </a:rPr>
              <a:t>CPU</a:t>
            </a:r>
          </a:p>
        </p:txBody>
      </p:sp>
      <p:cxnSp>
        <p:nvCxnSpPr>
          <p:cNvPr id="33" name="Straight Connector 32">
            <a:extLst>
              <a:ext uri="{FF2B5EF4-FFF2-40B4-BE49-F238E27FC236}">
                <a16:creationId xmlns:a16="http://schemas.microsoft.com/office/drawing/2014/main" id="{BBC6091F-F2A5-4C25-A249-4ADA256F5FE3}"/>
              </a:ext>
            </a:extLst>
          </p:cNvPr>
          <p:cNvCxnSpPr>
            <a:cxnSpLocks/>
          </p:cNvCxnSpPr>
          <p:nvPr/>
        </p:nvCxnSpPr>
        <p:spPr>
          <a:xfrm>
            <a:off x="855768" y="3173812"/>
            <a:ext cx="8883645" cy="0"/>
          </a:xfrm>
          <a:prstGeom prst="line">
            <a:avLst/>
          </a:prstGeom>
        </p:spPr>
        <p:style>
          <a:lnRef idx="1">
            <a:schemeClr val="dk1"/>
          </a:lnRef>
          <a:fillRef idx="0">
            <a:schemeClr val="dk1"/>
          </a:fillRef>
          <a:effectRef idx="0">
            <a:schemeClr val="dk1"/>
          </a:effectRef>
          <a:fontRef idx="minor">
            <a:schemeClr val="tx1"/>
          </a:fontRef>
        </p:style>
      </p:cxnSp>
      <p:pic>
        <p:nvPicPr>
          <p:cNvPr id="8" name="Picture 7" descr="A picture containing drawing, light&#10;&#10;Description automatically generated">
            <a:extLst>
              <a:ext uri="{FF2B5EF4-FFF2-40B4-BE49-F238E27FC236}">
                <a16:creationId xmlns:a16="http://schemas.microsoft.com/office/drawing/2014/main" id="{85F4BFF3-1B69-4F76-A37B-8F13473AA9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09577" y="1606180"/>
            <a:ext cx="495790" cy="495790"/>
          </a:xfrm>
          <a:prstGeom prst="rect">
            <a:avLst/>
          </a:prstGeom>
        </p:spPr>
      </p:pic>
      <p:cxnSp>
        <p:nvCxnSpPr>
          <p:cNvPr id="25" name="Straight Connector 24">
            <a:extLst>
              <a:ext uri="{FF2B5EF4-FFF2-40B4-BE49-F238E27FC236}">
                <a16:creationId xmlns:a16="http://schemas.microsoft.com/office/drawing/2014/main" id="{1BFB196B-E0D6-457F-B501-BDB1D4F7F872}"/>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E429F37C-581F-48A0-843A-3DF36132C6A0}"/>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Processing</a:t>
            </a:r>
            <a:endParaRPr lang="en-US" sz="4080" spc="0">
              <a:solidFill>
                <a:srgbClr val="FFC000"/>
              </a:solidFill>
            </a:endParaRPr>
          </a:p>
        </p:txBody>
      </p:sp>
    </p:spTree>
    <p:extLst>
      <p:ext uri="{BB962C8B-B14F-4D97-AF65-F5344CB8AC3E}">
        <p14:creationId xmlns:p14="http://schemas.microsoft.com/office/powerpoint/2010/main" val="22705478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18F955-A657-41BA-ACD4-9BF462F38431}"/>
              </a:ext>
            </a:extLst>
          </p:cNvPr>
          <p:cNvSpPr>
            <a:spLocks noGrp="1"/>
          </p:cNvSpPr>
          <p:nvPr>
            <p:ph type="body" sz="quarter" idx="10"/>
          </p:nvPr>
        </p:nvSpPr>
        <p:spPr>
          <a:xfrm>
            <a:off x="599302" y="1562030"/>
            <a:ext cx="11237870" cy="4746492"/>
          </a:xfrm>
        </p:spPr>
        <p:txBody>
          <a:bodyPr vert="horz" wrap="square" lIns="0" tIns="0" rIns="0" bIns="0" rtlCol="0" anchor="t">
            <a:spAutoFit/>
          </a:bodyPr>
          <a:lstStyle/>
          <a:p>
            <a:pPr marL="0" indent="0">
              <a:buNone/>
            </a:pPr>
            <a:r>
              <a:rPr lang="en-US" sz="2850">
                <a:cs typeface="Segoe UI"/>
              </a:rPr>
              <a:t>Considerations</a:t>
            </a:r>
          </a:p>
          <a:p>
            <a:pPr marL="466043" lvl="1" indent="-233022"/>
            <a:r>
              <a:rPr lang="en-US" sz="2000"/>
              <a:t>How much source data, </a:t>
            </a:r>
            <a:r>
              <a:rPr lang="en-US" sz="2000" b="1">
                <a:gradFill>
                  <a:gsLst>
                    <a:gs pos="2917">
                      <a:srgbClr val="505050"/>
                    </a:gs>
                    <a:gs pos="30000">
                      <a:srgbClr val="505050"/>
                    </a:gs>
                  </a:gsLst>
                  <a:lin ang="5400000" scaled="0"/>
                </a:gradFill>
                <a:latin typeface="Segoe UI"/>
              </a:rPr>
              <a:t>necessary columns</a:t>
            </a:r>
            <a:r>
              <a:rPr lang="en-US" sz="2000"/>
              <a:t>, </a:t>
            </a:r>
            <a:r>
              <a:rPr lang="en-US" sz="2000" b="1">
                <a:gradFill>
                  <a:gsLst>
                    <a:gs pos="2917">
                      <a:srgbClr val="505050"/>
                    </a:gs>
                    <a:gs pos="30000">
                      <a:srgbClr val="505050"/>
                    </a:gs>
                  </a:gsLst>
                  <a:lin ang="5400000" scaled="0"/>
                </a:gradFill>
                <a:latin typeface="Segoe UI"/>
              </a:rPr>
              <a:t>necessary rows</a:t>
            </a:r>
            <a:r>
              <a:rPr lang="en-US" sz="2000"/>
              <a:t>, </a:t>
            </a:r>
            <a:r>
              <a:rPr lang="en-US" sz="2000" b="1">
                <a:gradFill>
                  <a:gsLst>
                    <a:gs pos="2917">
                      <a:srgbClr val="505050"/>
                    </a:gs>
                    <a:gs pos="30000">
                      <a:srgbClr val="505050"/>
                    </a:gs>
                  </a:gsLst>
                  <a:lin ang="5400000" scaled="0"/>
                </a:gradFill>
                <a:latin typeface="Segoe UI"/>
              </a:rPr>
              <a:t>overall column cardinality</a:t>
            </a:r>
            <a:r>
              <a:rPr lang="en-US" sz="2000"/>
              <a:t>? (Rule of thumb is 5x-10x compression rate)</a:t>
            </a:r>
            <a:endParaRPr lang="en-US" sz="2000">
              <a:cs typeface="Segoe UI"/>
            </a:endParaRPr>
          </a:p>
          <a:p>
            <a:pPr marL="466043" lvl="1" indent="-233022"/>
            <a:r>
              <a:rPr lang="en-US" sz="2000"/>
              <a:t>Overall </a:t>
            </a:r>
            <a:r>
              <a:rPr lang="en-US" sz="2000" b="1">
                <a:gradFill>
                  <a:gsLst>
                    <a:gs pos="2917">
                      <a:srgbClr val="505050"/>
                    </a:gs>
                    <a:gs pos="30000">
                      <a:srgbClr val="505050"/>
                    </a:gs>
                  </a:gsLst>
                  <a:lin ang="5400000" scaled="0"/>
                </a:gradFill>
                <a:latin typeface="Segoe UI"/>
              </a:rPr>
              <a:t>data freshness</a:t>
            </a:r>
            <a:r>
              <a:rPr lang="en-US" sz="2000" b="1"/>
              <a:t> </a:t>
            </a:r>
            <a:r>
              <a:rPr lang="en-US" sz="2000"/>
              <a:t>in combination with the source system? (Refresh requirements)</a:t>
            </a:r>
            <a:endParaRPr lang="en-US" sz="2000">
              <a:cs typeface="Segoe UI"/>
            </a:endParaRPr>
          </a:p>
          <a:p>
            <a:pPr marL="466043" lvl="1" indent="-233022"/>
            <a:r>
              <a:rPr lang="en-US" sz="2000"/>
              <a:t>For </a:t>
            </a:r>
            <a:r>
              <a:rPr lang="en-US" sz="2000" b="1">
                <a:gradFill>
                  <a:gsLst>
                    <a:gs pos="2917">
                      <a:srgbClr val="505050"/>
                    </a:gs>
                    <a:gs pos="30000">
                      <a:srgbClr val="505050"/>
                    </a:gs>
                  </a:gsLst>
                  <a:lin ang="5400000" scaled="0"/>
                </a:gradFill>
                <a:latin typeface="Segoe UI"/>
              </a:rPr>
              <a:t>big data</a:t>
            </a:r>
            <a:r>
              <a:rPr lang="en-US" sz="2000" b="1"/>
              <a:t> </a:t>
            </a:r>
            <a:r>
              <a:rPr lang="en-US" sz="2000"/>
              <a:t>will a mixed mode architecture suffice? (Composite models or Aggregation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DirectQuery</a:t>
            </a:r>
            <a:r>
              <a:rPr lang="en-US" sz="2000"/>
              <a:t> development limitations? (Functions and/or features)</a:t>
            </a:r>
            <a:endParaRPr lang="en-US" sz="2000">
              <a:cs typeface="Segoe UI"/>
            </a:endParaRPr>
          </a:p>
          <a:p>
            <a:pPr marL="233022" lvl="1" indent="0">
              <a:buNone/>
            </a:pPr>
            <a:endParaRPr lang="en-US" sz="2040">
              <a:cs typeface="Segoe UI"/>
            </a:endParaRPr>
          </a:p>
          <a:p>
            <a:pPr marL="0" lvl="1" indent="0">
              <a:buNone/>
            </a:pPr>
            <a:r>
              <a:rPr lang="en-US" sz="2850">
                <a:cs typeface="Segoe UI"/>
              </a:rPr>
              <a:t>Premium Considerations</a:t>
            </a:r>
          </a:p>
          <a:p>
            <a:pPr marL="466043" lvl="1" indent="-233022"/>
            <a:r>
              <a:rPr lang="en-US" sz="2000"/>
              <a:t>Will my dataset </a:t>
            </a:r>
            <a:r>
              <a:rPr lang="en-US" sz="2000" b="1">
                <a:gradFill>
                  <a:gsLst>
                    <a:gs pos="2917">
                      <a:srgbClr val="505050"/>
                    </a:gs>
                    <a:gs pos="30000">
                      <a:srgbClr val="505050"/>
                    </a:gs>
                  </a:gsLst>
                  <a:lin ang="5400000" scaled="0"/>
                </a:gradFill>
                <a:latin typeface="Segoe UI"/>
              </a:rPr>
              <a:t>exceed</a:t>
            </a:r>
            <a:r>
              <a:rPr lang="en-US" sz="2000"/>
              <a:t> 1GB of compressed memory? (Premium, Large datasets)</a:t>
            </a:r>
            <a:endParaRPr lang="en-US" sz="2000">
              <a:cs typeface="Segoe UI"/>
            </a:endParaRPr>
          </a:p>
          <a:p>
            <a:pPr marL="466043" lvl="1" indent="-233022"/>
            <a:r>
              <a:rPr lang="en-US" sz="2000" b="1">
                <a:gradFill>
                  <a:gsLst>
                    <a:gs pos="2917">
                      <a:srgbClr val="505050"/>
                    </a:gs>
                    <a:gs pos="30000">
                      <a:srgbClr val="505050"/>
                    </a:gs>
                  </a:gsLst>
                  <a:lin ang="5400000" scaled="0"/>
                </a:gradFill>
                <a:latin typeface="Segoe UI"/>
              </a:rPr>
              <a:t>Near real-time</a:t>
            </a:r>
            <a:r>
              <a:rPr lang="en-US" sz="2000"/>
              <a:t> requirement? (Automatic page refresh, increased refresh rates)</a:t>
            </a:r>
            <a:endParaRPr lang="en-US" sz="2000">
              <a:cs typeface="Segoe UI"/>
            </a:endParaRPr>
          </a:p>
          <a:p>
            <a:pPr marL="466043" lvl="1" indent="-233022"/>
            <a:r>
              <a:rPr lang="en-US" sz="2000"/>
              <a:t>Are there </a:t>
            </a:r>
            <a:r>
              <a:rPr lang="en-US" sz="2000" b="1">
                <a:gradFill>
                  <a:gsLst>
                    <a:gs pos="2917">
                      <a:srgbClr val="505050"/>
                    </a:gs>
                    <a:gs pos="30000">
                      <a:srgbClr val="505050"/>
                    </a:gs>
                  </a:gsLst>
                  <a:lin ang="5400000" scaled="0"/>
                </a:gradFill>
                <a:latin typeface="Segoe UI"/>
              </a:rPr>
              <a:t>regulatory</a:t>
            </a:r>
            <a:r>
              <a:rPr lang="en-US" sz="2000"/>
              <a:t> and/or </a:t>
            </a:r>
            <a:r>
              <a:rPr lang="en-US" sz="2000" b="1">
                <a:gradFill>
                  <a:gsLst>
                    <a:gs pos="2917">
                      <a:srgbClr val="505050"/>
                    </a:gs>
                    <a:gs pos="30000">
                      <a:srgbClr val="505050"/>
                    </a:gs>
                  </a:gsLst>
                  <a:lin ang="5400000" scaled="0"/>
                </a:gradFill>
                <a:latin typeface="Segoe UI"/>
              </a:rPr>
              <a:t>data sovereignty</a:t>
            </a:r>
            <a:r>
              <a:rPr lang="en-US" sz="2000"/>
              <a:t> requirements? (Multi geo)</a:t>
            </a:r>
            <a:endParaRPr lang="en-US" sz="2000">
              <a:cs typeface="Segoe UI"/>
            </a:endParaRPr>
          </a:p>
          <a:p>
            <a:pPr marL="466043" lvl="1" indent="-233022"/>
            <a:endParaRPr lang="en-US" sz="2040">
              <a:cs typeface="Segoe UI"/>
            </a:endParaRPr>
          </a:p>
        </p:txBody>
      </p:sp>
      <p:cxnSp>
        <p:nvCxnSpPr>
          <p:cNvPr id="5" name="Straight Connector 4">
            <a:extLst>
              <a:ext uri="{FF2B5EF4-FFF2-40B4-BE49-F238E27FC236}">
                <a16:creationId xmlns:a16="http://schemas.microsoft.com/office/drawing/2014/main" id="{4B0A5943-2108-430C-8542-CA375526DF9B}"/>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DFE4EA-E91F-4445-ACE9-8791A6332F18}"/>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Efficient Resource Usage</a:t>
            </a:r>
          </a:p>
        </p:txBody>
      </p:sp>
    </p:spTree>
    <p:extLst>
      <p:ext uri="{BB962C8B-B14F-4D97-AF65-F5344CB8AC3E}">
        <p14:creationId xmlns:p14="http://schemas.microsoft.com/office/powerpoint/2010/main" val="3689050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F5A4E61-0CCC-FA46-8F24-79E885FC6C55}"/>
              </a:ext>
              <a:ext uri="{C183D7F6-B498-43B3-948B-1728B52AA6E4}">
                <adec:decorative xmlns:adec="http://schemas.microsoft.com/office/drawing/2017/decorative" val="1"/>
              </a:ext>
            </a:extLst>
          </p:cNvPr>
          <p:cNvGrpSpPr/>
          <p:nvPr/>
        </p:nvGrpSpPr>
        <p:grpSpPr>
          <a:xfrm>
            <a:off x="4287604" y="944"/>
            <a:ext cx="8145276" cy="6991648"/>
            <a:chOff x="4246229" y="7238718"/>
            <a:chExt cx="7988442" cy="6857027"/>
          </a:xfrm>
        </p:grpSpPr>
        <p:sp>
          <p:nvSpPr>
            <p:cNvPr id="20" name="Rectangle 19">
              <a:extLst>
                <a:ext uri="{FF2B5EF4-FFF2-40B4-BE49-F238E27FC236}">
                  <a16:creationId xmlns:a16="http://schemas.microsoft.com/office/drawing/2014/main" id="{82B8C435-F13A-F24C-A7FD-B9A1EDC8899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pattFill prst="lgGrid">
              <a:fgClr>
                <a:schemeClr val="tx1"/>
              </a:fgClr>
              <a:bgClr>
                <a:schemeClr val="bg1"/>
              </a:bgClr>
            </a:patt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sp>
          <p:nvSpPr>
            <p:cNvPr id="21" name="Rectangle 20">
              <a:extLst>
                <a:ext uri="{FF2B5EF4-FFF2-40B4-BE49-F238E27FC236}">
                  <a16:creationId xmlns:a16="http://schemas.microsoft.com/office/drawing/2014/main" id="{5E042A88-75F2-CA4C-9ADA-8559C83D70E7}"/>
                </a:ext>
                <a:ext uri="{C183D7F6-B498-43B3-948B-1728B52AA6E4}">
                  <adec:decorative xmlns:adec="http://schemas.microsoft.com/office/drawing/2017/decorative" val="1"/>
                </a:ext>
              </a:extLst>
            </p:cNvPr>
            <p:cNvSpPr/>
            <p:nvPr/>
          </p:nvSpPr>
          <p:spPr bwMode="auto">
            <a:xfrm>
              <a:off x="4246229" y="7238718"/>
              <a:ext cx="7988442" cy="6857027"/>
            </a:xfrm>
            <a:prstGeom prst="rect">
              <a:avLst/>
            </a:prstGeom>
            <a:gradFill flip="none" rotWithShape="1">
              <a:gsLst>
                <a:gs pos="0">
                  <a:schemeClr val="bg1">
                    <a:alpha val="78000"/>
                  </a:schemeClr>
                </a:gs>
                <a:gs pos="100000">
                  <a:schemeClr val="bg1"/>
                </a:gs>
              </a:gsLst>
              <a:lin ang="10800000" scaled="1"/>
              <a:tileRect/>
            </a:gradFill>
            <a:ln w="53975" cap="sq">
              <a:noFill/>
              <a:prstDash val="solid"/>
              <a:miter lim="800000"/>
              <a:headEnd/>
              <a:tailEnd/>
            </a:ln>
          </p:spPr>
          <p:txBody>
            <a:bodyPr vert="horz" wrap="square" lIns="93222" tIns="46610" rIns="93222" bIns="46610" numCol="1" rtlCol="0" anchor="t" anchorCtr="0" compatLnSpc="1">
              <a:prstTxWarp prst="textNoShape">
                <a:avLst/>
              </a:prstTxWarp>
            </a:bodyPr>
            <a:lstStyle/>
            <a:p>
              <a:pPr defTabSz="932146">
                <a:defRPr/>
              </a:pPr>
              <a:endParaRPr lang="en-US" sz="1836">
                <a:gradFill>
                  <a:gsLst>
                    <a:gs pos="0">
                      <a:srgbClr val="505050"/>
                    </a:gs>
                    <a:gs pos="100000">
                      <a:srgbClr val="505050"/>
                    </a:gs>
                  </a:gsLst>
                </a:gradFill>
                <a:latin typeface="Segoe UI"/>
              </a:endParaRPr>
            </a:p>
          </p:txBody>
        </p:sp>
      </p:grpSp>
      <p:graphicFrame>
        <p:nvGraphicFramePr>
          <p:cNvPr id="12" name="Chart 11">
            <a:extLst>
              <a:ext uri="{FF2B5EF4-FFF2-40B4-BE49-F238E27FC236}">
                <a16:creationId xmlns:a16="http://schemas.microsoft.com/office/drawing/2014/main" id="{30A8C13F-58D0-8941-953A-717821D33361}"/>
              </a:ext>
            </a:extLst>
          </p:cNvPr>
          <p:cNvGraphicFramePr/>
          <p:nvPr>
            <p:extLst>
              <p:ext uri="{D42A27DB-BD31-4B8C-83A1-F6EECF244321}">
                <p14:modId xmlns:p14="http://schemas.microsoft.com/office/powerpoint/2010/main" val="3756874060"/>
              </p:ext>
            </p:extLst>
          </p:nvPr>
        </p:nvGraphicFramePr>
        <p:xfrm>
          <a:off x="5043463" y="-737201"/>
          <a:ext cx="7615656" cy="774168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C526C0C-3F09-4340-888C-D1FE2866EF06}"/>
              </a:ext>
            </a:extLst>
          </p:cNvPr>
          <p:cNvSpPr>
            <a:spLocks noGrp="1"/>
          </p:cNvSpPr>
          <p:nvPr>
            <p:ph type="title" idx="4294967295"/>
          </p:nvPr>
        </p:nvSpPr>
        <p:spPr>
          <a:xfrm>
            <a:off x="922608" y="865063"/>
            <a:ext cx="7035003" cy="1130134"/>
          </a:xfrm>
        </p:spPr>
        <p:txBody>
          <a:bodyPr/>
          <a:lstStyle/>
          <a:p>
            <a:r>
              <a:rPr lang="en-US"/>
              <a:t>Power BI </a:t>
            </a:r>
            <a:br>
              <a:rPr lang="en-US"/>
            </a:br>
            <a:r>
              <a:rPr lang="en-US"/>
              <a:t>monthly active usage</a:t>
            </a:r>
          </a:p>
        </p:txBody>
      </p:sp>
      <p:sp>
        <p:nvSpPr>
          <p:cNvPr id="27" name="TextBox 26">
            <a:extLst>
              <a:ext uri="{FF2B5EF4-FFF2-40B4-BE49-F238E27FC236}">
                <a16:creationId xmlns:a16="http://schemas.microsoft.com/office/drawing/2014/main" id="{8E8EFAEB-585A-2341-A23E-D09178128FAC}"/>
              </a:ext>
            </a:extLst>
          </p:cNvPr>
          <p:cNvSpPr txBox="1"/>
          <p:nvPr/>
        </p:nvSpPr>
        <p:spPr>
          <a:xfrm>
            <a:off x="893640" y="4469900"/>
            <a:ext cx="3261131" cy="1408774"/>
          </a:xfrm>
          <a:prstGeom prst="rect">
            <a:avLst/>
          </a:prstGeom>
          <a:noFill/>
        </p:spPr>
        <p:txBody>
          <a:bodyPr wrap="none" lIns="0" tIns="0" rIns="0" bIns="0" rtlCol="0">
            <a:spAutoFit/>
          </a:bodyPr>
          <a:lstStyle/>
          <a:p>
            <a:pPr defTabSz="932146">
              <a:defRPr/>
            </a:pPr>
            <a:r>
              <a:rPr lang="en-US" sz="4896" spc="-50">
                <a:ln w="3175">
                  <a:noFill/>
                </a:ln>
                <a:solidFill>
                  <a:srgbClr val="F2C811"/>
                </a:solidFill>
                <a:latin typeface="Segoe UI Semibold"/>
                <a:cs typeface="Segoe UI" pitchFamily="34" charset="0"/>
              </a:rPr>
              <a:t>300k+</a:t>
            </a:r>
            <a:br>
              <a:rPr lang="en-US" sz="5506" spc="-5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a:solidFill>
                  <a:srgbClr val="000000"/>
                </a:solidFill>
                <a:latin typeface="Segoe UI"/>
              </a:rPr>
              <a:t>Organizations</a:t>
            </a:r>
          </a:p>
        </p:txBody>
      </p:sp>
      <p:sp>
        <p:nvSpPr>
          <p:cNvPr id="3" name="Freeform 2" descr="Upward pointing arrow">
            <a:extLst>
              <a:ext uri="{FF2B5EF4-FFF2-40B4-BE49-F238E27FC236}">
                <a16:creationId xmlns:a16="http://schemas.microsoft.com/office/drawing/2014/main" id="{76B2A0B7-509C-3B47-836F-A4B72E7EF7A7}"/>
              </a:ext>
            </a:extLst>
          </p:cNvPr>
          <p:cNvSpPr/>
          <p:nvPr/>
        </p:nvSpPr>
        <p:spPr bwMode="auto">
          <a:xfrm>
            <a:off x="5839842" y="470742"/>
            <a:ext cx="5674024" cy="5656703"/>
          </a:xfrm>
          <a:custGeom>
            <a:avLst/>
            <a:gdLst>
              <a:gd name="connsiteX0" fmla="*/ 0 w 5706836"/>
              <a:gd name="connsiteY0" fmla="*/ 4049486 h 4049486"/>
              <a:gd name="connsiteX1" fmla="*/ 3567793 w 5706836"/>
              <a:gd name="connsiteY1" fmla="*/ 2898321 h 4049486"/>
              <a:gd name="connsiteX2" fmla="*/ 5706836 w 5706836"/>
              <a:gd name="connsiteY2" fmla="*/ 0 h 4049486"/>
              <a:gd name="connsiteX0" fmla="*/ 0 w 5706836"/>
              <a:gd name="connsiteY0" fmla="*/ 4049486 h 4049486"/>
              <a:gd name="connsiteX1" fmla="*/ 3579277 w 5706836"/>
              <a:gd name="connsiteY1" fmla="*/ 2814046 h 4049486"/>
              <a:gd name="connsiteX2" fmla="*/ 5706836 w 5706836"/>
              <a:gd name="connsiteY2" fmla="*/ 0 h 4049486"/>
              <a:gd name="connsiteX0" fmla="*/ 0 w 5649414"/>
              <a:gd name="connsiteY0" fmla="*/ 4165365 h 4165365"/>
              <a:gd name="connsiteX1" fmla="*/ 3521855 w 5649414"/>
              <a:gd name="connsiteY1" fmla="*/ 2814046 h 4165365"/>
              <a:gd name="connsiteX2" fmla="*/ 5649414 w 5649414"/>
              <a:gd name="connsiteY2" fmla="*/ 0 h 4165365"/>
              <a:gd name="connsiteX0" fmla="*/ 0 w 5649414"/>
              <a:gd name="connsiteY0" fmla="*/ 4165365 h 4165365"/>
              <a:gd name="connsiteX1" fmla="*/ 3371542 w 5649414"/>
              <a:gd name="connsiteY1" fmla="*/ 2701102 h 4165365"/>
              <a:gd name="connsiteX2" fmla="*/ 5649414 w 5649414"/>
              <a:gd name="connsiteY2" fmla="*/ 0 h 4165365"/>
              <a:gd name="connsiteX0" fmla="*/ 0 w 5758732"/>
              <a:gd name="connsiteY0" fmla="*/ 4086305 h 4086305"/>
              <a:gd name="connsiteX1" fmla="*/ 3480860 w 5758732"/>
              <a:gd name="connsiteY1" fmla="*/ 2701102 h 4086305"/>
              <a:gd name="connsiteX2" fmla="*/ 5758732 w 5758732"/>
              <a:gd name="connsiteY2" fmla="*/ 0 h 4086305"/>
              <a:gd name="connsiteX0" fmla="*/ 0 w 5758732"/>
              <a:gd name="connsiteY0" fmla="*/ 4086305 h 4086305"/>
              <a:gd name="connsiteX1" fmla="*/ 3480860 w 5758732"/>
              <a:gd name="connsiteY1" fmla="*/ 2723690 h 4086305"/>
              <a:gd name="connsiteX2" fmla="*/ 5758732 w 5758732"/>
              <a:gd name="connsiteY2" fmla="*/ 0 h 408630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4007245 h 4007245"/>
              <a:gd name="connsiteX1" fmla="*/ 3480860 w 5950038"/>
              <a:gd name="connsiteY1" fmla="*/ 2644630 h 4007245"/>
              <a:gd name="connsiteX2" fmla="*/ 5950038 w 5950038"/>
              <a:gd name="connsiteY2" fmla="*/ 0 h 4007245"/>
              <a:gd name="connsiteX0" fmla="*/ 0 w 5950038"/>
              <a:gd name="connsiteY0" fmla="*/ 3984656 h 3984656"/>
              <a:gd name="connsiteX1" fmla="*/ 3480860 w 5950038"/>
              <a:gd name="connsiteY1" fmla="*/ 2622041 h 3984656"/>
              <a:gd name="connsiteX2" fmla="*/ 5950038 w 5950038"/>
              <a:gd name="connsiteY2" fmla="*/ 0 h 3984656"/>
              <a:gd name="connsiteX0" fmla="*/ 0 w 5950038"/>
              <a:gd name="connsiteY0" fmla="*/ 3984656 h 3984656"/>
              <a:gd name="connsiteX1" fmla="*/ 3412537 w 5950038"/>
              <a:gd name="connsiteY1" fmla="*/ 2667218 h 3984656"/>
              <a:gd name="connsiteX2" fmla="*/ 5950038 w 5950038"/>
              <a:gd name="connsiteY2" fmla="*/ 0 h 3984656"/>
              <a:gd name="connsiteX0" fmla="*/ 0 w 6018362"/>
              <a:gd name="connsiteY0" fmla="*/ 3962067 h 3962067"/>
              <a:gd name="connsiteX1" fmla="*/ 3480861 w 6018362"/>
              <a:gd name="connsiteY1" fmla="*/ 2667218 h 3962067"/>
              <a:gd name="connsiteX2" fmla="*/ 6018362 w 6018362"/>
              <a:gd name="connsiteY2" fmla="*/ 0 h 3962067"/>
              <a:gd name="connsiteX0" fmla="*/ 0 w 6086685"/>
              <a:gd name="connsiteY0" fmla="*/ 3928184 h 3928184"/>
              <a:gd name="connsiteX1" fmla="*/ 3549184 w 6086685"/>
              <a:gd name="connsiteY1" fmla="*/ 2667218 h 3928184"/>
              <a:gd name="connsiteX2" fmla="*/ 6086685 w 6086685"/>
              <a:gd name="connsiteY2" fmla="*/ 0 h 3928184"/>
            </a:gdLst>
            <a:ahLst/>
            <a:cxnLst>
              <a:cxn ang="0">
                <a:pos x="connsiteX0" y="connsiteY0"/>
              </a:cxn>
              <a:cxn ang="0">
                <a:pos x="connsiteX1" y="connsiteY1"/>
              </a:cxn>
              <a:cxn ang="0">
                <a:pos x="connsiteX2" y="connsiteY2"/>
              </a:cxn>
            </a:cxnLst>
            <a:rect l="l" t="t" r="r" b="b"/>
            <a:pathLst>
              <a:path w="6086685" h="3928184">
                <a:moveTo>
                  <a:pt x="0" y="3928184"/>
                </a:moveTo>
                <a:cubicBezTo>
                  <a:pt x="1308327" y="3690058"/>
                  <a:pt x="2598045" y="3342132"/>
                  <a:pt x="3549184" y="2667218"/>
                </a:cubicBezTo>
                <a:cubicBezTo>
                  <a:pt x="4500323" y="1992304"/>
                  <a:pt x="5260432" y="1179468"/>
                  <a:pt x="6086685" y="0"/>
                </a:cubicBezTo>
              </a:path>
            </a:pathLst>
          </a:custGeom>
          <a:noFill/>
          <a:ln w="123825">
            <a:solidFill>
              <a:srgbClr val="FFC000"/>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291">
              <a:defRPr/>
            </a:pPr>
            <a:endParaRPr lang="en-US">
              <a:solidFill>
                <a:srgbClr val="FFFFFF"/>
              </a:solidFill>
              <a:latin typeface="Segoe UI"/>
            </a:endParaRPr>
          </a:p>
        </p:txBody>
      </p:sp>
      <p:sp>
        <p:nvSpPr>
          <p:cNvPr id="4" name="TextBox 3">
            <a:extLst>
              <a:ext uri="{FF2B5EF4-FFF2-40B4-BE49-F238E27FC236}">
                <a16:creationId xmlns:a16="http://schemas.microsoft.com/office/drawing/2014/main" id="{2BA66311-60F0-7F41-AFFC-679A90C63D53}"/>
              </a:ext>
            </a:extLst>
          </p:cNvPr>
          <p:cNvSpPr txBox="1"/>
          <p:nvPr/>
        </p:nvSpPr>
        <p:spPr>
          <a:xfrm>
            <a:off x="922607" y="2644084"/>
            <a:ext cx="4003918" cy="1408774"/>
          </a:xfrm>
          <a:prstGeom prst="rect">
            <a:avLst/>
          </a:prstGeom>
          <a:noFill/>
        </p:spPr>
        <p:txBody>
          <a:bodyPr wrap="square" lIns="0" tIns="0" rIns="0" bIns="0" rtlCol="0">
            <a:spAutoFit/>
          </a:bodyPr>
          <a:lstStyle/>
          <a:p>
            <a:pPr defTabSz="932504">
              <a:defRPr/>
            </a:pPr>
            <a:r>
              <a:rPr lang="en-US" sz="4896" spc="-50" dirty="0">
                <a:ln w="3175">
                  <a:noFill/>
                </a:ln>
                <a:solidFill>
                  <a:srgbClr val="F2C811"/>
                </a:solidFill>
                <a:latin typeface="Segoe UI Semibold"/>
                <a:cs typeface="Segoe UI" pitchFamily="34" charset="0"/>
              </a:rPr>
              <a:t>8 years </a:t>
            </a:r>
            <a:br>
              <a:rPr lang="en-US" sz="5506" spc="-50" dirty="0">
                <a:ln w="3175">
                  <a:noFill/>
                </a:ln>
                <a:gradFill flip="none" rotWithShape="1">
                  <a:gsLst>
                    <a:gs pos="0">
                      <a:srgbClr val="50E6FF"/>
                    </a:gs>
                    <a:gs pos="100000">
                      <a:srgbClr val="0078D4"/>
                    </a:gs>
                  </a:gsLst>
                  <a:lin ang="18900000" scaled="1"/>
                  <a:tileRect/>
                </a:gradFill>
                <a:latin typeface="Segoe UI Semibold"/>
                <a:cs typeface="Segoe UI" pitchFamily="34" charset="0"/>
              </a:rPr>
            </a:br>
            <a:r>
              <a:rPr lang="en-US" sz="4080" dirty="0">
                <a:solidFill>
                  <a:srgbClr val="000000"/>
                </a:solidFill>
                <a:latin typeface="Segoe UI"/>
              </a:rPr>
              <a:t>of rapid growth</a:t>
            </a:r>
          </a:p>
        </p:txBody>
      </p:sp>
    </p:spTree>
    <p:extLst>
      <p:ext uri="{BB962C8B-B14F-4D97-AF65-F5344CB8AC3E}">
        <p14:creationId xmlns:p14="http://schemas.microsoft.com/office/powerpoint/2010/main" val="4206370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10" presetClass="entr" presetSubtype="0" accel="50000" decel="5000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42" presetClass="path" presetSubtype="0" accel="50000" decel="50000" fill="hold" grpId="1" nodeType="withEffect">
                                  <p:stCondLst>
                                    <p:cond delay="0"/>
                                  </p:stCondLst>
                                  <p:childTnLst>
                                    <p:animMotion origin="layout" path="M 4.79167E-6 1.48148E-6 L -0.0129 0.03426 " pathEditMode="relative" rAng="0" ptsTypes="AA">
                                      <p:cBhvr>
                                        <p:cTn id="12" dur="1000" spd="-100000" fill="hold"/>
                                        <p:tgtEl>
                                          <p:spTgt spid="3"/>
                                        </p:tgtEl>
                                        <p:attrNameLst>
                                          <p:attrName>ppt_x</p:attrName>
                                          <p:attrName>ppt_y</p:attrName>
                                        </p:attrNameLst>
                                      </p:cBhvr>
                                      <p:rCtr x="-651" y="1713"/>
                                    </p:animMotion>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par>
                                <p:cTn id="16" presetID="42" presetClass="path" presetSubtype="0" decel="100000" fill="hold" grpId="1" nodeType="withEffect">
                                  <p:stCondLst>
                                    <p:cond delay="0"/>
                                  </p:stCondLst>
                                  <p:childTnLst>
                                    <p:animMotion origin="layout" path="M 3.95833E-6 -3.7037E-7 L 3.95833E-6 0.03773 " pathEditMode="relative" rAng="0" ptsTypes="AA">
                                      <p:cBhvr>
                                        <p:cTn id="17" dur="750" spd="-100000" fill="hold"/>
                                        <p:tgtEl>
                                          <p:spTgt spid="4"/>
                                        </p:tgtEl>
                                        <p:attrNameLst>
                                          <p:attrName>ppt_x</p:attrName>
                                          <p:attrName>ppt_y</p:attrName>
                                        </p:attrNameLst>
                                      </p:cBhvr>
                                      <p:rCtr x="0" y="1875"/>
                                    </p:animMotion>
                                  </p:childTnLst>
                                </p:cTn>
                              </p:par>
                              <p:par>
                                <p:cTn id="18" presetID="10" presetClass="entr" presetSubtype="0" fill="hold" grpId="0" nodeType="withEffect">
                                  <p:stCondLst>
                                    <p:cond delay="2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750"/>
                                        <p:tgtEl>
                                          <p:spTgt spid="27"/>
                                        </p:tgtEl>
                                      </p:cBhvr>
                                    </p:animEffect>
                                  </p:childTnLst>
                                </p:cTn>
                              </p:par>
                              <p:par>
                                <p:cTn id="21" presetID="42" presetClass="path" presetSubtype="0" decel="100000" fill="hold" grpId="1" nodeType="withEffect">
                                  <p:stCondLst>
                                    <p:cond delay="200"/>
                                  </p:stCondLst>
                                  <p:childTnLst>
                                    <p:animMotion origin="layout" path="M -6.25E-7 -1.48148E-6 L -6.25E-7 0.03773 " pathEditMode="relative" rAng="0" ptsTypes="AA">
                                      <p:cBhvr>
                                        <p:cTn id="22" dur="750" spd="-100000" fill="hold"/>
                                        <p:tgtEl>
                                          <p:spTgt spid="27"/>
                                        </p:tgtEl>
                                        <p:attrNameLst>
                                          <p:attrName>ppt_x</p:attrName>
                                          <p:attrName>ppt_y</p:attrName>
                                        </p:attrNameLst>
                                      </p:cBhvr>
                                      <p:rCtr x="0" y="1875"/>
                                    </p:animMotion>
                                  </p:childTnLst>
                                </p:cTn>
                              </p:par>
                              <p:par>
                                <p:cTn id="23" presetID="22" presetClass="entr" presetSubtype="4"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2" grpId="0"/>
      <p:bldP spid="27" grpId="0"/>
      <p:bldP spid="27" grpId="1"/>
      <p:bldP spid="3" grpId="0" animBg="1"/>
      <p:bldP spid="3" grpId="1" animBg="1"/>
      <p:bldP spid="4" grpId="0"/>
      <p:bldP spid="4" grpId="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6109" y="2404960"/>
            <a:ext cx="11237870" cy="2215991"/>
          </a:xfrm>
        </p:spPr>
        <p:txBody>
          <a:bodyPr/>
          <a:lstStyle/>
          <a:p>
            <a:r>
              <a:rPr lang="en-US" sz="3600">
                <a:ea typeface="Times New Roman" panose="02020603050405020304" pitchFamily="18" charset="0"/>
                <a:cs typeface="Segoe UI"/>
              </a:rPr>
              <a:t>Usability considerations:</a:t>
            </a:r>
            <a:br>
              <a:rPr lang="en-US" sz="3600">
                <a:ea typeface="Times New Roman" panose="02020603050405020304" pitchFamily="18" charset="0"/>
                <a:cs typeface="Segoe UI"/>
              </a:rPr>
            </a:br>
            <a:r>
              <a:rPr lang="en-US" sz="3600">
                <a:latin typeface="+mn-lt"/>
                <a:cs typeface="Segoe UI"/>
              </a:rPr>
              <a:t>Date tables</a:t>
            </a:r>
            <a:br>
              <a:rPr lang="en-US" sz="3600">
                <a:latin typeface="+mn-lt"/>
                <a:cs typeface="Segoe UI"/>
              </a:rPr>
            </a:br>
            <a:r>
              <a:rPr lang="en-US" sz="3600">
                <a:latin typeface="+mn-lt"/>
                <a:ea typeface="Times New Roman" panose="02020603050405020304" pitchFamily="18" charset="0"/>
                <a:cs typeface="Segoe UI"/>
              </a:rPr>
              <a:t>Extreme dates</a:t>
            </a:r>
            <a:br>
              <a:rPr lang="en-US" sz="3600">
                <a:latin typeface="+mn-lt"/>
                <a:ea typeface="Times New Roman" panose="02020603050405020304" pitchFamily="18" charset="0"/>
                <a:cs typeface="Segoe UI"/>
              </a:rPr>
            </a:br>
            <a:r>
              <a:rPr lang="en-US" sz="3600">
                <a:latin typeface="+mn-lt"/>
                <a:ea typeface="Times New Roman" panose="02020603050405020304" pitchFamily="18" charset="0"/>
                <a:cs typeface="Segoe UI"/>
              </a:rPr>
              <a:t>Measuring cardinality</a:t>
            </a:r>
            <a:endParaRPr lang="en-US" sz="3600">
              <a:cs typeface="Segoe UI"/>
            </a:endParaRPr>
          </a:p>
        </p:txBody>
      </p:sp>
    </p:spTree>
    <p:extLst>
      <p:ext uri="{BB962C8B-B14F-4D97-AF65-F5344CB8AC3E}">
        <p14:creationId xmlns:p14="http://schemas.microsoft.com/office/powerpoint/2010/main" val="82824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extLst>
              <p:ext uri="{D42A27DB-BD31-4B8C-83A1-F6EECF244321}">
                <p14:modId xmlns:p14="http://schemas.microsoft.com/office/powerpoint/2010/main" val="2437455905"/>
              </p:ext>
            </p:extLst>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err="1"/>
                        <a:t>OrderDate</a:t>
                      </a:r>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Ship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Receiv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Creat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r>
                        <a:rPr lang="en-US" sz="1900"/>
                        <a:t>ModifiedDate</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extLst>
              <p:ext uri="{D42A27DB-BD31-4B8C-83A1-F6EECF244321}">
                <p14:modId xmlns:p14="http://schemas.microsoft.com/office/powerpoint/2010/main" val="1380550427"/>
              </p:ext>
            </p:extLst>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fe934</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Auto Date Tim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extLst>
              <p:ext uri="{D42A27DB-BD31-4B8C-83A1-F6EECF244321}">
                <p14:modId xmlns:p14="http://schemas.microsoft.com/office/powerpoint/2010/main" val="1367558548"/>
              </p:ext>
            </p:extLst>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655bb</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extLst>
              <p:ext uri="{D42A27DB-BD31-4B8C-83A1-F6EECF244321}">
                <p14:modId xmlns:p14="http://schemas.microsoft.com/office/powerpoint/2010/main" val="3944267496"/>
              </p:ext>
            </p:extLst>
          </p:nvPr>
        </p:nvGraphicFramePr>
        <p:xfrm>
          <a:off x="5507695" y="5274988"/>
          <a:ext cx="1550004" cy="132709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56071">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9f303</a:t>
                      </a:r>
                    </a:p>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extLst>
              <p:ext uri="{D42A27DB-BD31-4B8C-83A1-F6EECF244321}">
                <p14:modId xmlns:p14="http://schemas.microsoft.com/office/powerpoint/2010/main" val="1875978134"/>
              </p:ext>
            </p:extLst>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lang="en-US" sz="1000"/>
                        <a:t>LocalDateTable_c432e</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extLst>
              <p:ext uri="{D42A27DB-BD31-4B8C-83A1-F6EECF244321}">
                <p14:modId xmlns:p14="http://schemas.microsoft.com/office/powerpoint/2010/main" val="3065266138"/>
              </p:ext>
            </p:extLst>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LocalDateTable_7bf72</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lnSpcReduction="10000"/>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Automatic hierarchy</a:t>
            </a:r>
          </a:p>
          <a:p>
            <a:pPr marL="699065" lvl="1" indent="-233022"/>
            <a:r>
              <a:rPr lang="en-US" sz="1800">
                <a:gradFill>
                  <a:gsLst>
                    <a:gs pos="2917">
                      <a:srgbClr val="505050"/>
                    </a:gs>
                    <a:gs pos="30000">
                      <a:srgbClr val="505050"/>
                    </a:gs>
                  </a:gsLst>
                  <a:lin ang="5400000" scaled="0"/>
                </a:gradFill>
                <a:latin typeface="Segoe UI"/>
                <a:cs typeface="Segoe UI"/>
              </a:rPr>
              <a:t>Drag and drop</a:t>
            </a:r>
          </a:p>
          <a:p>
            <a:pPr marL="699065" lvl="1" indent="-233022"/>
            <a:r>
              <a:rPr lang="en-US" sz="1800">
                <a:gradFill>
                  <a:gsLst>
                    <a:gs pos="2917">
                      <a:srgbClr val="505050"/>
                    </a:gs>
                    <a:gs pos="30000">
                      <a:srgbClr val="505050"/>
                    </a:gs>
                  </a:gsLst>
                  <a:lin ang="5400000" scaled="0"/>
                </a:gradFill>
                <a:latin typeface="Segoe UI"/>
                <a:cs typeface="Segoe UI"/>
              </a:rPr>
              <a:t>Quick measures</a:t>
            </a:r>
          </a:p>
          <a:p>
            <a:pPr marL="699065" lvl="1" indent="-233022"/>
            <a:r>
              <a:rPr lang="en-US" sz="1800">
                <a:gradFill>
                  <a:gsLst>
                    <a:gs pos="2917">
                      <a:srgbClr val="505050"/>
                    </a:gs>
                    <a:gs pos="30000">
                      <a:srgbClr val="505050"/>
                    </a:gs>
                  </a:gsLst>
                  <a:lin ang="5400000" scaled="0"/>
                </a:gradFill>
                <a:latin typeface="Segoe UI"/>
                <a:cs typeface="Segoe UI"/>
              </a:rPr>
              <a:t>Default setting is on</a:t>
            </a:r>
          </a:p>
          <a:p>
            <a:pPr marL="699065" lvl="1" indent="-233022"/>
            <a:endParaRPr lang="en-US" sz="1800">
              <a:gradFill>
                <a:gsLst>
                  <a:gs pos="2917">
                    <a:srgbClr val="505050"/>
                  </a:gs>
                  <a:gs pos="30000">
                    <a:srgbClr val="505050"/>
                  </a:gs>
                </a:gsLst>
                <a:lin ang="5400000" scaled="0"/>
              </a:gradFill>
              <a:latin typeface="Segoe UI"/>
              <a:cs typeface="Segoe UI"/>
            </a:endParaRPr>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No customization</a:t>
            </a:r>
          </a:p>
          <a:p>
            <a:pPr marL="699065" lvl="1" indent="-233022"/>
            <a:r>
              <a:rPr lang="en-US" sz="1800">
                <a:gradFill>
                  <a:gsLst>
                    <a:gs pos="2917">
                      <a:srgbClr val="505050"/>
                    </a:gs>
                    <a:gs pos="30000">
                      <a:srgbClr val="505050"/>
                    </a:gs>
                  </a:gsLst>
                  <a:lin ang="5400000" scaled="0"/>
                </a:gradFill>
                <a:latin typeface="Segoe UI"/>
                <a:cs typeface="Segoe UI"/>
              </a:rPr>
              <a:t>New table for every date/datetime valu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an increase the size of your model</a:t>
            </a:r>
          </a:p>
          <a:p>
            <a:pPr marL="699065" lvl="1" indent="-233022">
              <a:spcBef>
                <a:spcPts val="509"/>
              </a:spcBef>
            </a:pPr>
            <a:r>
              <a:rPr lang="en-US" sz="1800" u="sng">
                <a:gradFill>
                  <a:gsLst>
                    <a:gs pos="2917">
                      <a:srgbClr val="505050"/>
                    </a:gs>
                    <a:gs pos="30000">
                      <a:srgbClr val="505050"/>
                    </a:gs>
                  </a:gsLst>
                  <a:lin ang="5400000" scaled="0"/>
                </a:gradFill>
                <a:latin typeface="Segoe UI"/>
                <a:cs typeface="Segoe UI"/>
              </a:rPr>
              <a:t>Default setting is on</a:t>
            </a:r>
          </a:p>
        </p:txBody>
      </p:sp>
    </p:spTree>
    <p:extLst>
      <p:ext uri="{BB962C8B-B14F-4D97-AF65-F5344CB8AC3E}">
        <p14:creationId xmlns:p14="http://schemas.microsoft.com/office/powerpoint/2010/main" val="33768377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DE13ECA-AD23-4A63-BFA8-9511E1994C63}"/>
              </a:ext>
            </a:extLst>
          </p:cNvPr>
          <p:cNvGraphicFramePr>
            <a:graphicFrameLocks noGrp="1"/>
          </p:cNvGraphicFramePr>
          <p:nvPr/>
        </p:nvGraphicFramePr>
        <p:xfrm>
          <a:off x="7420738" y="3034396"/>
          <a:ext cx="2816879" cy="2940693"/>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r h="420099">
                <a:tc>
                  <a:txBody>
                    <a:bodyPr/>
                    <a:lstStyle/>
                    <a:p>
                      <a:r>
                        <a:rPr lang="en-US" sz="1900"/>
                        <a:t>FK</a:t>
                      </a:r>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60134010"/>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1617039"/>
                  </a:ext>
                </a:extLst>
              </a:tr>
              <a:tr h="420099">
                <a:tc>
                  <a:txBody>
                    <a:bodyPr/>
                    <a:lstStyle/>
                    <a:p>
                      <a:endParaRPr lang="en-US" sz="1900"/>
                    </a:p>
                  </a:txBody>
                  <a:tcPr marL="93248" marR="93248" marT="46624" marB="466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095080"/>
                  </a:ext>
                </a:extLst>
              </a:tr>
            </a:tbl>
          </a:graphicData>
        </a:graphic>
      </p:graphicFrame>
      <p:graphicFrame>
        <p:nvGraphicFramePr>
          <p:cNvPr id="6" name="Table 5">
            <a:extLst>
              <a:ext uri="{FF2B5EF4-FFF2-40B4-BE49-F238E27FC236}">
                <a16:creationId xmlns:a16="http://schemas.microsoft.com/office/drawing/2014/main" id="{2F54243B-7992-4DE3-ACEF-5EFB3AEC2F62}"/>
              </a:ext>
            </a:extLst>
          </p:cNvPr>
          <p:cNvGraphicFramePr>
            <a:graphicFrameLocks noGrp="1"/>
          </p:cNvGraphicFramePr>
          <p:nvPr/>
        </p:nvGraphicFramePr>
        <p:xfrm>
          <a:off x="5507695" y="2596841"/>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13" name="Straight Connector 12">
            <a:extLst>
              <a:ext uri="{FF2B5EF4-FFF2-40B4-BE49-F238E27FC236}">
                <a16:creationId xmlns:a16="http://schemas.microsoft.com/office/drawing/2014/main" id="{6F69918F-1A44-4C14-A1CA-0119FAD4665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6A6193E-2B4C-463B-85D2-5F86D7866537}"/>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Importance of the Date table</a:t>
            </a:r>
            <a:endParaRPr lang="en-US" sz="4080" spc="0">
              <a:solidFill>
                <a:srgbClr val="FFC000"/>
              </a:solidFill>
            </a:endParaRPr>
          </a:p>
        </p:txBody>
      </p:sp>
      <p:graphicFrame>
        <p:nvGraphicFramePr>
          <p:cNvPr id="2" name="Table 1">
            <a:extLst>
              <a:ext uri="{FF2B5EF4-FFF2-40B4-BE49-F238E27FC236}">
                <a16:creationId xmlns:a16="http://schemas.microsoft.com/office/drawing/2014/main" id="{5D90D678-7E03-44D7-95AA-40A11C8DAECC}"/>
              </a:ext>
            </a:extLst>
          </p:cNvPr>
          <p:cNvGraphicFramePr>
            <a:graphicFrameLocks noGrp="1"/>
          </p:cNvGraphicFramePr>
          <p:nvPr/>
        </p:nvGraphicFramePr>
        <p:xfrm>
          <a:off x="10600817" y="2607305"/>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22" name="Table 21">
            <a:extLst>
              <a:ext uri="{FF2B5EF4-FFF2-40B4-BE49-F238E27FC236}">
                <a16:creationId xmlns:a16="http://schemas.microsoft.com/office/drawing/2014/main" id="{152D3B9F-44F7-408F-89F5-BB2374CA0488}"/>
              </a:ext>
            </a:extLst>
          </p:cNvPr>
          <p:cNvGraphicFramePr>
            <a:graphicFrameLocks noGrp="1"/>
          </p:cNvGraphicFramePr>
          <p:nvPr/>
        </p:nvGraphicFramePr>
        <p:xfrm>
          <a:off x="5507695"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3" name="Table 2">
            <a:extLst>
              <a:ext uri="{FF2B5EF4-FFF2-40B4-BE49-F238E27FC236}">
                <a16:creationId xmlns:a16="http://schemas.microsoft.com/office/drawing/2014/main" id="{BFD51F09-F534-44D9-A463-386A030C81F2}"/>
              </a:ext>
            </a:extLst>
          </p:cNvPr>
          <p:cNvGraphicFramePr>
            <a:graphicFrameLocks noGrp="1"/>
          </p:cNvGraphicFramePr>
          <p:nvPr/>
        </p:nvGraphicFramePr>
        <p:xfrm>
          <a:off x="10611132" y="5274988"/>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graphicFrame>
        <p:nvGraphicFramePr>
          <p:cNvPr id="14" name="Table 13">
            <a:extLst>
              <a:ext uri="{FF2B5EF4-FFF2-40B4-BE49-F238E27FC236}">
                <a16:creationId xmlns:a16="http://schemas.microsoft.com/office/drawing/2014/main" id="{80D24E41-6274-4E10-9874-557FA4AC1449}"/>
              </a:ext>
            </a:extLst>
          </p:cNvPr>
          <p:cNvGraphicFramePr>
            <a:graphicFrameLocks noGrp="1"/>
          </p:cNvGraphicFramePr>
          <p:nvPr/>
        </p:nvGraphicFramePr>
        <p:xfrm>
          <a:off x="8054256" y="1378237"/>
          <a:ext cx="1550004" cy="1294640"/>
        </p:xfrm>
        <a:graphic>
          <a:graphicData uri="http://schemas.openxmlformats.org/drawingml/2006/table">
            <a:tbl>
              <a:tblPr firstRow="1" bandRow="1">
                <a:tableStyleId>{9D7B26C5-4107-4FEC-AEDC-1716B250A1EF}</a:tableStyleId>
              </a:tblPr>
              <a:tblGrid>
                <a:gridCol w="1550004">
                  <a:extLst>
                    <a:ext uri="{9D8B030D-6E8A-4147-A177-3AD203B41FA5}">
                      <a16:colId xmlns:a16="http://schemas.microsoft.com/office/drawing/2014/main" val="3489525494"/>
                    </a:ext>
                  </a:extLst>
                </a:gridCol>
              </a:tblGrid>
              <a:tr h="323660">
                <a:tc>
                  <a:txBody>
                    <a:bodyPr/>
                    <a:lstStyle/>
                    <a:p>
                      <a:r>
                        <a:rPr lang="en-US" sz="1000"/>
                        <a:t>Calendar</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859540821"/>
                  </a:ext>
                </a:extLst>
              </a:tr>
              <a:tr h="323660">
                <a:tc>
                  <a:txBody>
                    <a:bodyPr/>
                    <a:lstStyle/>
                    <a:p>
                      <a:r>
                        <a:rPr lang="en-US" sz="1000"/>
                        <a:t>PK</a:t>
                      </a:r>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8234671"/>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27680714"/>
                  </a:ext>
                </a:extLst>
              </a:tr>
              <a:tr h="323660">
                <a:tc>
                  <a:txBody>
                    <a:bodyPr/>
                    <a:lstStyle/>
                    <a:p>
                      <a:endParaRPr lang="en-US" sz="1000"/>
                    </a:p>
                  </a:txBody>
                  <a:tcPr marL="51310" marR="51310" marT="25655" marB="256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4967406"/>
                  </a:ext>
                </a:extLst>
              </a:tr>
            </a:tbl>
          </a:graphicData>
        </a:graphic>
      </p:graphicFrame>
      <p:cxnSp>
        <p:nvCxnSpPr>
          <p:cNvPr id="20" name="Connector: Elbow 19">
            <a:extLst>
              <a:ext uri="{FF2B5EF4-FFF2-40B4-BE49-F238E27FC236}">
                <a16:creationId xmlns:a16="http://schemas.microsoft.com/office/drawing/2014/main" id="{204E22D4-97A9-4795-B785-726459603BB5}"/>
              </a:ext>
            </a:extLst>
          </p:cNvPr>
          <p:cNvCxnSpPr>
            <a:cxnSpLocks/>
            <a:stCxn id="6" idx="3"/>
            <a:endCxn id="5" idx="1"/>
          </p:cNvCxnSpPr>
          <p:nvPr/>
        </p:nvCxnSpPr>
        <p:spPr>
          <a:xfrm>
            <a:off x="7057699" y="3244161"/>
            <a:ext cx="363039" cy="1260581"/>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4" name="Connector: Elbow 43">
            <a:extLst>
              <a:ext uri="{FF2B5EF4-FFF2-40B4-BE49-F238E27FC236}">
                <a16:creationId xmlns:a16="http://schemas.microsoft.com/office/drawing/2014/main" id="{BE37D0A2-2779-4784-84C6-308FCDA926E0}"/>
              </a:ext>
            </a:extLst>
          </p:cNvPr>
          <p:cNvCxnSpPr>
            <a:cxnSpLocks/>
          </p:cNvCxnSpPr>
          <p:nvPr/>
        </p:nvCxnSpPr>
        <p:spPr>
          <a:xfrm flipV="1">
            <a:off x="7057896"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id="{FDCE4F95-58FF-45BC-A49B-797339A30692}"/>
              </a:ext>
            </a:extLst>
          </p:cNvPr>
          <p:cNvCxnSpPr>
            <a:cxnSpLocks/>
          </p:cNvCxnSpPr>
          <p:nvPr/>
        </p:nvCxnSpPr>
        <p:spPr>
          <a:xfrm flipH="1" flipV="1">
            <a:off x="10257154" y="481970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48" name="Connector: Elbow 47">
            <a:extLst>
              <a:ext uri="{FF2B5EF4-FFF2-40B4-BE49-F238E27FC236}">
                <a16:creationId xmlns:a16="http://schemas.microsoft.com/office/drawing/2014/main" id="{887827DB-F022-423D-BE03-BBB2F7C6266C}"/>
              </a:ext>
            </a:extLst>
          </p:cNvPr>
          <p:cNvCxnSpPr>
            <a:cxnSpLocks/>
          </p:cNvCxnSpPr>
          <p:nvPr/>
        </p:nvCxnSpPr>
        <p:spPr>
          <a:xfrm flipH="1">
            <a:off x="10237976" y="3244243"/>
            <a:ext cx="362841" cy="1260688"/>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5CDFAB84-1541-4EE9-BF04-213E61BC4EF7}"/>
              </a:ext>
            </a:extLst>
          </p:cNvPr>
          <p:cNvCxnSpPr>
            <a:endCxn id="5" idx="0"/>
          </p:cNvCxnSpPr>
          <p:nvPr/>
        </p:nvCxnSpPr>
        <p:spPr>
          <a:xfrm flipH="1">
            <a:off x="8829177" y="2673041"/>
            <a:ext cx="180" cy="36135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2" name="Content Placeholder 2">
            <a:extLst>
              <a:ext uri="{FF2B5EF4-FFF2-40B4-BE49-F238E27FC236}">
                <a16:creationId xmlns:a16="http://schemas.microsoft.com/office/drawing/2014/main" id="{D80ECEEB-5F77-4143-A3CD-DC530DBFD6D5}"/>
              </a:ext>
            </a:extLst>
          </p:cNvPr>
          <p:cNvSpPr>
            <a:spLocks noGrp="1"/>
          </p:cNvSpPr>
          <p:nvPr>
            <p:ph idx="1"/>
          </p:nvPr>
        </p:nvSpPr>
        <p:spPr>
          <a:xfrm>
            <a:off x="275142" y="1631427"/>
            <a:ext cx="3586393" cy="4678311"/>
          </a:xfrm>
        </p:spPr>
        <p:txBody>
          <a:bodyPr vert="horz" wrap="square" lIns="91428" tIns="45714" rIns="91428" bIns="45714" rtlCol="0" anchor="t">
            <a:normAutofit/>
          </a:bodyPr>
          <a:lstStyle/>
          <a:p>
            <a:pPr marL="466043" indent="-466043">
              <a:buFont typeface="+mj-lt"/>
              <a:buAutoNum type="arabicPeriod"/>
            </a:pPr>
            <a:r>
              <a:rPr lang="en-US" sz="2400" b="1">
                <a:gradFill>
                  <a:gsLst>
                    <a:gs pos="2917">
                      <a:srgbClr val="505050"/>
                    </a:gs>
                    <a:gs pos="30000">
                      <a:srgbClr val="505050"/>
                    </a:gs>
                  </a:gsLst>
                  <a:lin ang="5400000" scaled="0"/>
                </a:gradFill>
                <a:latin typeface="Segoe UI"/>
              </a:rPr>
              <a:t>Advantages</a:t>
            </a:r>
            <a:endParaRPr lang="en-US" sz="2400"/>
          </a:p>
          <a:p>
            <a:pPr marL="699065" lvl="1" indent="-233022"/>
            <a:r>
              <a:rPr lang="en-US" sz="1800">
                <a:gradFill>
                  <a:gsLst>
                    <a:gs pos="2917">
                      <a:srgbClr val="505050"/>
                    </a:gs>
                    <a:gs pos="30000">
                      <a:srgbClr val="505050"/>
                    </a:gs>
                  </a:gsLst>
                  <a:lin ang="5400000" scaled="0"/>
                </a:gradFill>
                <a:latin typeface="Segoe UI"/>
                <a:cs typeface="Segoe UI"/>
              </a:rPr>
              <a:t>Time intelligence functions</a:t>
            </a:r>
            <a:endParaRPr lang="en-US" sz="1800">
              <a:gradFill>
                <a:gsLst>
                  <a:gs pos="2917">
                    <a:srgbClr val="505050"/>
                  </a:gs>
                  <a:gs pos="30000">
                    <a:srgbClr val="505050"/>
                  </a:gs>
                </a:gsLst>
                <a:lin ang="5400000" scaled="0"/>
              </a:gradFill>
              <a:latin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Customizable</a:t>
            </a: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Organization</a:t>
            </a:r>
            <a:endParaRPr lang="en-US"/>
          </a:p>
          <a:p>
            <a:pPr marL="699065" lvl="1" indent="-233022"/>
            <a:endParaRPr lang="en-US" sz="1800">
              <a:gradFill>
                <a:gsLst>
                  <a:gs pos="2917">
                    <a:srgbClr val="505050"/>
                  </a:gs>
                  <a:gs pos="30000">
                    <a:srgbClr val="505050"/>
                  </a:gs>
                </a:gsLst>
                <a:lin ang="5400000" scaled="0"/>
              </a:gradFill>
              <a:latin typeface="Segoe UI"/>
              <a:cs typeface="Segoe UI"/>
            </a:endParaRPr>
          </a:p>
          <a:p>
            <a:pPr marL="466043" indent="-466043">
              <a:buFont typeface="+mj-lt"/>
              <a:buAutoNum type="arabicPeriod"/>
            </a:pPr>
            <a:r>
              <a:rPr lang="en-US" sz="2400" b="1">
                <a:gradFill>
                  <a:gsLst>
                    <a:gs pos="2917">
                      <a:srgbClr val="505050"/>
                    </a:gs>
                    <a:gs pos="30000">
                      <a:srgbClr val="505050"/>
                    </a:gs>
                  </a:gsLst>
                  <a:lin ang="5400000" scaled="0"/>
                </a:gradFill>
                <a:latin typeface="Segoe UI"/>
              </a:rPr>
              <a:t>Disadvantages</a:t>
            </a:r>
            <a:endParaRPr lang="en-US" sz="2400" b="1">
              <a:gradFill>
                <a:gsLst>
                  <a:gs pos="2917">
                    <a:srgbClr val="505050"/>
                  </a:gs>
                  <a:gs pos="30000">
                    <a:srgbClr val="505050"/>
                  </a:gs>
                </a:gsLst>
                <a:lin ang="5400000" scaled="0"/>
              </a:gradFill>
              <a:latin typeface="Segoe UI"/>
              <a:cs typeface="Segoe UI"/>
            </a:endParaRPr>
          </a:p>
          <a:p>
            <a:pPr marL="699065" lvl="1" indent="-233022"/>
            <a:r>
              <a:rPr lang="en-US" sz="1800">
                <a:gradFill>
                  <a:gsLst>
                    <a:gs pos="2917">
                      <a:srgbClr val="505050"/>
                    </a:gs>
                    <a:gs pos="30000">
                      <a:srgbClr val="505050"/>
                    </a:gs>
                  </a:gsLst>
                  <a:lin ang="5400000" scaled="0"/>
                </a:gradFill>
                <a:latin typeface="Segoe UI"/>
              </a:rPr>
              <a:t>You must create and manage it</a:t>
            </a:r>
            <a:endParaRPr lang="en-US" sz="1800">
              <a:gradFill>
                <a:gsLst>
                  <a:gs pos="2917">
                    <a:srgbClr val="505050"/>
                  </a:gs>
                  <a:gs pos="30000">
                    <a:srgbClr val="505050"/>
                  </a:gs>
                </a:gsLst>
                <a:lin ang="5400000" scaled="0"/>
              </a:gradFill>
              <a:latin typeface="Segoe UI"/>
              <a:cs typeface="Segoe UI"/>
            </a:endParaRPr>
          </a:p>
          <a:p>
            <a:pPr marL="699065" lvl="1" indent="-233022">
              <a:spcBef>
                <a:spcPts val="509"/>
              </a:spcBef>
            </a:pPr>
            <a:r>
              <a:rPr lang="en-US" sz="1800">
                <a:gradFill>
                  <a:gsLst>
                    <a:gs pos="2917">
                      <a:srgbClr val="505050"/>
                    </a:gs>
                    <a:gs pos="30000">
                      <a:srgbClr val="505050"/>
                    </a:gs>
                  </a:gsLst>
                  <a:lin ang="5400000" scaled="0"/>
                </a:gradFill>
                <a:latin typeface="Segoe UI"/>
                <a:cs typeface="Segoe UI"/>
              </a:rPr>
              <a:t>Business unit calendars may not always be aligned or consistent</a:t>
            </a:r>
          </a:p>
        </p:txBody>
      </p:sp>
    </p:spTree>
    <p:extLst>
      <p:ext uri="{BB962C8B-B14F-4D97-AF65-F5344CB8AC3E}">
        <p14:creationId xmlns:p14="http://schemas.microsoft.com/office/powerpoint/2010/main" val="2825251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Pro Tip: </a:t>
            </a:r>
            <a:r>
              <a:rPr lang="en-US" sz="4080" spc="0" err="1">
                <a:solidFill>
                  <a:srgbClr val="FFC000"/>
                </a:solidFill>
              </a:rPr>
              <a:t>DateTime</a:t>
            </a:r>
            <a:endParaRPr lang="en-US" sz="4080" spc="0">
              <a:solidFill>
                <a:srgbClr val="FFC000"/>
              </a:solidFill>
            </a:endParaRPr>
          </a:p>
        </p:txBody>
      </p:sp>
      <p:graphicFrame>
        <p:nvGraphicFramePr>
          <p:cNvPr id="8" name="Content Placeholder 2">
            <a:extLst>
              <a:ext uri="{FF2B5EF4-FFF2-40B4-BE49-F238E27FC236}">
                <a16:creationId xmlns:a16="http://schemas.microsoft.com/office/drawing/2014/main" id="{2AB2CFBA-6F73-4648-8A40-141E55444C00}"/>
              </a:ext>
            </a:extLst>
          </p:cNvPr>
          <p:cNvGraphicFramePr>
            <a:graphicFrameLocks noGrp="1"/>
          </p:cNvGraphicFramePr>
          <p:nvPr>
            <p:ph idx="1"/>
            <p:extLst>
              <p:ext uri="{D42A27DB-BD31-4B8C-83A1-F6EECF244321}">
                <p14:modId xmlns:p14="http://schemas.microsoft.com/office/powerpoint/2010/main" val="3650559293"/>
              </p:ext>
            </p:extLst>
          </p:nvPr>
        </p:nvGraphicFramePr>
        <p:xfrm>
          <a:off x="720035" y="1669774"/>
          <a:ext cx="10986051" cy="4483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87827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53FC734-FB31-41AE-81CA-D177FC0B7BA8}"/>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B15093A-C0E9-45AA-B025-BA6275F04A5D}"/>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a:solidFill>
                  <a:srgbClr val="FFC000"/>
                </a:solidFill>
              </a:rPr>
              <a:t>Avoid Extreme Future Dates</a:t>
            </a:r>
          </a:p>
        </p:txBody>
      </p:sp>
      <p:graphicFrame>
        <p:nvGraphicFramePr>
          <p:cNvPr id="10" name="Table 4">
            <a:extLst>
              <a:ext uri="{FF2B5EF4-FFF2-40B4-BE49-F238E27FC236}">
                <a16:creationId xmlns:a16="http://schemas.microsoft.com/office/drawing/2014/main" id="{0B3B61E2-5391-42D0-85D7-070CF485D8D7}"/>
              </a:ext>
            </a:extLst>
          </p:cNvPr>
          <p:cNvGraphicFramePr>
            <a:graphicFrameLocks noGrp="1"/>
          </p:cNvGraphicFramePr>
          <p:nvPr>
            <p:extLst>
              <p:ext uri="{D42A27DB-BD31-4B8C-83A1-F6EECF244321}">
                <p14:modId xmlns:p14="http://schemas.microsoft.com/office/powerpoint/2010/main" val="4093776008"/>
              </p:ext>
            </p:extLst>
          </p:nvPr>
        </p:nvGraphicFramePr>
        <p:xfrm>
          <a:off x="746538" y="1649249"/>
          <a:ext cx="10966984" cy="2271378"/>
        </p:xfrm>
        <a:graphic>
          <a:graphicData uri="http://schemas.openxmlformats.org/drawingml/2006/table">
            <a:tbl>
              <a:tblPr firstRow="1" bandRow="1">
                <a:tableStyleId>{9D7B26C5-4107-4FEC-AEDC-1716B250A1EF}</a:tableStyleId>
              </a:tblPr>
              <a:tblGrid>
                <a:gridCol w="1837496">
                  <a:extLst>
                    <a:ext uri="{9D8B030D-6E8A-4147-A177-3AD203B41FA5}">
                      <a16:colId xmlns:a16="http://schemas.microsoft.com/office/drawing/2014/main" val="1512514897"/>
                    </a:ext>
                  </a:extLst>
                </a:gridCol>
                <a:gridCol w="1536962">
                  <a:extLst>
                    <a:ext uri="{9D8B030D-6E8A-4147-A177-3AD203B41FA5}">
                      <a16:colId xmlns:a16="http://schemas.microsoft.com/office/drawing/2014/main" val="1420267389"/>
                    </a:ext>
                  </a:extLst>
                </a:gridCol>
                <a:gridCol w="1421306">
                  <a:extLst>
                    <a:ext uri="{9D8B030D-6E8A-4147-A177-3AD203B41FA5}">
                      <a16:colId xmlns:a16="http://schemas.microsoft.com/office/drawing/2014/main" val="554447733"/>
                    </a:ext>
                  </a:extLst>
                </a:gridCol>
                <a:gridCol w="1228743">
                  <a:extLst>
                    <a:ext uri="{9D8B030D-6E8A-4147-A177-3AD203B41FA5}">
                      <a16:colId xmlns:a16="http://schemas.microsoft.com/office/drawing/2014/main" val="569540080"/>
                    </a:ext>
                  </a:extLst>
                </a:gridCol>
                <a:gridCol w="1809051">
                  <a:extLst>
                    <a:ext uri="{9D8B030D-6E8A-4147-A177-3AD203B41FA5}">
                      <a16:colId xmlns:a16="http://schemas.microsoft.com/office/drawing/2014/main" val="3580864083"/>
                    </a:ext>
                  </a:extLst>
                </a:gridCol>
                <a:gridCol w="1566713">
                  <a:extLst>
                    <a:ext uri="{9D8B030D-6E8A-4147-A177-3AD203B41FA5}">
                      <a16:colId xmlns:a16="http://schemas.microsoft.com/office/drawing/2014/main" val="485717687"/>
                    </a:ext>
                  </a:extLst>
                </a:gridCol>
                <a:gridCol w="1566713">
                  <a:extLst>
                    <a:ext uri="{9D8B030D-6E8A-4147-A177-3AD203B41FA5}">
                      <a16:colId xmlns:a16="http://schemas.microsoft.com/office/drawing/2014/main" val="4004796440"/>
                    </a:ext>
                  </a:extLst>
                </a:gridCol>
              </a:tblGrid>
              <a:tr h="378563">
                <a:tc>
                  <a:txBody>
                    <a:bodyPr/>
                    <a:lstStyle/>
                    <a:p>
                      <a:r>
                        <a:rPr lang="en-US" sz="1600" err="1"/>
                        <a:t>CustomerSK</a:t>
                      </a:r>
                      <a:endParaRPr lang="en-US" sz="1600"/>
                    </a:p>
                  </a:txBody>
                  <a:tcPr marL="93248" marR="93248" marT="46624" marB="46624"/>
                </a:tc>
                <a:tc>
                  <a:txBody>
                    <a:bodyPr/>
                    <a:lstStyle/>
                    <a:p>
                      <a:r>
                        <a:rPr lang="en-US" sz="1600" err="1"/>
                        <a:t>CustomerAK</a:t>
                      </a:r>
                      <a:endParaRPr lang="en-US" sz="1600"/>
                    </a:p>
                  </a:txBody>
                  <a:tcPr marL="93248" marR="93248" marT="46624" marB="46624"/>
                </a:tc>
                <a:tc>
                  <a:txBody>
                    <a:bodyPr/>
                    <a:lstStyle/>
                    <a:p>
                      <a:r>
                        <a:rPr lang="en-US" sz="1600"/>
                        <a:t>FirstName</a:t>
                      </a:r>
                    </a:p>
                  </a:txBody>
                  <a:tcPr marL="93248" marR="93248" marT="46624" marB="46624"/>
                </a:tc>
                <a:tc>
                  <a:txBody>
                    <a:bodyPr/>
                    <a:lstStyle/>
                    <a:p>
                      <a:r>
                        <a:rPr lang="en-US" sz="1600" err="1"/>
                        <a:t>LastName</a:t>
                      </a:r>
                      <a:endParaRPr lang="en-US" sz="1600"/>
                    </a:p>
                  </a:txBody>
                  <a:tcPr marL="93248" marR="93248" marT="46624" marB="46624"/>
                </a:tc>
                <a:tc>
                  <a:txBody>
                    <a:bodyPr/>
                    <a:lstStyle/>
                    <a:p>
                      <a:r>
                        <a:rPr lang="en-US" sz="1600" err="1"/>
                        <a:t>MaritalStatus</a:t>
                      </a:r>
                      <a:endParaRPr lang="en-US" sz="1600"/>
                    </a:p>
                  </a:txBody>
                  <a:tcPr marL="93248" marR="93248" marT="46624" marB="46624"/>
                </a:tc>
                <a:tc>
                  <a:txBody>
                    <a:bodyPr/>
                    <a:lstStyle/>
                    <a:p>
                      <a:r>
                        <a:rPr lang="en-US" sz="1600"/>
                        <a:t>StartDate</a:t>
                      </a:r>
                    </a:p>
                  </a:txBody>
                  <a:tcPr marL="93248" marR="93248" marT="46624" marB="46624"/>
                </a:tc>
                <a:tc>
                  <a:txBody>
                    <a:bodyPr/>
                    <a:lstStyle/>
                    <a:p>
                      <a:r>
                        <a:rPr lang="en-US" sz="1600" err="1"/>
                        <a:t>EndDate</a:t>
                      </a:r>
                      <a:endParaRPr lang="en-US" sz="1600"/>
                    </a:p>
                  </a:txBody>
                  <a:tcPr marL="93248" marR="93248" marT="46624" marB="46624"/>
                </a:tc>
                <a:extLst>
                  <a:ext uri="{0D108BD9-81ED-4DB2-BD59-A6C34878D82A}">
                    <a16:rowId xmlns:a16="http://schemas.microsoft.com/office/drawing/2014/main" val="1604450054"/>
                  </a:ext>
                </a:extLst>
              </a:tr>
              <a:tr h="378563">
                <a:tc>
                  <a:txBody>
                    <a:bodyPr/>
                    <a:lstStyle/>
                    <a:p>
                      <a:r>
                        <a:rPr lang="en-US" sz="1600"/>
                        <a:t>1</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a:t>S</a:t>
                      </a:r>
                    </a:p>
                  </a:txBody>
                  <a:tcPr marL="93248" marR="93248" marT="46624" marB="46624"/>
                </a:tc>
                <a:tc>
                  <a:txBody>
                    <a:bodyPr/>
                    <a:lstStyle/>
                    <a:p>
                      <a:r>
                        <a:rPr lang="en-US" sz="1600"/>
                        <a:t>1/1/1990</a:t>
                      </a:r>
                    </a:p>
                  </a:txBody>
                  <a:tcPr marL="93248" marR="93248" marT="46624" marB="46624"/>
                </a:tc>
                <a:tc>
                  <a:txBody>
                    <a:bodyPr/>
                    <a:lstStyle/>
                    <a:p>
                      <a:r>
                        <a:rPr lang="en-US" sz="1600"/>
                        <a:t>6/28/1997</a:t>
                      </a:r>
                    </a:p>
                  </a:txBody>
                  <a:tcPr marL="93248" marR="93248" marT="46624" marB="46624"/>
                </a:tc>
                <a:extLst>
                  <a:ext uri="{0D108BD9-81ED-4DB2-BD59-A6C34878D82A}">
                    <a16:rowId xmlns:a16="http://schemas.microsoft.com/office/drawing/2014/main" val="4171234557"/>
                  </a:ext>
                </a:extLst>
              </a:tr>
              <a:tr h="378563">
                <a:tc>
                  <a:txBody>
                    <a:bodyPr/>
                    <a:lstStyle/>
                    <a:p>
                      <a:r>
                        <a:rPr lang="en-US" sz="1600"/>
                        <a:t>2</a:t>
                      </a:r>
                    </a:p>
                  </a:txBody>
                  <a:tcPr marL="93248" marR="93248" marT="46624" marB="46624"/>
                </a:tc>
                <a:tc>
                  <a:txBody>
                    <a:bodyPr/>
                    <a:lstStyle/>
                    <a:p>
                      <a:r>
                        <a:rPr lang="en-US" sz="1600"/>
                        <a:t>5956</a:t>
                      </a:r>
                    </a:p>
                  </a:txBody>
                  <a:tcPr marL="93248" marR="93248" marT="46624" marB="46624"/>
                </a:tc>
                <a:tc>
                  <a:txBody>
                    <a:bodyPr/>
                    <a:lstStyle/>
                    <a:p>
                      <a:r>
                        <a:rPr lang="en-US" sz="1600"/>
                        <a:t>John</a:t>
                      </a:r>
                    </a:p>
                  </a:txBody>
                  <a:tcPr marL="93248" marR="93248" marT="46624" marB="46624"/>
                </a:tc>
                <a:tc>
                  <a:txBody>
                    <a:bodyPr/>
                    <a:lstStyle/>
                    <a:p>
                      <a:r>
                        <a:rPr lang="en-US" sz="1600"/>
                        <a:t>Doe</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2/8/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3265830502"/>
                  </a:ext>
                </a:extLst>
              </a:tr>
              <a:tr h="378563">
                <a:tc>
                  <a:txBody>
                    <a:bodyPr/>
                    <a:lstStyle/>
                    <a:p>
                      <a:r>
                        <a:rPr lang="en-US" sz="1600"/>
                        <a:t>3</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a:t>S</a:t>
                      </a:r>
                    </a:p>
                  </a:txBody>
                  <a:tcPr marL="93248" marR="93248" marT="46624" marB="46624"/>
                </a:tc>
                <a:tc>
                  <a:txBody>
                    <a:bodyPr/>
                    <a:lstStyle/>
                    <a:p>
                      <a:r>
                        <a:rPr lang="en-US" sz="1600"/>
                        <a:t>2/1/1991</a:t>
                      </a:r>
                    </a:p>
                  </a:txBody>
                  <a:tcPr marL="93248" marR="93248" marT="46624" marB="46624"/>
                </a:tc>
                <a:tc>
                  <a:txBody>
                    <a:bodyPr/>
                    <a:lstStyle/>
                    <a:p>
                      <a:r>
                        <a:rPr lang="en-US" sz="1600"/>
                        <a:t>7/21/2000</a:t>
                      </a:r>
                    </a:p>
                  </a:txBody>
                  <a:tcPr marL="93248" marR="93248" marT="46624" marB="46624"/>
                </a:tc>
                <a:extLst>
                  <a:ext uri="{0D108BD9-81ED-4DB2-BD59-A6C34878D82A}">
                    <a16:rowId xmlns:a16="http://schemas.microsoft.com/office/drawing/2014/main" val="2827751645"/>
                  </a:ext>
                </a:extLst>
              </a:tr>
              <a:tr h="378563">
                <a:tc>
                  <a:txBody>
                    <a:bodyPr/>
                    <a:lstStyle/>
                    <a:p>
                      <a:r>
                        <a:rPr lang="en-US" sz="1600"/>
                        <a:t>4</a:t>
                      </a:r>
                    </a:p>
                  </a:txBody>
                  <a:tcPr marL="93248" marR="93248" marT="46624" marB="46624"/>
                </a:tc>
                <a:tc>
                  <a:txBody>
                    <a:bodyPr/>
                    <a:lstStyle/>
                    <a:p>
                      <a:r>
                        <a:rPr lang="en-US" sz="1600"/>
                        <a:t>5437</a:t>
                      </a:r>
                    </a:p>
                  </a:txBody>
                  <a:tcPr marL="93248" marR="93248" marT="46624" marB="46624"/>
                </a:tc>
                <a:tc>
                  <a:txBody>
                    <a:bodyPr/>
                    <a:lstStyle/>
                    <a:p>
                      <a:r>
                        <a:rPr lang="en-US" sz="1600"/>
                        <a:t>Patrick</a:t>
                      </a:r>
                    </a:p>
                  </a:txBody>
                  <a:tcPr marL="93248" marR="93248" marT="46624" marB="46624"/>
                </a:tc>
                <a:tc>
                  <a:txBody>
                    <a:bodyPr/>
                    <a:lstStyle/>
                    <a:p>
                      <a:r>
                        <a:rPr lang="en-US" sz="1600"/>
                        <a:t>LeBlanc</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6/28/1997</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749965609"/>
                  </a:ext>
                </a:extLst>
              </a:tr>
              <a:tr h="378563">
                <a:tc>
                  <a:txBody>
                    <a:bodyPr/>
                    <a:lstStyle/>
                    <a:p>
                      <a:r>
                        <a:rPr lang="en-US" sz="1600"/>
                        <a:t>5</a:t>
                      </a:r>
                    </a:p>
                  </a:txBody>
                  <a:tcPr marL="93248" marR="93248" marT="46624" marB="46624"/>
                </a:tc>
                <a:tc>
                  <a:txBody>
                    <a:bodyPr/>
                    <a:lstStyle/>
                    <a:p>
                      <a:r>
                        <a:rPr lang="en-US" sz="1600"/>
                        <a:t>8953</a:t>
                      </a:r>
                    </a:p>
                  </a:txBody>
                  <a:tcPr marL="93248" marR="93248" marT="46624" marB="46624"/>
                </a:tc>
                <a:tc>
                  <a:txBody>
                    <a:bodyPr/>
                    <a:lstStyle/>
                    <a:p>
                      <a:r>
                        <a:rPr lang="en-US" sz="1600"/>
                        <a:t>Jane</a:t>
                      </a:r>
                    </a:p>
                  </a:txBody>
                  <a:tcPr marL="93248" marR="93248" marT="46624" marB="46624"/>
                </a:tc>
                <a:tc>
                  <a:txBody>
                    <a:bodyPr/>
                    <a:lstStyle/>
                    <a:p>
                      <a:r>
                        <a:rPr lang="en-US" sz="1600"/>
                        <a:t>Phillips</a:t>
                      </a:r>
                    </a:p>
                  </a:txBody>
                  <a:tcPr marL="93248" marR="93248" marT="46624" marB="46624"/>
                </a:tc>
                <a:tc>
                  <a:txBody>
                    <a:bodyPr/>
                    <a:lstStyle/>
                    <a:p>
                      <a:r>
                        <a:rPr lang="en-US" sz="1600" b="0">
                          <a:solidFill>
                            <a:schemeClr val="tx1"/>
                          </a:solidFill>
                        </a:rPr>
                        <a:t>M</a:t>
                      </a:r>
                    </a:p>
                  </a:txBody>
                  <a:tcPr marL="93248" marR="93248" marT="46624" marB="46624"/>
                </a:tc>
                <a:tc>
                  <a:txBody>
                    <a:bodyPr/>
                    <a:lstStyle/>
                    <a:p>
                      <a:r>
                        <a:rPr lang="en-US" sz="1600"/>
                        <a:t>7/21/2000</a:t>
                      </a:r>
                    </a:p>
                  </a:txBody>
                  <a:tcPr marL="93248" marR="93248" marT="46624" marB="46624"/>
                </a:tc>
                <a:tc>
                  <a:txBody>
                    <a:bodyPr/>
                    <a:lstStyle/>
                    <a:p>
                      <a:r>
                        <a:rPr lang="en-US" sz="1600" b="1">
                          <a:solidFill>
                            <a:srgbClr val="FF0000"/>
                          </a:solidFill>
                        </a:rPr>
                        <a:t>12/31/9999</a:t>
                      </a:r>
                    </a:p>
                  </a:txBody>
                  <a:tcPr marL="93248" marR="93248" marT="46624" marB="46624"/>
                </a:tc>
                <a:extLst>
                  <a:ext uri="{0D108BD9-81ED-4DB2-BD59-A6C34878D82A}">
                    <a16:rowId xmlns:a16="http://schemas.microsoft.com/office/drawing/2014/main" val="1609569251"/>
                  </a:ext>
                </a:extLst>
              </a:tr>
            </a:tbl>
          </a:graphicData>
        </a:graphic>
      </p:graphicFrame>
      <p:sp>
        <p:nvSpPr>
          <p:cNvPr id="11" name="Content Placeholder 2">
            <a:extLst>
              <a:ext uri="{FF2B5EF4-FFF2-40B4-BE49-F238E27FC236}">
                <a16:creationId xmlns:a16="http://schemas.microsoft.com/office/drawing/2014/main" id="{74AB6C32-99B4-439F-8442-5112A03A6AEB}"/>
              </a:ext>
            </a:extLst>
          </p:cNvPr>
          <p:cNvSpPr>
            <a:spLocks noGrp="1"/>
          </p:cNvSpPr>
          <p:nvPr>
            <p:ph idx="1"/>
          </p:nvPr>
        </p:nvSpPr>
        <p:spPr>
          <a:xfrm>
            <a:off x="734045" y="4278772"/>
            <a:ext cx="10968384" cy="1905575"/>
          </a:xfrm>
        </p:spPr>
        <p:txBody>
          <a:bodyPr vert="horz" wrap="square" lIns="0" tIns="0" rIns="0" bIns="0" rtlCol="0" anchor="t">
            <a:normAutofit fontScale="77500" lnSpcReduction="20000"/>
          </a:bodyPr>
          <a:lstStyle/>
          <a:p>
            <a:pPr marL="0" indent="0">
              <a:buNone/>
            </a:pPr>
            <a:r>
              <a:rPr lang="en-US" sz="2800" b="1">
                <a:gradFill>
                  <a:gsLst>
                    <a:gs pos="2917">
                      <a:srgbClr val="505050"/>
                    </a:gs>
                    <a:gs pos="30000">
                      <a:srgbClr val="505050"/>
                    </a:gs>
                  </a:gsLst>
                  <a:lin ang="5400000" scaled="0"/>
                </a:gradFill>
                <a:latin typeface="Segoe UI"/>
                <a:cs typeface="+mn-cs"/>
              </a:rPr>
              <a:t>CALENDARAUTO()</a:t>
            </a:r>
          </a:p>
          <a:p>
            <a:pPr marL="0" indent="0">
              <a:buNone/>
            </a:pPr>
            <a:r>
              <a:rPr lang="en-US" sz="2040">
                <a:solidFill>
                  <a:schemeClr val="tx1">
                    <a:lumMod val="50000"/>
                    <a:lumOff val="50000"/>
                  </a:schemeClr>
                </a:solidFill>
                <a:latin typeface="Segoe UI" panose="020B0502040204020203" pitchFamily="34" charset="0"/>
                <a:cs typeface="+mn-cs"/>
              </a:rPr>
              <a:t>Returns a table with a single column named "Date" that contains a contiguous set of dates. The range of dates is calculated automatically based on data in the model.</a:t>
            </a:r>
          </a:p>
          <a:p>
            <a:pPr marL="0" indent="0">
              <a:buNone/>
            </a:pPr>
            <a:endParaRPr lang="en-US" sz="2040">
              <a:solidFill>
                <a:schemeClr val="tx1">
                  <a:lumMod val="50000"/>
                  <a:lumOff val="50000"/>
                </a:schemeClr>
              </a:solidFill>
              <a:latin typeface="Segoe UI" panose="020B0502040204020203" pitchFamily="34" charset="0"/>
              <a:cs typeface="+mn-cs"/>
            </a:endParaRPr>
          </a:p>
          <a:p>
            <a:pPr marL="0" indent="0">
              <a:buNone/>
            </a:pPr>
            <a:r>
              <a:rPr lang="en-US" sz="2040">
                <a:solidFill>
                  <a:schemeClr val="tx1">
                    <a:lumMod val="50000"/>
                    <a:lumOff val="50000"/>
                  </a:schemeClr>
                </a:solidFill>
                <a:latin typeface="Segoe UI" panose="020B0502040204020203" pitchFamily="34" charset="0"/>
                <a:cs typeface="+mn-cs"/>
              </a:rPr>
              <a:t>The date range is calculated as follows:</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earli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inDate</a:t>
            </a:r>
            <a:r>
              <a:rPr lang="en-US" sz="2100">
                <a:solidFill>
                  <a:schemeClr val="tx1">
                    <a:lumMod val="50000"/>
                    <a:lumOff val="50000"/>
                  </a:schemeClr>
                </a:solidFill>
                <a:latin typeface="Segoe UI" panose="020B0502040204020203" pitchFamily="34" charset="0"/>
              </a:rPr>
              <a:t>.</a:t>
            </a:r>
          </a:p>
          <a:p>
            <a:pPr marL="342866" lvl="1" indent="-342866"/>
            <a:r>
              <a:rPr lang="en-US" sz="2100">
                <a:solidFill>
                  <a:schemeClr val="tx1">
                    <a:lumMod val="50000"/>
                    <a:lumOff val="50000"/>
                  </a:schemeClr>
                </a:solidFill>
                <a:latin typeface="Segoe UI" panose="020B0502040204020203" pitchFamily="34" charset="0"/>
              </a:rPr>
              <a:t>The </a:t>
            </a:r>
            <a:r>
              <a:rPr lang="en-US" sz="2100" b="1">
                <a:gradFill>
                  <a:gsLst>
                    <a:gs pos="2917">
                      <a:srgbClr val="505050"/>
                    </a:gs>
                    <a:gs pos="30000">
                      <a:srgbClr val="505050"/>
                    </a:gs>
                  </a:gsLst>
                  <a:lin ang="5400000" scaled="0"/>
                </a:gradFill>
                <a:latin typeface="Segoe UI"/>
              </a:rPr>
              <a:t>latest</a:t>
            </a:r>
            <a:r>
              <a:rPr lang="en-US" sz="2100">
                <a:solidFill>
                  <a:schemeClr val="tx1">
                    <a:lumMod val="50000"/>
                    <a:lumOff val="50000"/>
                  </a:schemeClr>
                </a:solidFill>
                <a:latin typeface="Segoe UI" panose="020B0502040204020203" pitchFamily="34" charset="0"/>
              </a:rPr>
              <a:t> date in the model which is not in a calculated column or calculated table is taken as the </a:t>
            </a:r>
            <a:r>
              <a:rPr lang="en-US" sz="2100" err="1">
                <a:solidFill>
                  <a:schemeClr val="tx1">
                    <a:lumMod val="50000"/>
                    <a:lumOff val="50000"/>
                  </a:schemeClr>
                </a:solidFill>
                <a:latin typeface="Segoe UI" panose="020B0502040204020203" pitchFamily="34" charset="0"/>
              </a:rPr>
              <a:t>MaxDate</a:t>
            </a:r>
            <a:r>
              <a:rPr lang="en-US" sz="2100">
                <a:solidFill>
                  <a:schemeClr val="tx1">
                    <a:lumMod val="50000"/>
                    <a:lumOff val="50000"/>
                  </a:schemeClr>
                </a:solidFill>
                <a:latin typeface="Segoe UI" panose="020B0502040204020203" pitchFamily="34" charset="0"/>
              </a:rPr>
              <a:t>.</a:t>
            </a:r>
          </a:p>
          <a:p>
            <a:pPr marL="0" indent="0">
              <a:buNone/>
            </a:pPr>
            <a:endParaRPr lang="en-US" sz="2040">
              <a:solidFill>
                <a:schemeClr val="tx1">
                  <a:lumMod val="50000"/>
                  <a:lumOff val="50000"/>
                </a:schemeClr>
              </a:solidFill>
              <a:latin typeface="Segoe UI" panose="020B0502040204020203" pitchFamily="34" charset="0"/>
              <a:cs typeface="+mn-cs"/>
            </a:endParaRPr>
          </a:p>
        </p:txBody>
      </p:sp>
    </p:spTree>
    <p:extLst>
      <p:ext uri="{BB962C8B-B14F-4D97-AF65-F5344CB8AC3E}">
        <p14:creationId xmlns:p14="http://schemas.microsoft.com/office/powerpoint/2010/main" val="15450436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alculated Column</a:t>
            </a:r>
            <a:endParaRPr lang="en-US">
              <a:gradFill>
                <a:gsLst>
                  <a:gs pos="1250">
                    <a:srgbClr val="000000"/>
                  </a:gs>
                  <a:gs pos="100000">
                    <a:srgbClr val="000000"/>
                  </a:gs>
                </a:gsLst>
                <a:lin ang="5400000" scaled="0"/>
              </a:gradFill>
            </a:endParaRPr>
          </a:p>
        </p:txBody>
      </p:sp>
      <p:graphicFrame>
        <p:nvGraphicFramePr>
          <p:cNvPr id="2" name="Table 1">
            <a:extLst>
              <a:ext uri="{FF2B5EF4-FFF2-40B4-BE49-F238E27FC236}">
                <a16:creationId xmlns:a16="http://schemas.microsoft.com/office/drawing/2014/main" id="{C59241D8-C927-40AA-8057-F906CC8E8FEC}"/>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4" name="Table 3">
            <a:extLst>
              <a:ext uri="{FF2B5EF4-FFF2-40B4-BE49-F238E27FC236}">
                <a16:creationId xmlns:a16="http://schemas.microsoft.com/office/drawing/2014/main" id="{783FEFBB-AE20-4AA8-8DDC-9860D933D70F}"/>
              </a:ext>
            </a:extLst>
          </p:cNvPr>
          <p:cNvGraphicFramePr>
            <a:graphicFrameLocks noGrp="1"/>
          </p:cNvGraphicFramePr>
          <p:nvPr/>
        </p:nvGraphicFramePr>
        <p:xfrm>
          <a:off x="3673007"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2" name="Table 11">
            <a:extLst>
              <a:ext uri="{FF2B5EF4-FFF2-40B4-BE49-F238E27FC236}">
                <a16:creationId xmlns:a16="http://schemas.microsoft.com/office/drawing/2014/main" id="{E94DF0CD-003B-44BE-80F9-8CA3243D16E5}"/>
              </a:ext>
            </a:extLst>
          </p:cNvPr>
          <p:cNvGraphicFramePr>
            <a:graphicFrameLocks noGrp="1"/>
          </p:cNvGraphicFramePr>
          <p:nvPr/>
        </p:nvGraphicFramePr>
        <p:xfrm>
          <a:off x="649024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4" name="Table 13">
            <a:extLst>
              <a:ext uri="{FF2B5EF4-FFF2-40B4-BE49-F238E27FC236}">
                <a16:creationId xmlns:a16="http://schemas.microsoft.com/office/drawing/2014/main" id="{37A3F2B7-4DC2-4512-BDB8-C67BB45DE8E3}"/>
              </a:ext>
            </a:extLst>
          </p:cNvPr>
          <p:cNvGraphicFramePr>
            <a:graphicFrameLocks noGrp="1"/>
          </p:cNvGraphicFramePr>
          <p:nvPr>
            <p:extLst>
              <p:ext uri="{D42A27DB-BD31-4B8C-83A1-F6EECF244321}">
                <p14:modId xmlns:p14="http://schemas.microsoft.com/office/powerpoint/2010/main" val="3582156839"/>
              </p:ext>
            </p:extLst>
          </p:nvPr>
        </p:nvGraphicFramePr>
        <p:xfrm>
          <a:off x="930748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16" name="Rectangle 15">
            <a:extLst>
              <a:ext uri="{FF2B5EF4-FFF2-40B4-BE49-F238E27FC236}">
                <a16:creationId xmlns:a16="http://schemas.microsoft.com/office/drawing/2014/main" id="{3E33E5FD-DE4B-4693-BBD9-80DF5590D7CB}"/>
              </a:ext>
            </a:extLst>
          </p:cNvPr>
          <p:cNvSpPr/>
          <p:nvPr/>
        </p:nvSpPr>
        <p:spPr>
          <a:xfrm>
            <a:off x="9307484" y="1603546"/>
            <a:ext cx="2817240" cy="4706195"/>
          </a:xfrm>
          <a:prstGeom prst="rect">
            <a:avLst/>
          </a:prstGeom>
          <a:noFill/>
          <a:ln w="444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sp>
        <p:nvSpPr>
          <p:cNvPr id="8" name="TextBox 7">
            <a:extLst>
              <a:ext uri="{FF2B5EF4-FFF2-40B4-BE49-F238E27FC236}">
                <a16:creationId xmlns:a16="http://schemas.microsoft.com/office/drawing/2014/main" id="{67A5ABB0-FCFB-4FA1-9D29-34CB20137DCE}"/>
              </a:ext>
            </a:extLst>
          </p:cNvPr>
          <p:cNvSpPr txBox="1"/>
          <p:nvPr/>
        </p:nvSpPr>
        <p:spPr>
          <a:xfrm>
            <a:off x="9545452" y="3142827"/>
            <a:ext cx="2615623" cy="1107996"/>
          </a:xfrm>
          <a:prstGeom prst="rect">
            <a:avLst/>
          </a:prstGeom>
          <a:noFill/>
        </p:spPr>
        <p:txBody>
          <a:bodyPr wrap="square" lIns="0" tIns="0" rIns="0" bIns="0" rtlCol="0">
            <a:spAutoFit/>
          </a:bodyPr>
          <a:lstStyle/>
          <a:p>
            <a:pPr algn="l"/>
            <a:r>
              <a:rPr lang="en-US" b="1"/>
              <a:t>Performs this calculation for every row and stores it in memory</a:t>
            </a:r>
          </a:p>
        </p:txBody>
      </p:sp>
    </p:spTree>
    <p:extLst>
      <p:ext uri="{BB962C8B-B14F-4D97-AF65-F5344CB8AC3E}">
        <p14:creationId xmlns:p14="http://schemas.microsoft.com/office/powerpoint/2010/main" val="186000010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Computed Column</a:t>
            </a:r>
            <a:endParaRPr lang="en-US">
              <a:gradFill>
                <a:gsLst>
                  <a:gs pos="1250">
                    <a:srgbClr val="000000"/>
                  </a:gs>
                  <a:gs pos="100000">
                    <a:srgbClr val="000000"/>
                  </a:gs>
                </a:gsLst>
                <a:lin ang="5400000" scaled="0"/>
              </a:gradFill>
            </a:endParaRPr>
          </a:p>
        </p:txBody>
      </p:sp>
      <p:sp>
        <p:nvSpPr>
          <p:cNvPr id="7" name="TextBox 6">
            <a:extLst>
              <a:ext uri="{FF2B5EF4-FFF2-40B4-BE49-F238E27FC236}">
                <a16:creationId xmlns:a16="http://schemas.microsoft.com/office/drawing/2014/main" id="{D3AD0D13-2709-4D11-AA7C-C0790244EA32}"/>
              </a:ext>
            </a:extLst>
          </p:cNvPr>
          <p:cNvSpPr txBox="1"/>
          <p:nvPr/>
        </p:nvSpPr>
        <p:spPr>
          <a:xfrm>
            <a:off x="9307125" y="1254633"/>
            <a:ext cx="2816879" cy="307777"/>
          </a:xfrm>
          <a:prstGeom prst="rect">
            <a:avLst/>
          </a:prstGeom>
          <a:noFill/>
        </p:spPr>
        <p:txBody>
          <a:bodyPr wrap="square" lIns="0" tIns="0" rIns="0" bIns="0" rtlCol="0">
            <a:spAutoFit/>
          </a:bodyPr>
          <a:lstStyle/>
          <a:p>
            <a:pPr algn="ctr"/>
            <a:r>
              <a:rPr lang="en-US" sz="2000"/>
              <a:t>expression</a:t>
            </a:r>
          </a:p>
        </p:txBody>
      </p:sp>
      <p:graphicFrame>
        <p:nvGraphicFramePr>
          <p:cNvPr id="8" name="Table 7">
            <a:extLst>
              <a:ext uri="{FF2B5EF4-FFF2-40B4-BE49-F238E27FC236}">
                <a16:creationId xmlns:a16="http://schemas.microsoft.com/office/drawing/2014/main" id="{4B041B08-55E8-4583-9588-A024FCE70298}"/>
              </a:ext>
            </a:extLst>
          </p:cNvPr>
          <p:cNvGraphicFramePr>
            <a:graphicFrameLocks noGrp="1"/>
          </p:cNvGraphicFramePr>
          <p:nvPr/>
        </p:nvGraphicFramePr>
        <p:xfrm>
          <a:off x="855768"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9" name="Table 8">
            <a:extLst>
              <a:ext uri="{FF2B5EF4-FFF2-40B4-BE49-F238E27FC236}">
                <a16:creationId xmlns:a16="http://schemas.microsoft.com/office/drawing/2014/main" id="{39F0304D-0AFA-41B4-8B3C-87B87E9D6FBF}"/>
              </a:ext>
            </a:extLst>
          </p:cNvPr>
          <p:cNvGraphicFramePr>
            <a:graphicFrameLocks noGrp="1"/>
          </p:cNvGraphicFramePr>
          <p:nvPr/>
        </p:nvGraphicFramePr>
        <p:xfrm>
          <a:off x="3717136"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0" name="Table 9">
            <a:extLst>
              <a:ext uri="{FF2B5EF4-FFF2-40B4-BE49-F238E27FC236}">
                <a16:creationId xmlns:a16="http://schemas.microsoft.com/office/drawing/2014/main" id="{F0BBAB74-1045-4E12-9491-87845952DD2C}"/>
              </a:ext>
            </a:extLst>
          </p:cNvPr>
          <p:cNvGraphicFramePr>
            <a:graphicFrameLocks noGrp="1"/>
          </p:cNvGraphicFramePr>
          <p:nvPr/>
        </p:nvGraphicFramePr>
        <p:xfrm>
          <a:off x="6578503"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endParaRPr lang="en-US" sz="1900"/>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graphicFrame>
        <p:nvGraphicFramePr>
          <p:cNvPr id="18" name="Table 17">
            <a:extLst>
              <a:ext uri="{FF2B5EF4-FFF2-40B4-BE49-F238E27FC236}">
                <a16:creationId xmlns:a16="http://schemas.microsoft.com/office/drawing/2014/main" id="{7AF7E93C-6868-432C-BBBD-23165FE53BC4}"/>
              </a:ext>
            </a:extLst>
          </p:cNvPr>
          <p:cNvGraphicFramePr>
            <a:graphicFrameLocks noGrp="1"/>
          </p:cNvGraphicFramePr>
          <p:nvPr>
            <p:extLst>
              <p:ext uri="{D42A27DB-BD31-4B8C-83A1-F6EECF244321}">
                <p14:modId xmlns:p14="http://schemas.microsoft.com/office/powerpoint/2010/main" val="2309271631"/>
              </p:ext>
            </p:extLst>
          </p:nvPr>
        </p:nvGraphicFramePr>
        <p:xfrm>
          <a:off x="9439871" y="1603546"/>
          <a:ext cx="2816879" cy="4705592"/>
        </p:xfrm>
        <a:graphic>
          <a:graphicData uri="http://schemas.openxmlformats.org/drawingml/2006/table">
            <a:tbl>
              <a:tblPr firstRow="1" bandRow="1">
                <a:tableStyleId>{9D7B26C5-4107-4FEC-AEDC-1716B250A1EF}</a:tableStyleId>
              </a:tblPr>
              <a:tblGrid>
                <a:gridCol w="2816879">
                  <a:extLst>
                    <a:ext uri="{9D8B030D-6E8A-4147-A177-3AD203B41FA5}">
                      <a16:colId xmlns:a16="http://schemas.microsoft.com/office/drawing/2014/main" val="3489525494"/>
                    </a:ext>
                  </a:extLst>
                </a:gridCol>
              </a:tblGrid>
              <a:tr h="588199">
                <a:tc>
                  <a:txBody>
                    <a:bodyPr/>
                    <a:lstStyle/>
                    <a:p>
                      <a:pPr marL="0" marR="0" lvl="0" indent="0" algn="ctr" defTabSz="951209" rtl="0" eaLnBrk="1" fontAlgn="auto" latinLnBrk="0" hangingPunct="1">
                        <a:lnSpc>
                          <a:spcPct val="100000"/>
                        </a:lnSpc>
                        <a:spcBef>
                          <a:spcPts val="0"/>
                        </a:spcBef>
                        <a:spcAft>
                          <a:spcPts val="0"/>
                        </a:spcAft>
                        <a:buClrTx/>
                        <a:buSzTx/>
                        <a:buFontTx/>
                        <a:buNone/>
                        <a:tabLst/>
                        <a:defRPr/>
                      </a:pPr>
                      <a:r>
                        <a:rPr lang="en-US" sz="1900"/>
                        <a:t>Column1 + Column2</a:t>
                      </a:r>
                    </a:p>
                  </a:txBody>
                  <a:tcPr marL="93248" marR="93248" marT="46624" marB="46624">
                    <a:solidFill>
                      <a:schemeClr val="bg1">
                        <a:lumMod val="65000"/>
                      </a:schemeClr>
                    </a:solidFill>
                  </a:tcPr>
                </a:tc>
                <a:extLst>
                  <a:ext uri="{0D108BD9-81ED-4DB2-BD59-A6C34878D82A}">
                    <a16:rowId xmlns:a16="http://schemas.microsoft.com/office/drawing/2014/main" val="859540821"/>
                  </a:ext>
                </a:extLst>
              </a:tr>
              <a:tr h="588199">
                <a:tc>
                  <a:txBody>
                    <a:bodyPr/>
                    <a:lstStyle/>
                    <a:p>
                      <a:endParaRPr lang="en-US" sz="1900"/>
                    </a:p>
                  </a:txBody>
                  <a:tcPr marL="93248" marR="93248" marT="46624" marB="46624"/>
                </a:tc>
                <a:extLst>
                  <a:ext uri="{0D108BD9-81ED-4DB2-BD59-A6C34878D82A}">
                    <a16:rowId xmlns:a16="http://schemas.microsoft.com/office/drawing/2014/main" val="508234671"/>
                  </a:ext>
                </a:extLst>
              </a:tr>
              <a:tr h="588199">
                <a:tc>
                  <a:txBody>
                    <a:bodyPr/>
                    <a:lstStyle/>
                    <a:p>
                      <a:endParaRPr lang="en-US" sz="1900"/>
                    </a:p>
                  </a:txBody>
                  <a:tcPr marL="93248" marR="93248" marT="46624" marB="46624"/>
                </a:tc>
                <a:extLst>
                  <a:ext uri="{0D108BD9-81ED-4DB2-BD59-A6C34878D82A}">
                    <a16:rowId xmlns:a16="http://schemas.microsoft.com/office/drawing/2014/main" val="527680714"/>
                  </a:ext>
                </a:extLst>
              </a:tr>
              <a:tr h="588199">
                <a:tc>
                  <a:txBody>
                    <a:bodyPr/>
                    <a:lstStyle/>
                    <a:p>
                      <a:endParaRPr lang="en-US" sz="1900"/>
                    </a:p>
                  </a:txBody>
                  <a:tcPr marL="93248" marR="93248" marT="46624" marB="46624"/>
                </a:tc>
                <a:extLst>
                  <a:ext uri="{0D108BD9-81ED-4DB2-BD59-A6C34878D82A}">
                    <a16:rowId xmlns:a16="http://schemas.microsoft.com/office/drawing/2014/main" val="1524967406"/>
                  </a:ext>
                </a:extLst>
              </a:tr>
              <a:tr h="588199">
                <a:tc>
                  <a:txBody>
                    <a:bodyPr/>
                    <a:lstStyle/>
                    <a:p>
                      <a:endParaRPr lang="en-US" sz="1900"/>
                    </a:p>
                  </a:txBody>
                  <a:tcPr marL="93248" marR="93248" marT="46624" marB="46624"/>
                </a:tc>
                <a:extLst>
                  <a:ext uri="{0D108BD9-81ED-4DB2-BD59-A6C34878D82A}">
                    <a16:rowId xmlns:a16="http://schemas.microsoft.com/office/drawing/2014/main" val="1460134010"/>
                  </a:ext>
                </a:extLst>
              </a:tr>
              <a:tr h="588199">
                <a:tc>
                  <a:txBody>
                    <a:bodyPr/>
                    <a:lstStyle/>
                    <a:p>
                      <a:endParaRPr lang="en-US" sz="1900"/>
                    </a:p>
                  </a:txBody>
                  <a:tcPr marL="93248" marR="93248" marT="46624" marB="46624"/>
                </a:tc>
                <a:extLst>
                  <a:ext uri="{0D108BD9-81ED-4DB2-BD59-A6C34878D82A}">
                    <a16:rowId xmlns:a16="http://schemas.microsoft.com/office/drawing/2014/main" val="621617039"/>
                  </a:ext>
                </a:extLst>
              </a:tr>
              <a:tr h="588199">
                <a:tc>
                  <a:txBody>
                    <a:bodyPr/>
                    <a:lstStyle/>
                    <a:p>
                      <a:endParaRPr lang="en-US" sz="1900"/>
                    </a:p>
                  </a:txBody>
                  <a:tcPr marL="93248" marR="93248" marT="46624" marB="46624"/>
                </a:tc>
                <a:extLst>
                  <a:ext uri="{0D108BD9-81ED-4DB2-BD59-A6C34878D82A}">
                    <a16:rowId xmlns:a16="http://schemas.microsoft.com/office/drawing/2014/main" val="1523095080"/>
                  </a:ext>
                </a:extLst>
              </a:tr>
              <a:tr h="588199">
                <a:tc>
                  <a:txBody>
                    <a:bodyPr/>
                    <a:lstStyle/>
                    <a:p>
                      <a:endParaRPr lang="en-US" sz="1900"/>
                    </a:p>
                  </a:txBody>
                  <a:tcPr marL="93248" marR="93248" marT="46624" marB="46624"/>
                </a:tc>
                <a:extLst>
                  <a:ext uri="{0D108BD9-81ED-4DB2-BD59-A6C34878D82A}">
                    <a16:rowId xmlns:a16="http://schemas.microsoft.com/office/drawing/2014/main" val="3731090695"/>
                  </a:ext>
                </a:extLst>
              </a:tr>
            </a:tbl>
          </a:graphicData>
        </a:graphic>
      </p:graphicFrame>
      <p:sp>
        <p:nvSpPr>
          <p:cNvPr id="20" name="TextBox 19">
            <a:extLst>
              <a:ext uri="{FF2B5EF4-FFF2-40B4-BE49-F238E27FC236}">
                <a16:creationId xmlns:a16="http://schemas.microsoft.com/office/drawing/2014/main" id="{741B4906-4B99-43AB-BE70-600F2AA25204}"/>
              </a:ext>
            </a:extLst>
          </p:cNvPr>
          <p:cNvSpPr txBox="1"/>
          <p:nvPr/>
        </p:nvSpPr>
        <p:spPr>
          <a:xfrm>
            <a:off x="9545452" y="3142827"/>
            <a:ext cx="2615623" cy="830997"/>
          </a:xfrm>
          <a:prstGeom prst="rect">
            <a:avLst/>
          </a:prstGeom>
          <a:noFill/>
        </p:spPr>
        <p:txBody>
          <a:bodyPr wrap="square" lIns="0" tIns="0" rIns="0" bIns="0" rtlCol="0">
            <a:spAutoFit/>
          </a:bodyPr>
          <a:lstStyle/>
          <a:p>
            <a:pPr algn="l"/>
            <a:r>
              <a:rPr lang="en-US" b="1"/>
              <a:t>Performs this calculation in the source system or Power Query</a:t>
            </a:r>
          </a:p>
        </p:txBody>
      </p:sp>
    </p:spTree>
    <p:extLst>
      <p:ext uri="{BB962C8B-B14F-4D97-AF65-F5344CB8AC3E}">
        <p14:creationId xmlns:p14="http://schemas.microsoft.com/office/powerpoint/2010/main" val="415166320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36229DD-3665-4FCF-B86C-A2C86365D3D6}"/>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9275C9-78CA-4EC8-8CD0-E61502F0C8B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50" spc="0">
                <a:solidFill>
                  <a:srgbClr val="FFC000"/>
                </a:solidFill>
                <a:latin typeface="Franklin Gothic Medium Cond"/>
                <a:cs typeface="Segoe UI"/>
              </a:rPr>
              <a:t>Design Decisions</a:t>
            </a:r>
            <a:endParaRPr lang="en-US">
              <a:gradFill>
                <a:gsLst>
                  <a:gs pos="1250">
                    <a:srgbClr val="000000"/>
                  </a:gs>
                  <a:gs pos="100000">
                    <a:srgbClr val="000000"/>
                  </a:gs>
                </a:gsLst>
                <a:lin ang="5400000" scaled="0"/>
              </a:gradFill>
            </a:endParaRPr>
          </a:p>
        </p:txBody>
      </p:sp>
      <p:sp>
        <p:nvSpPr>
          <p:cNvPr id="9" name="Content Placeholder 2">
            <a:extLst>
              <a:ext uri="{FF2B5EF4-FFF2-40B4-BE49-F238E27FC236}">
                <a16:creationId xmlns:a16="http://schemas.microsoft.com/office/drawing/2014/main" id="{67B57A56-B78C-4BC9-A910-4C3A25EBBFC2}"/>
              </a:ext>
            </a:extLst>
          </p:cNvPr>
          <p:cNvSpPr>
            <a:spLocks noGrp="1"/>
          </p:cNvSpPr>
          <p:nvPr>
            <p:ph idx="1"/>
          </p:nvPr>
        </p:nvSpPr>
        <p:spPr>
          <a:xfrm>
            <a:off x="855768" y="1631427"/>
            <a:ext cx="10724938" cy="4663563"/>
          </a:xfrm>
        </p:spPr>
        <p:txBody>
          <a:bodyPr>
            <a:normAutofit/>
          </a:bodyPr>
          <a:lstStyle/>
          <a:p>
            <a:pPr marL="349689" indent="-349689">
              <a:buFont typeface="+mj-lt"/>
              <a:buAutoNum type="arabicPeriod"/>
            </a:pPr>
            <a:r>
              <a:rPr lang="en-US" sz="1836">
                <a:latin typeface="Segoe UI" panose="020B0502040204020203" pitchFamily="34" charset="0"/>
              </a:rPr>
              <a:t>The native columns of a table are processed all at once, and the compression of each column depends on the best sort order of the entire table heuristically found by the engine (if the table is larger than one million rows, this could happen in segments to reduce memory impact). </a:t>
            </a:r>
          </a:p>
          <a:p>
            <a:pPr marL="349689" indent="-349689">
              <a:buFont typeface="+mj-lt"/>
              <a:buAutoNum type="arabicPeriod"/>
            </a:pPr>
            <a:r>
              <a:rPr lang="en-US" sz="1836">
                <a:latin typeface="Segoe UI" panose="020B0502040204020203" pitchFamily="34" charset="0"/>
              </a:rPr>
              <a:t>Calculated columns do not participate in the search of the optimal sort order. Thus, the compression of a calculated</a:t>
            </a:r>
            <a:r>
              <a:rPr lang="en-US" sz="1836">
                <a:solidFill>
                  <a:srgbClr val="000000"/>
                </a:solidFill>
                <a:latin typeface="Segoe UI" panose="020B0502040204020203" pitchFamily="34" charset="0"/>
              </a:rPr>
              <a:t> column cannot take advantage of a different sort order of the table rows.</a:t>
            </a:r>
          </a:p>
          <a:p>
            <a:pPr marL="0" indent="0">
              <a:buNone/>
            </a:pPr>
            <a:endParaRPr lang="en-US" sz="1836">
              <a:solidFill>
                <a:srgbClr val="000000"/>
              </a:solidFill>
              <a:latin typeface="Segoe UI" panose="020B0502040204020203" pitchFamily="34" charset="0"/>
            </a:endParaRPr>
          </a:p>
          <a:p>
            <a:pPr marL="0" indent="0">
              <a:buNone/>
            </a:pPr>
            <a:r>
              <a:rPr lang="en-US" sz="1836">
                <a:solidFill>
                  <a:srgbClr val="000000"/>
                </a:solidFill>
                <a:latin typeface="Segoe UI" panose="020B0502040204020203" pitchFamily="34" charset="0"/>
              </a:rPr>
              <a:t>For these reasons, a calculated column has two disadvantages over native columns:</a:t>
            </a:r>
          </a:p>
          <a:p>
            <a:r>
              <a:rPr lang="en-US" sz="1836" b="1" u="sng">
                <a:solidFill>
                  <a:schemeClr val="tx1">
                    <a:lumMod val="50000"/>
                    <a:lumOff val="50000"/>
                  </a:schemeClr>
                </a:solidFill>
                <a:latin typeface="Segoe UI" panose="020B0502040204020203" pitchFamily="34" charset="0"/>
              </a:rPr>
              <a:t>It could increase processing time:</a:t>
            </a:r>
            <a:r>
              <a:rPr lang="en-US" sz="1836">
                <a:solidFill>
                  <a:schemeClr val="tx1">
                    <a:lumMod val="50000"/>
                    <a:lumOff val="50000"/>
                  </a:schemeClr>
                </a:solidFill>
                <a:latin typeface="Segoe UI" panose="020B0502040204020203" pitchFamily="34" charset="0"/>
              </a:rPr>
              <a:t> </a:t>
            </a:r>
            <a:r>
              <a:rPr lang="en-US" sz="1836">
                <a:solidFill>
                  <a:srgbClr val="000000"/>
                </a:solidFill>
                <a:latin typeface="Segoe UI" panose="020B0502040204020203" pitchFamily="34" charset="0"/>
              </a:rPr>
              <a:t>the evaluation of the DAX expression is sequential, and there could be limits in parallelism of the evaluation of multiple calculated columns.</a:t>
            </a:r>
          </a:p>
          <a:p>
            <a:r>
              <a:rPr lang="en-US" sz="1836" b="1" u="sng">
                <a:solidFill>
                  <a:schemeClr val="tx1">
                    <a:lumMod val="50000"/>
                    <a:lumOff val="50000"/>
                  </a:schemeClr>
                </a:solidFill>
                <a:latin typeface="Segoe UI" panose="020B0502040204020203" pitchFamily="34" charset="0"/>
              </a:rPr>
              <a:t>It could get a lower compression rate</a:t>
            </a:r>
            <a:r>
              <a:rPr lang="en-US" sz="1836">
                <a:solidFill>
                  <a:srgbClr val="F2C811"/>
                </a:solidFill>
                <a:latin typeface="Segoe UI" panose="020B0502040204020203" pitchFamily="34" charset="0"/>
              </a:rPr>
              <a:t>: </a:t>
            </a:r>
            <a:r>
              <a:rPr lang="en-US" sz="1836">
                <a:solidFill>
                  <a:srgbClr val="000000"/>
                </a:solidFill>
                <a:latin typeface="Segoe UI" panose="020B0502040204020203" pitchFamily="34" charset="0"/>
              </a:rPr>
              <a:t>a native column would participate in the sorting rows process that optimizes the compression rate, whereas a calculated column simply gets the sort order chosen by considering only the native columns of the same table.</a:t>
            </a:r>
          </a:p>
        </p:txBody>
      </p:sp>
      <p:sp>
        <p:nvSpPr>
          <p:cNvPr id="10" name="Rectangle 9">
            <a:extLst>
              <a:ext uri="{FF2B5EF4-FFF2-40B4-BE49-F238E27FC236}">
                <a16:creationId xmlns:a16="http://schemas.microsoft.com/office/drawing/2014/main" id="{E1DAAEB1-9691-4C0C-BEC3-6E9A29985589}"/>
              </a:ext>
            </a:extLst>
          </p:cNvPr>
          <p:cNvSpPr/>
          <p:nvPr/>
        </p:nvSpPr>
        <p:spPr>
          <a:xfrm>
            <a:off x="10609663" y="6294991"/>
            <a:ext cx="1665717" cy="478442"/>
          </a:xfrm>
          <a:prstGeom prst="rect">
            <a:avLst/>
          </a:prstGeom>
        </p:spPr>
        <p:txBody>
          <a:bodyPr wrap="none">
            <a:spAutoFit/>
          </a:bodyPr>
          <a:lstStyle/>
          <a:p>
            <a:pPr algn="r"/>
            <a:r>
              <a:rPr lang="en-US" sz="1224"/>
              <a:t>Source (</a:t>
            </a:r>
            <a:r>
              <a:rPr lang="en-US" sz="1224">
                <a:hlinkClick r:id="rId2"/>
              </a:rPr>
              <a:t>SQLBI</a:t>
            </a:r>
            <a:r>
              <a:rPr lang="en-US" sz="1224"/>
              <a:t>)</a:t>
            </a:r>
          </a:p>
          <a:p>
            <a:pPr algn="r"/>
            <a:r>
              <a:rPr lang="en-US" sz="1224"/>
              <a:t>Author: Marco Russo</a:t>
            </a:r>
          </a:p>
        </p:txBody>
      </p:sp>
    </p:spTree>
    <p:extLst>
      <p:ext uri="{BB962C8B-B14F-4D97-AF65-F5344CB8AC3E}">
        <p14:creationId xmlns:p14="http://schemas.microsoft.com/office/powerpoint/2010/main" val="238061318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DC80E-304E-4653-AE93-151A1465E98B}"/>
              </a:ext>
            </a:extLst>
          </p:cNvPr>
          <p:cNvSpPr>
            <a:spLocks noGrp="1"/>
          </p:cNvSpPr>
          <p:nvPr>
            <p:ph type="title"/>
          </p:nvPr>
        </p:nvSpPr>
        <p:spPr>
          <a:xfrm>
            <a:off x="599302" y="2852207"/>
            <a:ext cx="11237870" cy="1554015"/>
          </a:xfrm>
        </p:spPr>
        <p:txBody>
          <a:bodyPr/>
          <a:lstStyle/>
          <a:p>
            <a:br>
              <a:rPr lang="en-US" sz="1400">
                <a:latin typeface="Segoe UI Bold" panose="020B0802040204020203" pitchFamily="34" charset="0"/>
                <a:ea typeface="Times New Roman" panose="02020603050405020304" pitchFamily="18" charset="0"/>
                <a:cs typeface="Segoe UI Bold" panose="020B0802040204020203" pitchFamily="34" charset="0"/>
              </a:rPr>
            </a:br>
            <a:r>
              <a:rPr lang="en-US" sz="1400">
                <a:latin typeface="Segoe UI Bold" panose="020B0802040204020203" pitchFamily="34" charset="0"/>
                <a:ea typeface="Times New Roman" panose="02020603050405020304" pitchFamily="18" charset="0"/>
                <a:cs typeface="Segoe UI Bold" panose="020B0802040204020203" pitchFamily="34" charset="0"/>
              </a:rPr>
              <a:t> </a:t>
            </a:r>
            <a:br>
              <a:rPr lang="en-US" sz="3649">
                <a:ea typeface="Times New Roman" panose="02020603050405020304" pitchFamily="18" charset="0"/>
                <a:cs typeface="Segoe UI"/>
              </a:rPr>
            </a:br>
            <a:br>
              <a:rPr lang="en-US" sz="3649">
                <a:ea typeface="Times New Roman" panose="02020603050405020304" pitchFamily="18" charset="0"/>
                <a:cs typeface="Segoe UI"/>
              </a:rPr>
            </a:br>
            <a:endParaRPr lang="en-US" sz="3649">
              <a:cs typeface="Segoe UI"/>
            </a:endParaRPr>
          </a:p>
        </p:txBody>
      </p:sp>
      <p:graphicFrame>
        <p:nvGraphicFramePr>
          <p:cNvPr id="3" name="Table 3">
            <a:extLst>
              <a:ext uri="{FF2B5EF4-FFF2-40B4-BE49-F238E27FC236}">
                <a16:creationId xmlns:a16="http://schemas.microsoft.com/office/drawing/2014/main" id="{81CF9FAA-7165-415E-AB1E-8075FE3ED399}"/>
              </a:ext>
            </a:extLst>
          </p:cNvPr>
          <p:cNvGraphicFramePr>
            <a:graphicFrameLocks noGrp="1"/>
          </p:cNvGraphicFramePr>
          <p:nvPr>
            <p:extLst>
              <p:ext uri="{D42A27DB-BD31-4B8C-83A1-F6EECF244321}">
                <p14:modId xmlns:p14="http://schemas.microsoft.com/office/powerpoint/2010/main" val="2966992487"/>
              </p:ext>
            </p:extLst>
          </p:nvPr>
        </p:nvGraphicFramePr>
        <p:xfrm>
          <a:off x="729740" y="1723502"/>
          <a:ext cx="10975593" cy="3256012"/>
        </p:xfrm>
        <a:graphic>
          <a:graphicData uri="http://schemas.openxmlformats.org/drawingml/2006/table">
            <a:tbl>
              <a:tblPr firstRow="1" bandRow="1">
                <a:tableStyleId>{2D5ABB26-0587-4C30-8999-92F81FD0307C}</a:tableStyleId>
              </a:tblPr>
              <a:tblGrid>
                <a:gridCol w="10975593">
                  <a:extLst>
                    <a:ext uri="{9D8B030D-6E8A-4147-A177-3AD203B41FA5}">
                      <a16:colId xmlns:a16="http://schemas.microsoft.com/office/drawing/2014/main" val="159140880"/>
                    </a:ext>
                  </a:extLst>
                </a:gridCol>
              </a:tblGrid>
              <a:tr h="700951">
                <a:tc>
                  <a:txBody>
                    <a:bodyPr/>
                    <a:lstStyle/>
                    <a:p>
                      <a:r>
                        <a:rPr kumimoji="0" lang="en-US" sz="40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Bold" panose="020B0802040204020203" pitchFamily="34" charset="0"/>
                          <a:ea typeface="Times New Roman" panose="02020603050405020304" pitchFamily="18" charset="0"/>
                          <a:cs typeface="Segoe UI Bold" panose="020B0802040204020203" pitchFamily="34" charset="0"/>
                        </a:rPr>
                        <a:t>Data Visualization</a:t>
                      </a:r>
                      <a:endParaRPr lang="en-US" sz="1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17299406"/>
                  </a:ext>
                </a:extLst>
              </a:tr>
              <a:tr h="238552">
                <a:tc>
                  <a:txBody>
                    <a:bodyPr/>
                    <a:lstStyle/>
                    <a:p>
                      <a:endParaRPr lang="en-US" sz="8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90607938"/>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Times New Roman" panose="02020603050405020304" pitchFamily="18" charset="0"/>
                          <a:cs typeface="Segoe UI"/>
                        </a:rPr>
                        <a:t>Objective:</a:t>
                      </a:r>
                      <a:endParaRPr lang="en-US" sz="1600"/>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6375184"/>
                  </a:ext>
                </a:extLst>
              </a:tr>
              <a:tr h="579046">
                <a:tc>
                  <a:txBody>
                    <a:bodyPr/>
                    <a:lstStyle/>
                    <a:p>
                      <a:r>
                        <a:rPr kumimoji="0" lang="en-US" sz="3200" b="0"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Audience, usage scenarios </a:t>
                      </a:r>
                      <a:r>
                        <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mn-lt"/>
                          <a:ea typeface="Times New Roman" panose="02020603050405020304" pitchFamily="18" charset="0"/>
                          <a:cs typeface="Segoe UI"/>
                        </a:rPr>
                        <a:t>(Understand)</a:t>
                      </a:r>
                      <a:endParaRPr kumimoji="0" lang="en-US" sz="3200" b="1" i="0" u="none" strike="noStrike" kern="1200" cap="none" spc="-51" normalizeH="0" baseline="0" noProof="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12843642"/>
                  </a:ext>
                </a:extLst>
              </a:tr>
              <a:tr h="579046">
                <a:tc>
                  <a:txBody>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experience, how to visualize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Explore)</a:t>
                      </a:r>
                      <a:endPar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93632906"/>
                  </a:ext>
                </a:extLst>
              </a:tr>
              <a:tr h="579046">
                <a:tc>
                  <a:txBody>
                    <a:bodyPr/>
                    <a:lstStyle/>
                    <a:p>
                      <a:r>
                        <a:rPr kumimoji="0" lang="en-US" sz="3200" b="0"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User interface, test &amp; implement </a:t>
                      </a:r>
                      <a:r>
                        <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mn-lt"/>
                          <a:ea typeface="+mn-ea"/>
                          <a:cs typeface="Segoe UI"/>
                        </a:rPr>
                        <a:t>(Materialize)</a:t>
                      </a:r>
                      <a:endParaRPr kumimoji="0" lang="en-US" sz="3200" b="1" i="0" u="none" strike="noStrike" kern="1200" cap="none" spc="-51"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a:endParaRPr>
                    </a:p>
                  </a:txBody>
                  <a:tcPr marL="91428" marR="91428" marT="45714" marB="45714">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59052171"/>
                  </a:ext>
                </a:extLst>
              </a:tr>
            </a:tbl>
          </a:graphicData>
        </a:graphic>
      </p:graphicFrame>
    </p:spTree>
    <p:extLst>
      <p:ext uri="{BB962C8B-B14F-4D97-AF65-F5344CB8AC3E}">
        <p14:creationId xmlns:p14="http://schemas.microsoft.com/office/powerpoint/2010/main" val="37809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600E41-4D5C-4C36-9443-ACBE7BE3FCF7}"/>
              </a:ext>
            </a:extLst>
          </p:cNvPr>
          <p:cNvCxnSpPr>
            <a:cxnSpLocks/>
          </p:cNvCxnSpPr>
          <p:nvPr/>
        </p:nvCxnSpPr>
        <p:spPr>
          <a:xfrm>
            <a:off x="1764" y="1194490"/>
            <a:ext cx="12432948" cy="0"/>
          </a:xfrm>
          <a:prstGeom prst="line">
            <a:avLst/>
          </a:prstGeom>
          <a:ln cap="rnd">
            <a:solidFill>
              <a:schemeClr val="tx1">
                <a:lumMod val="20000"/>
                <a:lumOff val="8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1A1FFD5-C456-44EB-A603-F704C281AD6C}"/>
              </a:ext>
            </a:extLst>
          </p:cNvPr>
          <p:cNvSpPr txBox="1">
            <a:spLocks/>
          </p:cNvSpPr>
          <p:nvPr/>
        </p:nvSpPr>
        <p:spPr>
          <a:xfrm>
            <a:off x="275142" y="296184"/>
            <a:ext cx="11886192" cy="917314"/>
          </a:xfrm>
          <a:prstGeom prst="rect">
            <a:avLst/>
          </a:prstGeom>
        </p:spPr>
        <p:txBody>
          <a:bodyPr vert="horz" wrap="square" lIns="149177" tIns="93235" rIns="149177" bIns="93235" rtlCol="0" anchor="t">
            <a:noAutofit/>
          </a:bodyPr>
          <a:lst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Franklin Gothic Medium Cond" panose="020B0606030402020204" pitchFamily="34" charset="0"/>
                <a:ea typeface="+mn-ea"/>
                <a:cs typeface="Segoe UI" pitchFamily="34" charset="0"/>
              </a:defRPr>
            </a:lvl1pPr>
          </a:lstStyle>
          <a:p>
            <a:pPr algn="ctr" defTabSz="932291">
              <a:defRPr/>
            </a:pPr>
            <a:r>
              <a:rPr lang="en-US" sz="4080" spc="0" dirty="0">
                <a:solidFill>
                  <a:srgbClr val="FFC000"/>
                </a:solidFill>
              </a:rPr>
              <a:t>Design Effective Reports</a:t>
            </a:r>
          </a:p>
        </p:txBody>
      </p:sp>
      <p:sp>
        <p:nvSpPr>
          <p:cNvPr id="6" name="Text Placeholder 2">
            <a:extLst>
              <a:ext uri="{FF2B5EF4-FFF2-40B4-BE49-F238E27FC236}">
                <a16:creationId xmlns:a16="http://schemas.microsoft.com/office/drawing/2014/main" id="{DC082D62-027F-4C5F-927C-774129B7310E}"/>
              </a:ext>
            </a:extLst>
          </p:cNvPr>
          <p:cNvSpPr txBox="1">
            <a:spLocks/>
          </p:cNvSpPr>
          <p:nvPr/>
        </p:nvSpPr>
        <p:spPr>
          <a:xfrm>
            <a:off x="595915" y="1397573"/>
            <a:ext cx="5327365" cy="4199378"/>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flip="none" rotWithShape="1">
                  <a:gsLst>
                    <a:gs pos="82000">
                      <a:schemeClr val="tx1"/>
                    </a:gs>
                    <a:gs pos="0">
                      <a:schemeClr val="tx1"/>
                    </a:gs>
                  </a:gsLst>
                  <a:lin ang="2700000" scaled="1"/>
                  <a:tileRect/>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flip="none" rotWithShape="1">
                  <a:gsLst>
                    <a:gs pos="82000">
                      <a:schemeClr val="tx1"/>
                    </a:gs>
                    <a:gs pos="0">
                      <a:schemeClr val="tx1"/>
                    </a:gs>
                  </a:gsLst>
                  <a:lin ang="2700000" scaled="1"/>
                  <a:tileRect/>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flip="none" rotWithShape="1">
                  <a:gsLst>
                    <a:gs pos="82000">
                      <a:schemeClr val="tx1"/>
                    </a:gs>
                    <a:gs pos="0">
                      <a:schemeClr val="tx1"/>
                    </a:gs>
                  </a:gsLst>
                  <a:lin ang="2700000" scaled="1"/>
                  <a:tileRect/>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3200" dirty="0">
                <a:hlinkClick r:id="rId2"/>
              </a:rPr>
              <a:t>Design effective reports in Power BI – Learn</a:t>
            </a:r>
            <a:endParaRPr lang="en-US" sz="3200" dirty="0"/>
          </a:p>
          <a:p>
            <a:pPr marL="0" indent="0">
              <a:buNone/>
            </a:pPr>
            <a:endParaRPr lang="en-US" sz="3200" dirty="0"/>
          </a:p>
          <a:p>
            <a:pPr marL="0" indent="0">
              <a:buNone/>
            </a:pPr>
            <a:r>
              <a:rPr lang="en-US" sz="3200" dirty="0"/>
              <a:t>We highly encourage you to go through this learn course. It’s Free!</a:t>
            </a:r>
          </a:p>
        </p:txBody>
      </p:sp>
      <p:pic>
        <p:nvPicPr>
          <p:cNvPr id="8" name="Picture 7">
            <a:extLst>
              <a:ext uri="{FF2B5EF4-FFF2-40B4-BE49-F238E27FC236}">
                <a16:creationId xmlns:a16="http://schemas.microsoft.com/office/drawing/2014/main" id="{512F2D75-AF2E-4101-8FEB-4D706D619077}"/>
              </a:ext>
            </a:extLst>
          </p:cNvPr>
          <p:cNvPicPr>
            <a:picLocks noChangeAspect="1"/>
          </p:cNvPicPr>
          <p:nvPr/>
        </p:nvPicPr>
        <p:blipFill>
          <a:blip r:embed="rId3"/>
          <a:stretch>
            <a:fillRect/>
          </a:stretch>
        </p:blipFill>
        <p:spPr>
          <a:xfrm>
            <a:off x="6025197" y="1397572"/>
            <a:ext cx="5992864" cy="419937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7136039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78.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1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2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2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2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2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2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2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2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2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2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26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2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2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2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2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2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2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2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2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2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2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2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2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2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2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2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0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0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0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3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3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3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3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3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3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3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3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3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3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3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3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3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3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3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3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3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3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3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3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3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3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3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3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3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35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3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3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3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3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9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1.xml><?xml version="1.0" encoding="utf-8"?>
<a:theme xmlns:a="http://schemas.openxmlformats.org/drawingml/2006/main" name="PowerBI Template July 2021 - Light">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BAS_2021_Template_2-3_format_v04.potx" id="{AE5EBC03-F135-4DA9-A8FF-99EEDC393C34}" vid="{0D51867F-DC4B-4871-ADCB-164FFB725EF9}"/>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3.xml><?xml version="1.0" encoding="utf-8"?>
<a:theme xmlns:a="http://schemas.openxmlformats.org/drawingml/2006/main" name="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5.xml><?xml version="1.0" encoding="utf-8"?>
<a:theme xmlns:a="http://schemas.openxmlformats.org/drawingml/2006/main" name="9-51137_MBAS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BAS_Digital_Event_Template_v05" id="{EE422EC9-DB70-4CB6-9A66-15A20B15836E}" vid="{32C86280-55C1-4361-868B-733E268C0974}"/>
    </a:ext>
  </a:extLst>
</a:theme>
</file>

<file path=ppt/theme/theme6.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Corenote_16x9_Template.potx" id="{15FF2929-1735-4D15-9B9C-A0FBFD068DC9}" vid="{BA079C57-9107-4EF5-9FA2-741B40A943D1}"/>
    </a:ext>
  </a:extLst>
</a:theme>
</file>

<file path=ppt/theme/theme7.xml><?xml version="1.0" encoding="utf-8"?>
<a:theme xmlns:a="http://schemas.openxmlformats.org/drawingml/2006/main" name="1_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8.xml><?xml version="1.0" encoding="utf-8"?>
<a:theme xmlns:a="http://schemas.openxmlformats.org/drawingml/2006/main" name="2_BA PowerPlatofrm Template Lines 0831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62261d37-7aee-474b-a69a-7de25e17a832" xsi:nil="true"/>
    <SharedWithUsers xmlns="b8adf280-83ad-48ba-9893-cc15ca5a3353">
      <UserInfo>
        <DisplayName>Jeff King (SLG)</DisplayName>
        <AccountId>28243</AccountId>
        <AccountType/>
      </UserInfo>
      <UserInfo>
        <DisplayName>Andrej Salnik</DisplayName>
        <AccountId>35643</AccountId>
        <AccountType/>
      </UserInfo>
      <UserInfo>
        <DisplayName>Jan Paulech</DisplayName>
        <AccountId>1514</AccountId>
        <AccountType/>
      </UserInfo>
      <UserInfo>
        <DisplayName>Saurabh Gaur</DisplayName>
        <AccountId>38049</AccountId>
        <AccountType/>
      </UserInfo>
      <UserInfo>
        <DisplayName>China MOD TSP Group</DisplayName>
        <AccountId>82283</AccountId>
        <AccountType/>
      </UserInfo>
      <UserInfo>
        <DisplayName>Sally Tan</DisplayName>
        <AccountId>10770</AccountId>
        <AccountType/>
      </UserInfo>
      <UserInfo>
        <DisplayName>Clemence Monjanel</DisplayName>
        <AccountId>9758</AccountId>
        <AccountType/>
      </UserInfo>
      <UserInfo>
        <DisplayName>Hui Jeng Lee (Alfa Connections Pte Ltd)</DisplayName>
        <AccountId>63906</AccountId>
        <AccountType/>
      </UserInfo>
      <UserInfo>
        <DisplayName>Hadrien Camus</DisplayName>
        <AccountId>963</AccountId>
        <AccountType/>
      </UserInfo>
      <UserInfo>
        <DisplayName>Mathilde Hubert Baldy</DisplayName>
        <AccountId>2042</AccountId>
        <AccountType/>
      </UserInfo>
      <UserInfo>
        <DisplayName/>
        <AccountId>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7B49DE79A1B4E80F3730F0952247D" ma:contentTypeVersion="14" ma:contentTypeDescription="Create a new document." ma:contentTypeScope="" ma:versionID="787861c5e8e5b05ba51d1df12c620ce1">
  <xsd:schema xmlns:xsd="http://www.w3.org/2001/XMLSchema" xmlns:xs="http://www.w3.org/2001/XMLSchema" xmlns:p="http://schemas.microsoft.com/office/2006/metadata/properties" xmlns:ns1="http://schemas.microsoft.com/sharepoint/v3" xmlns:ns2="62261d37-7aee-474b-a69a-7de25e17a832" xmlns:ns3="b8adf280-83ad-48ba-9893-cc15ca5a3353" targetNamespace="http://schemas.microsoft.com/office/2006/metadata/properties" ma:root="true" ma:fieldsID="14df980957a4a95f18246fc45c7c7da0" ns1:_="" ns2:_="" ns3:_="">
    <xsd:import namespace="http://schemas.microsoft.com/sharepoint/v3"/>
    <xsd:import namespace="62261d37-7aee-474b-a69a-7de25e17a832"/>
    <xsd:import namespace="b8adf280-83ad-48ba-9893-cc15ca5a3353"/>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OCR" minOccurs="0"/>
                <xsd:element ref="ns2: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261d37-7aee-474b-a69a-7de25e17a8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adf280-83ad-48ba-9893-cc15ca5a3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B790DC-B35F-4041-BFE0-3459F3323669}">
  <ds:schemaRefs>
    <ds:schemaRef ds:uri="62261d37-7aee-474b-a69a-7de25e17a832"/>
    <ds:schemaRef ds:uri="b8adf280-83ad-48ba-9893-cc15ca5a335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32CAEC-92A3-4959-BDB4-55981DC79785}">
  <ds:schemaRefs>
    <ds:schemaRef ds:uri="62261d37-7aee-474b-a69a-7de25e17a832"/>
    <ds:schemaRef ds:uri="b8adf280-83ad-48ba-9893-cc15ca5a3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807E26-D60A-4BC0-9B6B-FF21DEC2B07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535</TotalTime>
  <Words>13690</Words>
  <Application>Microsoft Office PowerPoint</Application>
  <PresentationFormat>Custom</PresentationFormat>
  <Paragraphs>2887</Paragraphs>
  <Slides>195</Slides>
  <Notes>84</Notes>
  <HiddenSlides>56</HiddenSlides>
  <MMClips>3</MMClips>
  <ScaleCrop>false</ScaleCrop>
  <HeadingPairs>
    <vt:vector size="8" baseType="variant">
      <vt:variant>
        <vt:lpstr>Fonts Used</vt:lpstr>
      </vt:variant>
      <vt:variant>
        <vt:i4>21</vt:i4>
      </vt:variant>
      <vt:variant>
        <vt:lpstr>Theme</vt:lpstr>
      </vt:variant>
      <vt:variant>
        <vt:i4>12</vt:i4>
      </vt:variant>
      <vt:variant>
        <vt:lpstr>Embedded OLE Servers</vt:lpstr>
      </vt:variant>
      <vt:variant>
        <vt:i4>1</vt:i4>
      </vt:variant>
      <vt:variant>
        <vt:lpstr>Slide Titles</vt:lpstr>
      </vt:variant>
      <vt:variant>
        <vt:i4>195</vt:i4>
      </vt:variant>
    </vt:vector>
  </HeadingPairs>
  <TitlesOfParts>
    <vt:vector size="229" baseType="lpstr">
      <vt:lpstr>-apple-system</vt:lpstr>
      <vt:lpstr>Arial</vt:lpstr>
      <vt:lpstr>Calibri</vt:lpstr>
      <vt:lpstr>Calibri Light</vt:lpstr>
      <vt:lpstr>Consolas</vt:lpstr>
      <vt:lpstr>Franklin Gothic Medium Cond</vt:lpstr>
      <vt:lpstr>Helvetica</vt:lpstr>
      <vt:lpstr>Helvetica Neue Medium</vt:lpstr>
      <vt:lpstr>Leelawadee</vt:lpstr>
      <vt:lpstr>Nexa Heavy</vt:lpstr>
      <vt:lpstr>Segoe UI</vt:lpstr>
      <vt:lpstr>Segoe UI Black</vt:lpstr>
      <vt:lpstr>Segoe UI Bold</vt:lpstr>
      <vt:lpstr>Segoe UI Light</vt:lpstr>
      <vt:lpstr>Segoe UI Semibold</vt:lpstr>
      <vt:lpstr>Segoe UI Semilight</vt:lpstr>
      <vt:lpstr>SegoeUI</vt:lpstr>
      <vt:lpstr>SFMono-Regular</vt:lpstr>
      <vt:lpstr>STIXGeneral-Regular</vt:lpstr>
      <vt:lpstr>Tw Cen MT Regular</vt:lpstr>
      <vt:lpstr>Wingdings</vt:lpstr>
      <vt:lpstr>BA PowerPlatofrm Template Lines 090220</vt:lpstr>
      <vt:lpstr>Microsoft Dynamics 365</vt:lpstr>
      <vt:lpstr>BA PowerPlatofrm Template Lines 083120</vt:lpstr>
      <vt:lpstr>WHITE TEMPLATE</vt:lpstr>
      <vt:lpstr>9-51137_MBAS_Black_Template</vt:lpstr>
      <vt:lpstr>1_9-51052_Microsoft_Inspire_Template_Dark</vt:lpstr>
      <vt:lpstr>1_Microsoft Dynamics 365</vt:lpstr>
      <vt:lpstr>2_BA PowerPlatofrm Template Lines 083120</vt:lpstr>
      <vt:lpstr>5_50191_Microsoft_Business_Application_Summit</vt:lpstr>
      <vt:lpstr>1_BA PowerPlatofrm Template Lines 090220</vt:lpstr>
      <vt:lpstr>PowerBI Template July 2021 - Light</vt:lpstr>
      <vt:lpstr>1_Office Theme</vt:lpstr>
      <vt:lpstr>Bitmap Image</vt:lpstr>
      <vt:lpstr>Session resources</vt:lpstr>
      <vt:lpstr>All workshop materials available at: https://aka.ms/pbiworkshops  Folder: Day After Dashboard in a Day</vt:lpstr>
      <vt:lpstr>THE DAY AFTER *DASHBOARD  IN A DAY * Technically it was a report</vt:lpstr>
      <vt:lpstr>PowerPoint Presentation</vt:lpstr>
      <vt:lpstr>PowerPoint Presentation</vt:lpstr>
      <vt:lpstr>Agenda (times are approximate and will be fluid with the class)</vt:lpstr>
      <vt:lpstr>Agenda (times are approximate and will be fluid with the class)</vt:lpstr>
      <vt:lpstr>A retrospective…</vt:lpstr>
      <vt:lpstr>Power BI  monthly active usage</vt:lpstr>
      <vt:lpstr>PowerPoint Presentation</vt:lpstr>
      <vt:lpstr>PowerPoint Presentation</vt:lpstr>
      <vt:lpstr>PowerPoint Presentation</vt:lpstr>
      <vt:lpstr>PowerPoint Presentation</vt:lpstr>
      <vt:lpstr>All materials available at:</vt:lpstr>
      <vt:lpstr>    </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    </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PowerPoint Presentation</vt:lpstr>
      <vt:lpstr>PowerPoint Presentation</vt:lpstr>
      <vt:lpstr>PowerPoint Presentation</vt:lpstr>
      <vt:lpstr>PowerPoint Presentation</vt:lpstr>
      <vt:lpstr>PowerPoint Presentation</vt:lpstr>
      <vt:lpstr>DEMO</vt:lpstr>
      <vt:lpstr>PowerPoint Presentation</vt:lpstr>
      <vt:lpstr>DEMO</vt:lpstr>
      <vt:lpstr>DAX: Calculated Columns Iterator Functions DIVIDE Vari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IF TIME ALLOWS… THE DEEP END.</vt:lpstr>
      <vt:lpstr>Performance considerations: Column cardinality Column encoding Efficient resource usage External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ability considerations: Date tables Extreme dates Measuring cardina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Report types</vt:lpstr>
      <vt:lpstr>How does Power BI do it?</vt:lpstr>
      <vt:lpstr>Power BI Desktop</vt:lpstr>
      <vt:lpstr>Power BI Report Builder</vt:lpstr>
      <vt:lpstr>Microsoft Excel</vt:lpstr>
      <vt:lpstr>Microsoft Excel</vt:lpstr>
      <vt:lpstr>What does a *good report look like?</vt:lpstr>
      <vt:lpstr>We know it when we see it…</vt:lpstr>
      <vt:lpstr>We know it when we see it…</vt:lpstr>
      <vt:lpstr>We know it when we see it…</vt:lpstr>
      <vt:lpstr>PowerPoint Presentation</vt:lpstr>
      <vt:lpstr>PowerPoint Presentation</vt:lpstr>
      <vt:lpstr>Report design: Structure Tools Tes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Guided Analytical Experience</vt:lpstr>
      <vt:lpstr>Guided Analytical Experience</vt:lpstr>
      <vt:lpstr>Guided Analytical Experience</vt:lpstr>
      <vt:lpstr>Techniques To Highlight Values</vt:lpstr>
      <vt:lpstr>Techniques To Highlight Values</vt:lpstr>
      <vt:lpstr>Techniques To Highlight Values</vt:lpstr>
      <vt:lpstr>Techniques To Highlight Values</vt:lpstr>
      <vt:lpstr>Use Buttons</vt:lpstr>
      <vt:lpstr>Bookmarks</vt:lpstr>
      <vt:lpstr>Bookmarks</vt:lpstr>
      <vt:lpstr>Bookmarks</vt:lpstr>
      <vt:lpstr>Bookmarks</vt:lpstr>
      <vt:lpstr>Build Navigation With Buttons</vt:lpstr>
      <vt:lpstr>Build Navigation With Buttons</vt:lpstr>
      <vt:lpstr>Build Navigation With Buttons</vt:lpstr>
      <vt:lpstr>Using built-in Assistance</vt:lpstr>
      <vt:lpstr>Using built-in Assistance</vt:lpstr>
      <vt:lpstr>Mobile Experience</vt:lpstr>
      <vt:lpstr>Visual Selection</vt:lpstr>
      <vt:lpstr>PowerPoint Presentation</vt:lpstr>
      <vt:lpstr>PowerPoint Presentation</vt:lpstr>
      <vt:lpstr>    </vt:lpstr>
      <vt:lpstr>Self-service BI tools are sometimes described as a two-edged sword.</vt:lpstr>
      <vt:lpstr>Self-service BI as a two-edged sword</vt:lpstr>
      <vt:lpstr>True Edge, False Edge - IT and self-service</vt:lpstr>
      <vt:lpstr>True Edge, False Edge - IT and self-service</vt:lpstr>
      <vt:lpstr>True Edge, False Edge - IT and self-service</vt:lpstr>
      <vt:lpstr>Self-service BI as a two-edged sword</vt:lpstr>
      <vt:lpstr>What do actual swords and edges have to do with Power BI? Does this analogy hold up?</vt:lpstr>
      <vt:lpstr>Two sharp edges are dangerous only if you don’t know they’re both sharp.</vt:lpstr>
      <vt:lpstr>Data governance can also cut both ways. You need to work mindfully to use it to achieve your chosen goals.</vt:lpstr>
      <vt:lpstr>PowerPoint Presentation</vt:lpstr>
      <vt:lpstr>PowerPoint Presentation</vt:lpstr>
      <vt:lpstr>PowerPoint Presentation</vt:lpstr>
      <vt:lpstr>PowerPoint Presentation</vt:lpstr>
      <vt:lpstr>PowerPoint Presentation</vt:lpstr>
      <vt:lpstr>PowerPoint Presentation</vt:lpstr>
      <vt:lpstr>Successful data governance makes “yes, and” the default answer, and makes “no” the exception.</vt:lpstr>
      <vt:lpstr>PowerPoint Presentation</vt:lpstr>
      <vt:lpstr>PowerPoint Presentation</vt:lpstr>
      <vt:lpstr>“A complex system that works is invariably found to have evolved from a simple system that works. The inverse proposition also appears to be true: A complex system designed from scratch never works and cannot be made to work.”  -- John Gall</vt:lpstr>
      <vt:lpstr>One more thing…</vt:lpstr>
      <vt:lpstr>Related content</vt:lpstr>
      <vt:lpstr>Power BI Adoption Roadmap</vt:lpstr>
      <vt:lpstr>Power BI Implementation Planning</vt:lpstr>
      <vt:lpstr>PowerPoint Presentation</vt:lpstr>
      <vt:lpstr>Thank you!</vt:lpstr>
      <vt:lpstr>PowerPoint Presentation</vt:lpstr>
      <vt:lpstr>Appendix</vt:lpstr>
      <vt:lpstr>Categorical Visuals</vt:lpstr>
      <vt:lpstr>Time Series Visuals</vt:lpstr>
      <vt:lpstr>Time Series Visuals</vt:lpstr>
      <vt:lpstr>Proportional Visuals </vt:lpstr>
      <vt:lpstr>Numeric Visuals</vt:lpstr>
      <vt:lpstr>Grid Visuals</vt:lpstr>
      <vt:lpstr>Performance Visuals</vt:lpstr>
      <vt:lpstr>Geospatial Visuals </vt:lpstr>
      <vt:lpstr>Filter Pane</vt:lpstr>
      <vt:lpstr>Filter Pane</vt:lpstr>
      <vt:lpstr>Filter Pane</vt:lpstr>
      <vt:lpstr>Filter Pane</vt:lpstr>
      <vt:lpstr>Filter Pane</vt:lpstr>
      <vt:lpstr>Filter Pane</vt:lpstr>
      <vt:lpstr>Slicers</vt:lpstr>
      <vt:lpstr>Slicers</vt:lpstr>
      <vt:lpstr>Visual Headers</vt:lpstr>
      <vt:lpstr>AI Visuals</vt:lpstr>
      <vt:lpstr>AI Visuals</vt:lpstr>
      <vt:lpstr>AI Visuals</vt:lpstr>
      <vt:lpstr>AI Visu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Data Modeling</dc:title>
  <dc:subject>Data Modeling Options</dc:subject>
  <dc:creator>Megan Tomlin (POWER BI)</dc:creator>
  <cp:keywords/>
  <cp:lastModifiedBy>Alex Powers</cp:lastModifiedBy>
  <cp:revision>11</cp:revision>
  <dcterms:modified xsi:type="dcterms:W3CDTF">2023-03-03T17:4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1cd454bacc149bfbcfd764edd279de7">
    <vt:lpwstr/>
  </property>
  <property fmtid="{D5CDD505-2E9C-101B-9397-08002B2CF9AE}" pid="12" name="of67e5d4b76f4a9db8769983fda9cec0">
    <vt:lpwstr/>
  </property>
  <property fmtid="{D5CDD505-2E9C-101B-9397-08002B2CF9AE}" pid="13" name="TaxKeyword">
    <vt:lpwstr/>
  </property>
  <property fmtid="{D5CDD505-2E9C-101B-9397-08002B2CF9AE}" pid="14" name="NewsType">
    <vt:lpwstr/>
  </property>
  <property fmtid="{D5CDD505-2E9C-101B-9397-08002B2CF9AE}" pid="15" name="Order">
    <vt:r8>6305000</vt:r8>
  </property>
  <property fmtid="{D5CDD505-2E9C-101B-9397-08002B2CF9AE}" pid="16" name="_dlc_policyId">
    <vt:lpwstr>0x0101000E4CB7077FEE4FF7AE86D4A500EEC780030016C849C62B10EB41ACA8C7EEDEF40BB2006A83F15B98C1FD4E8D76F6993277120D|-2104630519</vt:lpwstr>
  </property>
  <property fmtid="{D5CDD505-2E9C-101B-9397-08002B2CF9AE}" pid="17" name="Region">
    <vt:lpwstr/>
  </property>
  <property fmtid="{D5CDD505-2E9C-101B-9397-08002B2CF9AE}" pid="18" name="Confidentiality">
    <vt:lpwstr>5;#internal users|461efa83-0283-486a-a8d5-943328f3693f</vt:lpwstr>
  </property>
  <property fmtid="{D5CDD505-2E9C-101B-9397-08002B2CF9AE}" pid="19" name="ItemType">
    <vt:lpwstr>16;#customer presentations|18e9ae94-e321-4eea-82d2-ad5b2f470f3c;#351;#feedback requests|00ce1828-98a3-430e-af54-eda270e1be04;#3075;#documents|e037ed84-7d8e-4cbb-9c8f-61e80301a44f</vt:lpwstr>
  </property>
  <property fmtid="{D5CDD505-2E9C-101B-9397-08002B2CF9AE}" pid="20" name="bc28b5f076654a3b96073bbbebfeb8c9">
    <vt:lpwstr/>
  </property>
  <property fmtid="{D5CDD505-2E9C-101B-9397-08002B2CF9AE}" pid="21" name="ga0c0bf70a6644469c61b3efa7025301">
    <vt:lpwstr/>
  </property>
  <property fmtid="{D5CDD505-2E9C-101B-9397-08002B2CF9AE}" pid="22" name="Industries">
    <vt:lpwstr/>
  </property>
  <property fmtid="{D5CDD505-2E9C-101B-9397-08002B2CF9AE}" pid="23" name="j4d667fb28274e85b2214f6e751c8d1f">
    <vt:lpwstr/>
  </property>
  <property fmtid="{D5CDD505-2E9C-101B-9397-08002B2CF9AE}" pid="24" name="MSProducts">
    <vt:lpwstr/>
  </property>
  <property fmtid="{D5CDD505-2E9C-101B-9397-08002B2CF9AE}" pid="25" name="Competitors">
    <vt:lpwstr/>
  </property>
  <property fmtid="{D5CDD505-2E9C-101B-9397-08002B2CF9AE}" pid="26" name="SMSGDomain">
    <vt:lpwstr>22;#Server and Tools Business|6783548d-8609-4f97-be4a-4ca2616905a6;#21;#Intelligent Cloud|adc2fe87-c79a-4ded-a449-3f86b954069d;#2548;#Business Applications Domain|610af3f5-b43d-455a-97a7-f917993f5652;#453;#Microsoft Business Solutions|659377a4-c7bd-435e-b</vt:lpwstr>
  </property>
  <property fmtid="{D5CDD505-2E9C-101B-9397-08002B2CF9AE}" pid="27" name="ExperienceContentType">
    <vt:lpwstr/>
  </property>
  <property fmtid="{D5CDD505-2E9C-101B-9397-08002B2CF9AE}" pid="28" name="BusinessArchitecture">
    <vt:lpwstr>2325;#Data and AI|60d86926-9fc6-4873-ad19-e15bf82160d7;#231;#business intelligence|e1f9659f-bde9-4479-81f9-2bc6e8ec0057;#272;#Business Insight|b98b44a1-e7f9-4a33-83e7-febacc17b46c</vt:lpwstr>
  </property>
  <property fmtid="{D5CDD505-2E9C-101B-9397-08002B2CF9AE}" pid="29" name="j031aa32f4154c8c9a646efae715ebde">
    <vt:lpwstr/>
  </property>
  <property fmtid="{D5CDD505-2E9C-101B-9397-08002B2CF9AE}" pid="30" name="Products">
    <vt:lpwstr>162;#Power BI for Office 365|f9a65d80-21ac-4b9a-bf55-4f28a6454a78;#3423;#Power BI|b64b3c9d-4a01-4e45-b58d-b888a5ebf3be</vt:lpwstr>
  </property>
  <property fmtid="{D5CDD505-2E9C-101B-9397-08002B2CF9AE}" pid="31" name="ContentExtensions">
    <vt:lpwstr/>
  </property>
  <property fmtid="{D5CDD505-2E9C-101B-9397-08002B2CF9AE}" pid="32" name="WorkflowChangePath">
    <vt:lpwstr>e929cdc8-ef5a-4aed-ad88-a2076c847023,9;e929cdc8-ef5a-4aed-ad88-a2076c847023,23;e929cdc8-ef5a-4aed-ad88-a2076c847023,50;e929cdc8-ef5a-4aed-ad88-a2076c847023,50;e929cdc8-ef5a-4aed-ad88-a2076c847023,63;e929cdc8-ef5a-4aed-ad88-a2076c847023,63;4c942473-d120-42</vt:lpwstr>
  </property>
  <property fmtid="{D5CDD505-2E9C-101B-9397-08002B2CF9AE}" pid="33" name="l6f004f21209409da86a713c0f24627d">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SLanguage">
    <vt:lpwstr/>
  </property>
  <property fmtid="{D5CDD505-2E9C-101B-9397-08002B2CF9AE}" pid="37" name="e8080b0481964c759b2c36ae49591b31">
    <vt:lpwstr/>
  </property>
  <property fmtid="{D5CDD505-2E9C-101B-9397-08002B2CF9AE}" pid="38" name="Languages">
    <vt:lpwstr>23;#English|cb91f272-ce4d-4a7e-9bbf-78b58e3d188d</vt:lpwstr>
  </property>
  <property fmtid="{D5CDD505-2E9C-101B-9397-08002B2CF9AE}" pid="39" name="messageframeworktype">
    <vt:lpwstr/>
  </property>
  <property fmtid="{D5CDD505-2E9C-101B-9397-08002B2CF9AE}" pid="40" name="cb7870d3641f4a52807a63577a9c1b08">
    <vt:lpwstr/>
  </property>
  <property fmtid="{D5CDD505-2E9C-101B-9397-08002B2CF9AE}" pid="41" name="LastUpdatedByBatchTagging">
    <vt:bool>true</vt:bool>
  </property>
  <property fmtid="{D5CDD505-2E9C-101B-9397-08002B2CF9AE}" pid="42" name="TechnicalLevel">
    <vt:lpwstr>3066;#100 (beginner)|7d022d07-ff67-4af8-910d-8ea6b46b5908</vt:lpwstr>
  </property>
  <property fmtid="{D5CDD505-2E9C-101B-9397-08002B2CF9AE}" pid="43" name="Audiences">
    <vt:lpwstr/>
  </property>
  <property fmtid="{D5CDD505-2E9C-101B-9397-08002B2CF9AE}" pid="44" name="LearningOrganization">
    <vt:lpwstr/>
  </property>
  <property fmtid="{D5CDD505-2E9C-101B-9397-08002B2CF9AE}" pid="45" name="ldac8aee9d1f469e8cd8c3f8d6a615f2">
    <vt:lpwstr/>
  </property>
  <property fmtid="{D5CDD505-2E9C-101B-9397-08002B2CF9AE}" pid="46" name="EmployeeRole">
    <vt:lpwstr/>
  </property>
  <property fmtid="{D5CDD505-2E9C-101B-9397-08002B2CF9AE}" pid="47" name="NewsTopic">
    <vt:lpwstr/>
  </property>
  <property fmtid="{D5CDD505-2E9C-101B-9397-08002B2CF9AE}" pid="48" name="LearningDeliveryMethod">
    <vt:lpwstr/>
  </property>
  <property fmtid="{D5CDD505-2E9C-101B-9397-08002B2CF9AE}" pid="49" name="SalesGeography">
    <vt:lpwstr/>
  </property>
  <property fmtid="{D5CDD505-2E9C-101B-9397-08002B2CF9AE}" pid="50" name="Roles">
    <vt:lpwstr/>
  </property>
  <property fmtid="{D5CDD505-2E9C-101B-9397-08002B2CF9AE}" pid="5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52" name="NewsSource">
    <vt:lpwstr/>
  </property>
  <property fmtid="{D5CDD505-2E9C-101B-9397-08002B2CF9AE}" pid="53" name="SMSGTags">
    <vt:lpwstr/>
  </property>
  <property fmtid="{D5CDD505-2E9C-101B-9397-08002B2CF9AE}" pid="54" name="_dlc_DocIdItemGuid">
    <vt:lpwstr>cdfebffc-e678-40cc-98f6-052218ac0860</vt:lpwstr>
  </property>
  <property fmtid="{D5CDD505-2E9C-101B-9397-08002B2CF9AE}" pid="55" name="MSPhysicalGeography">
    <vt:lpwstr/>
  </property>
  <property fmtid="{D5CDD505-2E9C-101B-9397-08002B2CF9AE}" pid="56" name="l311460e3fdf46688abc31ddb7bdc05a">
    <vt:lpwstr/>
  </property>
  <property fmtid="{D5CDD505-2E9C-101B-9397-08002B2CF9AE}" pid="57" name="EnterpriseDomainTags">
    <vt:lpwstr>231;#business intelligence|e1f9659f-bde9-4479-81f9-2bc6e8ec0057</vt:lpwstr>
  </property>
  <property fmtid="{D5CDD505-2E9C-101B-9397-08002B2CF9AE}" pid="58" name="j3562c58ee414e028925bc902cfc01a1">
    <vt:lpwstr/>
  </property>
  <property fmtid="{D5CDD505-2E9C-101B-9397-08002B2CF9AE}" pid="59" name="ActivitiesAndPrograms">
    <vt:lpwstr/>
  </property>
  <property fmtid="{D5CDD505-2E9C-101B-9397-08002B2CF9AE}" pid="60" name="Segments">
    <vt:lpwstr>2548;#Business Applications Domain|610af3f5-b43d-455a-97a7-f917993f5652</vt:lpwstr>
  </property>
  <property fmtid="{D5CDD505-2E9C-101B-9397-08002B2CF9AE}" pid="61" name="Partners">
    <vt:lpwstr/>
  </property>
  <property fmtid="{D5CDD505-2E9C-101B-9397-08002B2CF9AE}" pid="62" name="la4444b61d19467597d63190b69ac227">
    <vt:lpwstr/>
  </property>
  <property fmtid="{D5CDD505-2E9C-101B-9397-08002B2CF9AE}" pid="63" name="Topics">
    <vt:lpwstr>927;#analytics|3c36f2f5-2e86-4b92-93df-d055f5a412bb</vt:lpwstr>
  </property>
  <property fmtid="{D5CDD505-2E9C-101B-9397-08002B2CF9AE}" pid="64" name="Groups">
    <vt:lpwstr>42;#Cloud + AI Marketing|4f75e184-e5aa-4234-a07f-b032d60df254</vt:lpwstr>
  </property>
  <property fmtid="{D5CDD505-2E9C-101B-9397-08002B2CF9AE}" pid="65" name="SharedWithUsers">
    <vt:lpwstr>28243;#Jeff King (SLG);#35643;#Andrej Salnik;#1514;#Jan Paulech;#38049;#Saurabh Gaur;#82283;#China MOD TSP Group;#10770;#Sally Tan;#9758;#Clemence Monjanel;#63906;#Hui Jeng Lee (Alfa Connections Pte Ltd);#963;#Hadrien Camus;#2042;#Mathilde Hubert Baldy;#1</vt:lpwstr>
  </property>
  <property fmtid="{D5CDD505-2E9C-101B-9397-08002B2CF9AE}" pid="66" name="MSIP_Label_f42aa342-8706-4288-bd11-ebb85995028c_Enabled">
    <vt:lpwstr>True</vt:lpwstr>
  </property>
  <property fmtid="{D5CDD505-2E9C-101B-9397-08002B2CF9AE}" pid="67" name="MSIP_Label_f42aa342-8706-4288-bd11-ebb85995028c_SiteId">
    <vt:lpwstr>72f988bf-86f1-41af-91ab-2d7cd011db47</vt:lpwstr>
  </property>
  <property fmtid="{D5CDD505-2E9C-101B-9397-08002B2CF9AE}" pid="68" name="MSIP_Label_f42aa342-8706-4288-bd11-ebb85995028c_Ref">
    <vt:lpwstr>https://api.informationprotection.azure.com/api/72f988bf-86f1-41af-91ab-2d7cd011db47</vt:lpwstr>
  </property>
  <property fmtid="{D5CDD505-2E9C-101B-9397-08002B2CF9AE}" pid="69" name="MSIP_Label_f42aa342-8706-4288-bd11-ebb85995028c_SetBy">
    <vt:lpwstr>cuongp@microsoft.com</vt:lpwstr>
  </property>
  <property fmtid="{D5CDD505-2E9C-101B-9397-08002B2CF9AE}" pid="70" name="MSIP_Label_f42aa342-8706-4288-bd11-ebb85995028c_SetDate">
    <vt:lpwstr>2017-04-30T14:14:20.0604349-07:00</vt:lpwstr>
  </property>
  <property fmtid="{D5CDD505-2E9C-101B-9397-08002B2CF9AE}" pid="71" name="MSIP_Label_f42aa342-8706-4288-bd11-ebb85995028c_Name">
    <vt:lpwstr>General</vt:lpwstr>
  </property>
  <property fmtid="{D5CDD505-2E9C-101B-9397-08002B2CF9AE}" pid="72" name="MSIP_Label_f42aa342-8706-4288-bd11-ebb85995028c_Application">
    <vt:lpwstr>Microsoft Azure Information Protection</vt:lpwstr>
  </property>
  <property fmtid="{D5CDD505-2E9C-101B-9397-08002B2CF9AE}" pid="73" name="MSIP_Label_f42aa342-8706-4288-bd11-ebb85995028c_Extended_MSFT_Method">
    <vt:lpwstr>Automatic</vt:lpwstr>
  </property>
  <property fmtid="{D5CDD505-2E9C-101B-9397-08002B2CF9AE}" pid="74" name="Sensitivity">
    <vt:lpwstr>General</vt:lpwstr>
  </property>
  <property fmtid="{D5CDD505-2E9C-101B-9397-08002B2CF9AE}" pid="75" name="FolderExtensions">
    <vt:lpwstr/>
  </property>
  <property fmtid="{D5CDD505-2E9C-101B-9397-08002B2CF9AE}" pid="76" name="ParentID1">
    <vt:lpwstr>G01KC-1-15625</vt:lpwstr>
  </property>
  <property fmtid="{D5CDD505-2E9C-101B-9397-08002B2CF9AE}" pid="77" name="LastSharedByUser">
    <vt:lpwstr>kanadeau@microsoft.com</vt:lpwstr>
  </property>
  <property fmtid="{D5CDD505-2E9C-101B-9397-08002B2CF9AE}" pid="78" name="ODSWF1">
    <vt:lpwstr>, </vt:lpwstr>
  </property>
  <property fmtid="{D5CDD505-2E9C-101B-9397-08002B2CF9AE}" pid="79" name="ODSWF(1)0">
    <vt:lpwstr>, </vt:lpwstr>
  </property>
  <property fmtid="{D5CDD505-2E9C-101B-9397-08002B2CF9AE}" pid="80" name="Update Parent Child Relation(1)1">
    <vt:lpwstr>, </vt:lpwstr>
  </property>
  <property fmtid="{D5CDD505-2E9C-101B-9397-08002B2CF9AE}" pid="81" name="LastSharedByTime">
    <vt:filetime>2018-05-22T20:48:11Z</vt:filetime>
  </property>
  <property fmtid="{D5CDD505-2E9C-101B-9397-08002B2CF9AE}" pid="82" name="ODSWF(1)1">
    <vt:lpwstr>, </vt:lpwstr>
  </property>
  <property fmtid="{D5CDD505-2E9C-101B-9397-08002B2CF9AE}" pid="83" name="ODSWF2">
    <vt:lpwstr>, </vt:lpwstr>
  </property>
  <property fmtid="{D5CDD505-2E9C-101B-9397-08002B2CF9AE}" pid="84" name="ODSWF2(1)">
    <vt:lpwstr>, </vt:lpwstr>
  </property>
  <property fmtid="{D5CDD505-2E9C-101B-9397-08002B2CF9AE}" pid="85" name="ODSWF2(1)0">
    <vt:lpwstr>, </vt:lpwstr>
  </property>
  <property fmtid="{D5CDD505-2E9C-101B-9397-08002B2CF9AE}" pid="86" name="ODSWF(1)">
    <vt:lpwstr>, </vt:lpwstr>
  </property>
  <property fmtid="{D5CDD505-2E9C-101B-9397-08002B2CF9AE}" pid="87" name="Update Parent Child Relation(1)0">
    <vt:lpwstr>, </vt:lpwstr>
  </property>
  <property fmtid="{D5CDD505-2E9C-101B-9397-08002B2CF9AE}" pid="88" name="SMSG Items">
    <vt:lpwstr/>
  </property>
  <property fmtid="{D5CDD505-2E9C-101B-9397-08002B2CF9AE}" pid="89" name="Solution Areas">
    <vt:lpwstr>3477;#Business Applications|bc6a3471-5036-4c6f-8724-05bc21271c2e</vt:lpwstr>
  </property>
  <property fmtid="{D5CDD505-2E9C-101B-9397-08002B2CF9AE}" pid="90" name="MSProfessions">
    <vt:lpwstr/>
  </property>
</Properties>
</file>